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6" r:id="rId2"/>
    <p:sldId id="258" r:id="rId3"/>
    <p:sldId id="259" r:id="rId4"/>
    <p:sldId id="260" r:id="rId5"/>
    <p:sldId id="261" r:id="rId6"/>
    <p:sldId id="264" r:id="rId7"/>
    <p:sldId id="265" r:id="rId8"/>
    <p:sldId id="267" r:id="rId9"/>
    <p:sldId id="269" r:id="rId10"/>
    <p:sldId id="271" r:id="rId11"/>
    <p:sldId id="273" r:id="rId12"/>
    <p:sldId id="274" r:id="rId13"/>
    <p:sldId id="279" r:id="rId14"/>
    <p:sldId id="278" r:id="rId15"/>
    <p:sldId id="280" r:id="rId16"/>
    <p:sldId id="281" r:id="rId17"/>
  </p:sldIdLst>
  <p:sldSz cx="9144000" cy="5143500" type="screen16x9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24B15"/>
    <a:srgbClr val="3B8325"/>
    <a:srgbClr val="46868F"/>
    <a:srgbClr val="A2C1C3"/>
    <a:srgbClr val="387A9C"/>
    <a:srgbClr val="48878E"/>
    <a:srgbClr val="C6DBD4"/>
    <a:srgbClr val="46888F"/>
    <a:srgbClr val="6796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40" d="100"/>
          <a:sy n="140" d="100"/>
        </p:scale>
        <p:origin x="774" y="45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3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package" Target="../embeddings/_____Microsoft_Excel1.xlsx"/><Relationship Id="rId4" Type="http://schemas.openxmlformats.org/officeDocument/2006/relationships/image" Target="../media/image78.jpg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82885657013045"/>
          <c:y val="9.9899297875952642E-2"/>
          <c:w val="0.61067544938286411"/>
          <c:h val="0.60670929629592352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99663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194EA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9.2275568486953785E-2"/>
                  <c:y val="9.780630892436735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0444818991215882"/>
                  <c:y val="-0.1182845944530088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8.8396316060150637E-2"/>
                  <c:y val="-0.1095304211116305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3348573636791392"/>
                  <c:y val="-5.2951019850936171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8.2954507665510158E-2"/>
                  <c:y val="0.12224179418877786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Запрос УМ '!$A$3:$A$7</c:f>
              <c:strCache>
                <c:ptCount val="5"/>
                <c:pt idx="0">
                  <c:v>Полный запрет</c:v>
                </c:pt>
                <c:pt idx="1">
                  <c:v>Запрет только тонких пакетов (15-50 микрон)</c:v>
                </c:pt>
                <c:pt idx="2">
                  <c:v>Налог либо запрет на бесплатную раздачу</c:v>
                </c:pt>
                <c:pt idx="3">
                  <c:v>Налог либо запрет на муниципальном уровне</c:v>
                </c:pt>
                <c:pt idx="4">
                  <c:v>Меры не введены</c:v>
                </c:pt>
              </c:strCache>
            </c:strRef>
          </c:cat>
          <c:val>
            <c:numRef>
              <c:f>'Запрос УМ '!$B$3:$B$7</c:f>
              <c:numCache>
                <c:formatCode>_-* #\ ##0.0\ _₽_-;\-* #\ ##0.0\ _₽_-;_-* "-"??\ _₽_-;_-@_-</c:formatCode>
                <c:ptCount val="5"/>
                <c:pt idx="0">
                  <c:v>1.073</c:v>
                </c:pt>
                <c:pt idx="1">
                  <c:v>3.04</c:v>
                </c:pt>
                <c:pt idx="2">
                  <c:v>0.44800000000000001</c:v>
                </c:pt>
                <c:pt idx="3">
                  <c:v>1.2410000000000001</c:v>
                </c:pt>
                <c:pt idx="4">
                  <c:v>1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65971612699165783"/>
          <c:w val="1"/>
          <c:h val="0.29302588404707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rgbClr val="9AA3AA"/>
            </a:solidFill>
          </c:spPr>
          <c:dPt>
            <c:idx val="0"/>
            <c:bubble3D val="0"/>
            <c:spPr>
              <a:solidFill>
                <a:srgbClr val="46868F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blipFill>
                <a:blip xmlns:r="http://schemas.openxmlformats.org/officeDocument/2006/relationships" r:embed="rId4"/>
                <a:stretch>
                  <a:fillRect/>
                </a:stretch>
              </a:blip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Лист1!$F$13:$F$14</c:f>
              <c:strCache>
                <c:ptCount val="2"/>
                <c:pt idx="0">
                  <c:v>мусор</c:v>
                </c:pt>
                <c:pt idx="1">
                  <c:v>полиэтилен</c:v>
                </c:pt>
              </c:strCache>
            </c:strRef>
          </c:cat>
          <c:val>
            <c:numRef>
              <c:f>Лист1!$G$13:$G$14</c:f>
              <c:numCache>
                <c:formatCode>0%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5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911832895888016"/>
          <c:y val="0.20412037037037037"/>
          <c:w val="0.50282960210709371"/>
          <c:h val="0.79587972676153362"/>
        </c:manualLayout>
      </c:layout>
      <c:pieChart>
        <c:varyColors val="1"/>
        <c:ser>
          <c:idx val="0"/>
          <c:order val="0"/>
          <c:spPr>
            <a:solidFill>
              <a:srgbClr val="663300"/>
            </a:solidFill>
          </c:spPr>
          <c:dPt>
            <c:idx val="0"/>
            <c:bubble3D val="0"/>
            <c:spPr>
              <a:solidFill>
                <a:srgbClr val="46868F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663300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Лист1!$F$16:$F$17</c:f>
              <c:strCache>
                <c:ptCount val="2"/>
                <c:pt idx="0">
                  <c:v>мусор</c:v>
                </c:pt>
                <c:pt idx="1">
                  <c:v>полиэтилен</c:v>
                </c:pt>
              </c:strCache>
            </c:strRef>
          </c:cat>
          <c:val>
            <c:numRef>
              <c:f>Лист1!$G$16:$G$17</c:f>
              <c:numCache>
                <c:formatCode>0%</c:formatCode>
                <c:ptCount val="2"/>
                <c:pt idx="0">
                  <c:v>0.995</c:v>
                </c:pt>
                <c:pt idx="1">
                  <c:v>5.000000000000000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4179E0-DD76-485E-B56B-494A109C35B5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6A9285-3807-424C-8C92-1BB26CAB21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7852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A9285-3807-424C-8C92-1BB26CAB21D1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782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5450" y="1243013"/>
            <a:ext cx="59467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39FB8-1119-474A-ADC0-4A89BAD2C7C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59804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5450" y="1243013"/>
            <a:ext cx="59467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0A693F-77E4-704C-B89A-7C4AFC9D64D6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226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02840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3803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86390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1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1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530F8-3E0D-443F-8E57-A2EFAF7EB36B}" type="datetime3">
              <a:rPr lang="en-GB" smtClean="0">
                <a:solidFill>
                  <a:prstClr val="black"/>
                </a:solidFill>
              </a:rPr>
              <a:t>20 March, 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ru-RU" smtClean="0"/>
              <a:t>Общественные слушания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980D6-5805-C34E-A13A-6709FD6D84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378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11790" y="205979"/>
            <a:ext cx="8507654" cy="6936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57112" y="4707132"/>
            <a:ext cx="747889" cy="27384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599" b="1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fld id="{7138062C-9F6B-4252-92FF-2AE66F9AE7E4}" type="datetime3">
              <a:rPr lang="en-GB" smtClean="0">
                <a:solidFill>
                  <a:prstClr val="black"/>
                </a:solidFill>
              </a:rPr>
              <a:t>20 March, 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74548" y="4707132"/>
            <a:ext cx="5503120" cy="27384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ctr">
              <a:defRPr sz="599" b="1">
                <a:solidFill>
                  <a:srgbClr val="000000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ru-RU" smtClean="0"/>
              <a:t>Общественные слушания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1790" y="4707132"/>
            <a:ext cx="647540" cy="27384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599" b="1">
                <a:solidFill>
                  <a:srgbClr val="000000"/>
                </a:solidFill>
                <a:latin typeface="Verdana"/>
                <a:cs typeface="Verdana"/>
              </a:defRPr>
            </a:lvl1pPr>
          </a:lstStyle>
          <a:p>
            <a:fld id="{4D7980D6-5805-C34E-A13A-6709FD6D84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435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866" y="649"/>
          <a:ext cx="865" cy="6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66" y="649"/>
                        <a:ext cx="865" cy="6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11790" y="205979"/>
            <a:ext cx="8507654" cy="6936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57112" y="4707132"/>
            <a:ext cx="747889" cy="27384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599" b="1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fld id="{339208D4-128C-4E88-9825-8FF05CD3A64D}" type="datetime3">
              <a:rPr lang="en-GB" smtClean="0">
                <a:solidFill>
                  <a:prstClr val="black"/>
                </a:solidFill>
              </a:rPr>
              <a:t>20 March, 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74548" y="4707132"/>
            <a:ext cx="5503120" cy="27384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ctr">
              <a:defRPr sz="599" b="1">
                <a:solidFill>
                  <a:srgbClr val="000000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ru-RU" smtClean="0"/>
              <a:t>Общественные слушания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1790" y="4707132"/>
            <a:ext cx="647540" cy="273844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599" b="1">
                <a:solidFill>
                  <a:srgbClr val="000000"/>
                </a:solidFill>
                <a:latin typeface="Verdana"/>
                <a:cs typeface="Verdana"/>
              </a:defRPr>
            </a:lvl1pPr>
          </a:lstStyle>
          <a:p>
            <a:fld id="{4D7980D6-5805-C34E-A13A-6709FD6D84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4010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66245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9172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85419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9461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70326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39180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0935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8661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938BFD-B2AF-402D-BF8C-365A42343D1B}" type="datetimeFigureOut">
              <a:rPr lang="ru-RU" smtClean="0"/>
              <a:t>20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CA3A08-245B-4136-89DC-F7DF9C91F9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0965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76" r:id="rId13"/>
    <p:sldLayoutId id="214748367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9" Type="http://schemas.openxmlformats.org/officeDocument/2006/relationships/image" Target="../media/image40.png"/><Relationship Id="rId21" Type="http://schemas.openxmlformats.org/officeDocument/2006/relationships/image" Target="../media/image22.png"/><Relationship Id="rId34" Type="http://schemas.openxmlformats.org/officeDocument/2006/relationships/image" Target="../media/image35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63" Type="http://schemas.openxmlformats.org/officeDocument/2006/relationships/image" Target="../media/image64.png"/><Relationship Id="rId68" Type="http://schemas.openxmlformats.org/officeDocument/2006/relationships/image" Target="../media/image69.png"/><Relationship Id="rId7" Type="http://schemas.openxmlformats.org/officeDocument/2006/relationships/image" Target="../media/image8.png"/><Relationship Id="rId71" Type="http://schemas.openxmlformats.org/officeDocument/2006/relationships/image" Target="../media/image72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7.png"/><Relationship Id="rId29" Type="http://schemas.openxmlformats.org/officeDocument/2006/relationships/image" Target="../media/image30.png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66" Type="http://schemas.openxmlformats.org/officeDocument/2006/relationships/image" Target="../media/image67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61" Type="http://schemas.openxmlformats.org/officeDocument/2006/relationships/image" Target="../media/image62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png"/><Relationship Id="rId65" Type="http://schemas.openxmlformats.org/officeDocument/2006/relationships/image" Target="../media/image66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56" Type="http://schemas.openxmlformats.org/officeDocument/2006/relationships/image" Target="../media/image57.png"/><Relationship Id="rId64" Type="http://schemas.openxmlformats.org/officeDocument/2006/relationships/image" Target="../media/image65.png"/><Relationship Id="rId69" Type="http://schemas.openxmlformats.org/officeDocument/2006/relationships/image" Target="../media/image70.png"/><Relationship Id="rId8" Type="http://schemas.openxmlformats.org/officeDocument/2006/relationships/image" Target="../media/image9.png"/><Relationship Id="rId51" Type="http://schemas.openxmlformats.org/officeDocument/2006/relationships/image" Target="../media/image52.png"/><Relationship Id="rId72" Type="http://schemas.openxmlformats.org/officeDocument/2006/relationships/chart" Target="../charts/chart1.xml"/><Relationship Id="rId3" Type="http://schemas.openxmlformats.org/officeDocument/2006/relationships/notesSlide" Target="../notesSlides/notesSlide2.xml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png"/><Relationship Id="rId67" Type="http://schemas.openxmlformats.org/officeDocument/2006/relationships/image" Target="../media/image68.png"/><Relationship Id="rId20" Type="http://schemas.openxmlformats.org/officeDocument/2006/relationships/image" Target="../media/image21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62" Type="http://schemas.openxmlformats.org/officeDocument/2006/relationships/image" Target="../media/image63.png"/><Relationship Id="rId70" Type="http://schemas.openxmlformats.org/officeDocument/2006/relationships/image" Target="../media/image7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gi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791581" y="2067694"/>
            <a:ext cx="7272808" cy="8749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i="0" kern="1200">
                <a:solidFill>
                  <a:srgbClr val="377A22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>
              <a:spcBef>
                <a:spcPts val="0"/>
              </a:spcBef>
            </a:pPr>
            <a:r>
              <a:rPr lang="ru-RU" sz="2000" b="1" dirty="0">
                <a:solidFill>
                  <a:srgbClr val="3C8A2E"/>
                </a:solidFill>
              </a:rPr>
              <a:t>Меры по замещению полиэтиленовой упаковки в </a:t>
            </a:r>
            <a:r>
              <a:rPr lang="ru-RU" sz="2000" b="1" dirty="0" smtClean="0">
                <a:solidFill>
                  <a:srgbClr val="3C8A2E"/>
                </a:solidFill>
              </a:rPr>
              <a:t>России</a:t>
            </a:r>
          </a:p>
          <a:p>
            <a:pPr>
              <a:spcBef>
                <a:spcPts val="0"/>
              </a:spcBef>
            </a:pPr>
            <a:r>
              <a:rPr lang="ru-RU" sz="2000" b="1" dirty="0" smtClean="0">
                <a:solidFill>
                  <a:srgbClr val="3C8A2E"/>
                </a:solidFill>
              </a:rPr>
              <a:t>Роль экологического сбора</a:t>
            </a:r>
          </a:p>
          <a:p>
            <a:pPr>
              <a:spcBef>
                <a:spcPts val="0"/>
              </a:spcBef>
            </a:pPr>
            <a:r>
              <a:rPr lang="ru-RU" sz="1400" i="1" dirty="0" smtClean="0">
                <a:solidFill>
                  <a:srgbClr val="3C8A2E"/>
                </a:solidFill>
              </a:rPr>
              <a:t>ПРЕДЛОЖЕНИЯ</a:t>
            </a:r>
            <a:r>
              <a:rPr lang="ru-RU" sz="2000" b="1" dirty="0" smtClean="0">
                <a:solidFill>
                  <a:srgbClr val="3C8A2E"/>
                </a:solidFill>
              </a:rPr>
              <a:t> </a:t>
            </a:r>
            <a:endParaRPr lang="en-US" sz="2000" b="1" dirty="0">
              <a:solidFill>
                <a:srgbClr val="3C8A2E"/>
              </a:solidFill>
            </a:endParaRPr>
          </a:p>
        </p:txBody>
      </p:sp>
      <p:pic>
        <p:nvPicPr>
          <p:cNvPr id="4" name="Picture 29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4011910"/>
            <a:ext cx="1774338" cy="60504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907705" y="3233358"/>
            <a:ext cx="50405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kern="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силькова М.В. </a:t>
            </a:r>
          </a:p>
          <a:p>
            <a:r>
              <a:rPr lang="ru-RU" sz="1600" kern="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лен </a:t>
            </a:r>
            <a:r>
              <a:rPr lang="ru-RU" sz="16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ления</a:t>
            </a:r>
            <a:r>
              <a:rPr lang="ru-RU" sz="16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Calibri"/>
              </a:rPr>
              <a:t>, </a:t>
            </a:r>
            <a:r>
              <a:rPr lang="ru-RU" sz="16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це-президент </a:t>
            </a:r>
            <a:r>
              <a:rPr lang="ru-RU" sz="1600" kern="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6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ркетингу </a:t>
            </a:r>
            <a:endParaRPr lang="ru-RU" sz="1600" kern="0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0564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7744" y="47027"/>
            <a:ext cx="6876184" cy="692578"/>
          </a:xfrm>
        </p:spPr>
        <p:txBody>
          <a:bodyPr>
            <a:normAutofit/>
          </a:bodyPr>
          <a:lstStyle/>
          <a:p>
            <a:pPr algn="l"/>
            <a: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.2. Ставка экологического сбора.</a:t>
            </a:r>
            <a:b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ый Закон № 89 «Об отходах производства и потребления»</a:t>
            </a:r>
            <a:endParaRPr lang="en-US" sz="1600" b="1" dirty="0">
              <a:solidFill>
                <a:srgbClr val="224B1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99792" y="786253"/>
            <a:ext cx="6444136" cy="225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371">
              <a:spcAft>
                <a:spcPts val="898"/>
              </a:spcAft>
            </a:pPr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остановлением Правительства РФ от 9 апреля 2016 года </a:t>
            </a:r>
            <a:r>
              <a:rPr 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N </a:t>
            </a:r>
            <a:r>
              <a:rPr lang="en-US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84</a:t>
            </a:r>
            <a: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solidFill>
                  <a:srgbClr val="3C8A2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едусмотрено экономическое стимулирование производства упаковки из биоразлагаемых материалов</a:t>
            </a:r>
          </a:p>
          <a:p>
            <a:pPr defTabSz="342371"/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и этом, </a:t>
            </a:r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экологический сбор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взимаемый с производителей,</a:t>
            </a:r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составляет:</a:t>
            </a:r>
          </a:p>
          <a:p>
            <a:pPr marL="213982" indent="-213982" defTabSz="342371">
              <a:buFont typeface="Arial" panose="020B0604020202020204" pitchFamily="34" charset="0"/>
              <a:buChar char="•"/>
            </a:pPr>
            <a:r>
              <a:rPr lang="ru-RU" sz="1200" i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бумажная упаковка </a:t>
            </a:r>
            <a:r>
              <a:rPr lang="ru-RU" sz="1200" b="1" i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 378 руб./тн</a:t>
            </a:r>
            <a:r>
              <a:rPr lang="ru-RU" sz="1200" i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, на</a:t>
            </a:r>
          </a:p>
          <a:p>
            <a:pPr marL="213982" indent="-213982" defTabSz="342371">
              <a:buFont typeface="Arial" panose="020B0604020202020204" pitchFamily="34" charset="0"/>
              <a:buChar char="•"/>
            </a:pPr>
            <a:r>
              <a:rPr lang="ru-RU" sz="1200" i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</a:t>
            </a:r>
            <a:r>
              <a:rPr lang="ru-RU" sz="1200" i="1" dirty="0" smtClean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олиэтиленовая упаковка </a:t>
            </a:r>
            <a:r>
              <a:rPr lang="ru-RU" sz="1200" b="1" i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3 844 руб./тн </a:t>
            </a:r>
          </a:p>
          <a:p>
            <a:pPr defTabSz="342371">
              <a:spcBef>
                <a:spcPts val="245"/>
              </a:spcBef>
              <a:spcAft>
                <a:spcPts val="898"/>
              </a:spcAft>
            </a:pPr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Величина экологического сбора на бумажный </a:t>
            </a:r>
            <a: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акт </a:t>
            </a:r>
            <a:r>
              <a:rPr lang="ru-RU" sz="1400" dirty="0" smtClean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до </a:t>
            </a:r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3</a:t>
            </a:r>
            <a:r>
              <a:rPr lang="ru-RU" sz="1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раз </a:t>
            </a:r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евышает величину сбора на </a:t>
            </a:r>
            <a: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олиэтиленовый пакет </a:t>
            </a:r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аналогичной вместимости </a:t>
            </a:r>
            <a:endParaRPr lang="ru-RU" sz="1400" dirty="0" smtClean="0">
              <a:solidFill>
                <a:prstClr val="black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defTabSz="342371">
              <a:spcBef>
                <a:spcPts val="245"/>
              </a:spcBef>
              <a:spcAft>
                <a:spcPts val="898"/>
              </a:spcAft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ичина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– разница в весе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3568" y="3537578"/>
            <a:ext cx="80331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371"/>
            <a:r>
              <a:rPr lang="ru-RU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Экономическую выгоду от введения сбора получают производители упаковки из полиэтилена, что </a:t>
            </a:r>
            <a:r>
              <a:rPr lang="ru-RU" b="1" dirty="0">
                <a:solidFill>
                  <a:srgbClr val="377A22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отиворечит целям стимулирования производства биоразлагаемой упаковки</a:t>
            </a:r>
          </a:p>
        </p:txBody>
      </p:sp>
      <p:sp>
        <p:nvSpPr>
          <p:cNvPr id="14" name="clipart_drawncirclegreen"/>
          <p:cNvSpPr>
            <a:spLocks/>
          </p:cNvSpPr>
          <p:nvPr/>
        </p:nvSpPr>
        <p:spPr bwMode="gray">
          <a:xfrm>
            <a:off x="6516216" y="2167885"/>
            <a:ext cx="891114" cy="31171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3175">
            <a:solidFill>
              <a:srgbClr val="FF0000"/>
            </a:solidFill>
            <a:round/>
            <a:headEnd/>
            <a:tailEnd/>
          </a:ln>
        </p:spPr>
        <p:txBody>
          <a:bodyPr tIns="58348" bIns="58348" anchor="ctr"/>
          <a:lstStyle/>
          <a:p>
            <a:pPr algn="ctr" defTabSz="342371"/>
            <a:endParaRPr lang="ru-RU" sz="894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1" name="Picture 4" descr="http://www.ostro.org/frmtext/FOTOFAKT/Musor_11_03_09/0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915566"/>
            <a:ext cx="2269394" cy="1702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9552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67743" y="24651"/>
            <a:ext cx="6543091" cy="931279"/>
          </a:xfrm>
        </p:spPr>
        <p:txBody>
          <a:bodyPr>
            <a:normAutofit/>
          </a:bodyPr>
          <a:lstStyle/>
          <a:p>
            <a:pPr algn="l"/>
            <a:r>
              <a:rPr lang="en-US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3</a:t>
            </a:r>
            <a:r>
              <a:rPr lang="en-US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ы регулирования сокращения потребления полиэтиленовой упаковки и образования отходов из нее</a:t>
            </a:r>
            <a:endParaRPr lang="ru-RU" sz="1600" b="1" dirty="0">
              <a:solidFill>
                <a:srgbClr val="224B15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26685" y="1458213"/>
            <a:ext cx="8484150" cy="8987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2971" indent="-186629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несение поправок в постановление Правительства РФ от 09.04.2016 №284 </a:t>
            </a:r>
            <a:r>
              <a:rPr lang="ru-RU" sz="1306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части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мера ставки экологического сбора на полиэтиленовые пакеты 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определить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уальную ставку экологического сбора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в размере не менее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4 268 рублей/тн 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 группу товаров №21 «Изделия пластмассовые упаковочные») </a:t>
            </a:r>
          </a:p>
          <a:p>
            <a:pPr marL="362971" indent="-186629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ru-RU" sz="98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96684" y="2302532"/>
            <a:ext cx="8465781" cy="737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73258" indent="-186629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несение поправок в распоряжение </a:t>
            </a:r>
            <a:r>
              <a:rPr lang="ru-RU" sz="1306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авительства № 2971-р от 28.12.2017 </a:t>
            </a:r>
            <a:r>
              <a:rPr lang="ru-RU" sz="1306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части норматива утилизации на группу товаров №21 «Изделия пластмассовые упаковочные» (поэтапное увеличение с 15% в </a:t>
            </a:r>
            <a:r>
              <a:rPr lang="ru-RU" sz="1306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018 </a:t>
            </a:r>
            <a:r>
              <a:rPr lang="ru-RU" sz="1306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оду до 85% к 2025 году, с ежегодным шагом 10%)</a:t>
            </a:r>
            <a:endParaRPr lang="ru-RU" sz="98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67544" y="3507854"/>
            <a:ext cx="8576363" cy="8827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 algn="just">
              <a:lnSpc>
                <a:spcPct val="107000"/>
              </a:lnSpc>
            </a:pPr>
            <a: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ологический сбор - мера обеспечения экологической безопасности РФ</a:t>
            </a:r>
          </a:p>
          <a:p>
            <a:pPr marL="186629" algn="just">
              <a:lnSpc>
                <a:spcPct val="107000"/>
              </a:lnSpc>
            </a:pPr>
            <a:r>
              <a:rPr lang="ru-RU" sz="1600" b="1" dirty="0" smtClean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ост </a:t>
            </a:r>
            <a: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авки экологического сбора и норматива утилизации обеспечит стимулирование сбора и рост вторичной переработки полиэтиленовых пакетов</a:t>
            </a:r>
            <a:endParaRPr lang="ru-RU" sz="1600" b="1" dirty="0">
              <a:solidFill>
                <a:srgbClr val="224B15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Пятиугольник 8"/>
          <p:cNvSpPr/>
          <p:nvPr/>
        </p:nvSpPr>
        <p:spPr>
          <a:xfrm>
            <a:off x="827584" y="955930"/>
            <a:ext cx="6624736" cy="418436"/>
          </a:xfrm>
          <a:prstGeom prst="homePlate">
            <a:avLst/>
          </a:prstGeom>
          <a:solidFill>
            <a:srgbClr val="46868F"/>
          </a:solidFill>
          <a:ln>
            <a:noFill/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43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83568" y="1024885"/>
            <a:ext cx="6627668" cy="280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 lvl="1" algn="just">
              <a:lnSpc>
                <a:spcPct val="107000"/>
              </a:lnSpc>
            </a:pPr>
            <a:r>
              <a:rPr lang="ru-RU" sz="1143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ru-RU" sz="114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имулирование сбора и вторичной переработки </a:t>
            </a:r>
            <a:r>
              <a:rPr lang="ru-RU" sz="1143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иэтиленовой/пластиковой упаковки</a:t>
            </a:r>
            <a:endParaRPr lang="ru-RU" sz="1143" dirty="0">
              <a:solidFill>
                <a:schemeClr val="bg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9875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67743" y="24651"/>
            <a:ext cx="6543091" cy="931279"/>
          </a:xfrm>
        </p:spPr>
        <p:txBody>
          <a:bodyPr>
            <a:normAutofit/>
          </a:bodyPr>
          <a:lstStyle/>
          <a:p>
            <a:pPr algn="l"/>
            <a:r>
              <a:rPr lang="ru-RU" sz="1600" b="1" dirty="0" smtClean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.4. </a:t>
            </a:r>
            <a: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ы регулирования сокращения потребления полиэтиленовой упаковки и образования отходов из нее</a:t>
            </a:r>
            <a:endParaRPr lang="ru-RU" sz="1600" b="1" dirty="0">
              <a:solidFill>
                <a:srgbClr val="224B15"/>
              </a:solidFill>
            </a:endParaRPr>
          </a:p>
        </p:txBody>
      </p:sp>
      <p:sp>
        <p:nvSpPr>
          <p:cNvPr id="30" name="Пятиугольник 29"/>
          <p:cNvSpPr/>
          <p:nvPr/>
        </p:nvSpPr>
        <p:spPr>
          <a:xfrm>
            <a:off x="324084" y="878768"/>
            <a:ext cx="7981280" cy="590988"/>
          </a:xfrm>
          <a:prstGeom prst="homePlate">
            <a:avLst/>
          </a:prstGeom>
          <a:solidFill>
            <a:srgbClr val="4686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43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38298" y="1000026"/>
            <a:ext cx="7764877" cy="3436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3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ru-RU" sz="1633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ru-RU" sz="163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илотные проекты территориальных ограничений (в период с 2018 – 2020 </a:t>
            </a:r>
            <a:r>
              <a:rPr lang="ru-RU" sz="1633" b="1" dirty="0" err="1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.г</a:t>
            </a:r>
            <a:r>
              <a:rPr lang="ru-RU" sz="163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ru-RU" sz="1633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5401" y="1464904"/>
            <a:ext cx="8278125" cy="2995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73258" indent="-186629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 законодательной основе (постановление Правительства РФ)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ддержать ранее озвученные инициативы Минприроды России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сширив зоны ограничения/запрета производства и обращения упаковки, не подверженной биоразложению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на всех территориях, где реализованы природоохранные мероприятия (в том числе национальные парки, заповедники/заказники, рекреационные/зоны отдых/курортные), вблизи открытых водоемов (как резервуаров пресной/питьевой воды и источников рыбы, а также морских водоемов как сложных биосфер и источников морепродуктов)</a:t>
            </a:r>
          </a:p>
          <a:p>
            <a:pPr marL="326601" indent="-139972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ru-RU" sz="98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73258" indent="-186629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пуск пилотных проектов 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20 км зоне озера Байкал, городов Сочи, Астрахани и на всей территории Республики Крым, с последующим расширением запрета на все прибрежные регионы Российской Федерации</a:t>
            </a:r>
          </a:p>
          <a:p>
            <a:pPr marL="186629" algn="just">
              <a:lnSpc>
                <a:spcPct val="107000"/>
              </a:lnSpc>
            </a:pPr>
            <a:endParaRPr lang="ru-RU" sz="98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73258" indent="-186629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решить местным властям регионов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где нет эффективной системы сбора и утилизации полиэтиленовых отходов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водить ограничения/запрет на обращение полиэтиленовой упаковки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на уровне регионального законодательства</a:t>
            </a:r>
            <a:endParaRPr lang="ru-RU" sz="98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9529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https://cyberleninka.ru/viewer_images/15160822/f/5.png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54" t="59579" r="6967" b="13811"/>
          <a:stretch/>
        </p:blipFill>
        <p:spPr bwMode="auto">
          <a:xfrm>
            <a:off x="234922" y="1008262"/>
            <a:ext cx="5838589" cy="294307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300301" y="741825"/>
            <a:ext cx="6172978" cy="293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85385"/>
            <a:r>
              <a:rPr lang="ru-RU" sz="1306" b="1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офиль экологической культуры студентов России и Германии</a:t>
            </a:r>
            <a:endParaRPr lang="ru-RU" sz="1152" dirty="0">
              <a:solidFill>
                <a:prstClr val="black"/>
              </a:solidFill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2326219" y="235335"/>
            <a:ext cx="6414628" cy="373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altLang="ru-RU" sz="1600" b="1" dirty="0" smtClean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5. </a:t>
            </a:r>
            <a:r>
              <a:rPr lang="ru-RU" alt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у ответственного потребления необходимо формировать на всех уровнях </a:t>
            </a:r>
            <a:r>
              <a:rPr lang="ru-RU" altLang="ru-RU" sz="1600" b="1" dirty="0" smtClean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1/2)</a:t>
            </a:r>
            <a:endParaRPr lang="ru-RU" altLang="ru-RU" sz="1600" b="1" dirty="0">
              <a:solidFill>
                <a:srgbClr val="224B1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55576" y="4010088"/>
            <a:ext cx="8259928" cy="494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85385"/>
            <a:r>
              <a:rPr lang="ru-RU" sz="1306" b="1" dirty="0">
                <a:solidFill>
                  <a:srgbClr val="224B15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Необходимо внедрение системного комплексного подхода по формированию экологической культуры у молодежи России на государственном уровне</a:t>
            </a:r>
            <a:endParaRPr lang="ru-RU" sz="1152" b="1" dirty="0">
              <a:solidFill>
                <a:srgbClr val="224B15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93330" y="1424351"/>
            <a:ext cx="3159898" cy="2357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 indent="-186629" defTabSz="585385">
              <a:spcBef>
                <a:spcPts val="490"/>
              </a:spcBef>
              <a:buFont typeface="Arial" panose="020B0604020202020204" pitchFamily="34" charset="0"/>
              <a:buChar char="•"/>
            </a:pPr>
            <a:r>
              <a:rPr lang="ru-RU" sz="1306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Студенты России и Германии имеют разный уровень экологической </a:t>
            </a:r>
            <a:r>
              <a:rPr lang="ru-RU" sz="1306" dirty="0" smtClean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культуры</a:t>
            </a:r>
          </a:p>
          <a:p>
            <a:pPr marL="186629" indent="-186629" defTabSz="585385">
              <a:spcBef>
                <a:spcPts val="490"/>
              </a:spcBef>
              <a:buFont typeface="Arial" panose="020B0604020202020204" pitchFamily="34" charset="0"/>
              <a:buChar char="•"/>
            </a:pPr>
            <a:endParaRPr lang="ru-RU" sz="1306" dirty="0" smtClean="0">
              <a:solidFill>
                <a:srgbClr val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86629" indent="-186629" defTabSz="585385">
              <a:spcBef>
                <a:spcPts val="490"/>
              </a:spcBef>
              <a:buFont typeface="Arial" panose="020B0604020202020204" pitchFamily="34" charset="0"/>
              <a:buChar char="•"/>
            </a:pPr>
            <a:r>
              <a:rPr lang="ru-RU" sz="1306" b="1" dirty="0" smtClean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рофиль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российских студентов </a:t>
            </a:r>
            <a:r>
              <a:rPr lang="ru-RU" sz="1306" dirty="0" smtClean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тличается: </a:t>
            </a:r>
          </a:p>
          <a:p>
            <a:pPr defTabSz="585385">
              <a:spcBef>
                <a:spcPts val="490"/>
              </a:spcBef>
            </a:pPr>
            <a:r>
              <a:rPr lang="ru-RU" sz="1200" b="1" i="1" dirty="0" smtClean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- низким </a:t>
            </a:r>
            <a:r>
              <a:rPr lang="ru-RU" sz="1200" b="1" i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уровнем </a:t>
            </a:r>
            <a:r>
              <a:rPr lang="ru-RU" sz="1200" b="1" i="1" dirty="0" smtClean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информированности</a:t>
            </a:r>
          </a:p>
          <a:p>
            <a:pPr defTabSz="585385">
              <a:spcBef>
                <a:spcPts val="490"/>
              </a:spcBef>
            </a:pPr>
            <a:r>
              <a:rPr lang="ru-RU" sz="1200" b="1" i="1" dirty="0" smtClean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- высоким </a:t>
            </a:r>
            <a:r>
              <a:rPr lang="ru-RU" sz="1200" b="1" i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уровнем </a:t>
            </a:r>
            <a:r>
              <a:rPr lang="ru-RU" sz="1200" b="1" i="1" dirty="0" smtClean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беспокоенности</a:t>
            </a:r>
          </a:p>
          <a:p>
            <a:pPr defTabSz="585385">
              <a:spcBef>
                <a:spcPts val="490"/>
              </a:spcBef>
            </a:pPr>
            <a:r>
              <a:rPr lang="ru-RU" sz="1200" b="1" i="1" dirty="0" smtClean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- низкой экологической культурой поведения </a:t>
            </a:r>
            <a:endParaRPr lang="ru-RU" sz="1200" b="1" i="1" dirty="0">
              <a:solidFill>
                <a:srgbClr val="3C8A2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23528" y="3765270"/>
            <a:ext cx="182133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: МГЛУ, вестник №24 (684)</a:t>
            </a:r>
            <a:endParaRPr lang="ru-RU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1790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411760" y="-17016"/>
            <a:ext cx="6255059" cy="931279"/>
          </a:xfrm>
        </p:spPr>
        <p:txBody>
          <a:bodyPr>
            <a:normAutofit/>
          </a:bodyPr>
          <a:lstStyle/>
          <a:p>
            <a:pPr algn="l"/>
            <a:r>
              <a:rPr lang="ru-RU" sz="1600" b="1" dirty="0" smtClean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.5. </a:t>
            </a:r>
            <a: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ы регулирования сокращения потребления полиэтиленовой упаковки и образования отходов из нее (3/3)</a:t>
            </a:r>
            <a:endParaRPr lang="ru-RU" sz="1600" b="1" dirty="0">
              <a:solidFill>
                <a:srgbClr val="224B15"/>
              </a:solidFill>
            </a:endParaRPr>
          </a:p>
        </p:txBody>
      </p:sp>
      <p:sp>
        <p:nvSpPr>
          <p:cNvPr id="29" name="Пятиугольник 28"/>
          <p:cNvSpPr/>
          <p:nvPr/>
        </p:nvSpPr>
        <p:spPr>
          <a:xfrm>
            <a:off x="589667" y="884241"/>
            <a:ext cx="7210661" cy="589672"/>
          </a:xfrm>
          <a:prstGeom prst="homePlate">
            <a:avLst>
              <a:gd name="adj" fmla="val 52676"/>
            </a:avLst>
          </a:prstGeom>
          <a:solidFill>
            <a:srgbClr val="4686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35">
              <a:solidFill>
                <a:prstClr val="white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67544" y="864055"/>
            <a:ext cx="6607152" cy="63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 lvl="1">
              <a:lnSpc>
                <a:spcPct val="107000"/>
              </a:lnSpc>
            </a:pPr>
            <a:r>
              <a:rPr lang="ru-RU" sz="163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ru-RU" sz="1633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ru-RU" sz="163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ддержка формирования культуры на государственном уровне </a:t>
            </a:r>
            <a:r>
              <a:rPr lang="ru-RU" sz="1633" i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образовательные стандарты: школы, университеты)</a:t>
            </a:r>
            <a:endParaRPr lang="ru-RU" sz="1633" i="1" dirty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1520" y="1514285"/>
            <a:ext cx="8612303" cy="3025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6601" indent="-139972" algn="just">
              <a:spcBef>
                <a:spcPts val="490"/>
              </a:spcBef>
              <a:buFont typeface="Arial" panose="020B0604020202020204" pitchFamily="34" charset="0"/>
              <a:buChar char="•"/>
            </a:pP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витие и интенсификация экологического образования</a:t>
            </a:r>
          </a:p>
          <a:p>
            <a:pPr marL="326601" indent="-139972" algn="just">
              <a:spcBef>
                <a:spcPts val="490"/>
              </a:spcBef>
              <a:buFont typeface="Arial" panose="020B0604020202020204" pitchFamily="34" charset="0"/>
              <a:buChar char="•"/>
            </a:pP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</a:t>
            </a:r>
            <a:r>
              <a:rPr lang="ru-RU" sz="1306" b="1" dirty="0" smtClean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зработка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диного стандарта последовательных программ обучения экологической грамотности и ответственного потребления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включая практические занятия для школьников и студентов разных форм обучения</a:t>
            </a:r>
          </a:p>
          <a:p>
            <a:pPr marL="326601" indent="-139972" algn="just">
              <a:spcBef>
                <a:spcPts val="490"/>
              </a:spcBef>
              <a:buFont typeface="Arial" panose="020B0604020202020204" pitchFamily="34" charset="0"/>
              <a:buChar char="•"/>
            </a:pP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еобходима доработка ФЗ «Об охране окружающей среды» в части статьи 74 «Экологическое просвещение»: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ведение обязанности образовательных и культурных учреждений по проведению системных экологических мероприятий 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лекции, тематические выставки и т.п.), а также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й к обязательному экологическому контенту и его объему в СМИ 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социальная реклама, формат просветительских передач/статей и т.п.) </a:t>
            </a:r>
          </a:p>
          <a:p>
            <a:pPr marL="326601" indent="-139972" algn="just">
              <a:spcBef>
                <a:spcPts val="490"/>
              </a:spcBef>
              <a:buFont typeface="Arial" panose="020B0604020202020204" pitchFamily="34" charset="0"/>
              <a:buChar char="•"/>
            </a:pP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ведение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актики государственного премирования и освещение лучших инициатив и проектов в сфере экологии</a:t>
            </a:r>
          </a:p>
          <a:p>
            <a:pPr marL="326601" indent="-139972" algn="just">
              <a:spcBef>
                <a:spcPts val="490"/>
              </a:spcBef>
              <a:buFont typeface="Arial" panose="020B0604020202020204" pitchFamily="34" charset="0"/>
              <a:buChar char="•"/>
            </a:pP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ка и реализации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атегии ответственного потребления 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 государственном уровне</a:t>
            </a:r>
          </a:p>
          <a:p>
            <a:pPr marL="326601" indent="-139972" algn="just">
              <a:spcBef>
                <a:spcPts val="490"/>
              </a:spcBef>
              <a:buFont typeface="Arial" panose="020B0604020202020204" pitchFamily="34" charset="0"/>
              <a:buChar char="•"/>
            </a:pP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деление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х субсидий на изготовление и размещение рекламного и просветительского контента</a:t>
            </a:r>
            <a:r>
              <a:rPr lang="ru-RU" sz="1306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направленного </a:t>
            </a:r>
            <a:r>
              <a:rPr lang="ru-RU" sz="1306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пуляризацию культуры ответственного потребления в России</a:t>
            </a:r>
          </a:p>
        </p:txBody>
      </p:sp>
    </p:spTree>
    <p:extLst>
      <p:ext uri="{BB962C8B-B14F-4D97-AF65-F5344CB8AC3E}">
        <p14:creationId xmlns:p14="http://schemas.microsoft.com/office/powerpoint/2010/main" val="345496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309525" y="52995"/>
            <a:ext cx="5997368" cy="857250"/>
          </a:xfrm>
        </p:spPr>
        <p:txBody>
          <a:bodyPr>
            <a:normAutofit/>
          </a:bodyPr>
          <a:lstStyle/>
          <a:p>
            <a:pPr algn="l"/>
            <a: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. Выгоды от реализации предложенных </a:t>
            </a:r>
            <a:r>
              <a:rPr lang="ru-RU" sz="1600" b="1" dirty="0" smtClean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 (Государство)</a:t>
            </a:r>
            <a:endParaRPr lang="ru-RU" sz="1600" b="1" dirty="0">
              <a:solidFill>
                <a:srgbClr val="224B1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7980D6-5805-C34E-A13A-6709FD6D840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67544" y="771550"/>
            <a:ext cx="8352928" cy="3680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9972" indent="-139972" algn="just">
              <a:lnSpc>
                <a:spcPct val="120000"/>
              </a:lnSpc>
              <a:buFont typeface="Symbol" panose="05050102010706020507" pitchFamily="18" charset="2"/>
              <a:buChar char=""/>
            </a:pPr>
            <a:r>
              <a:rPr lang="ru-RU" sz="1143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ормирование условий для системной и </a:t>
            </a:r>
            <a:r>
              <a:rPr lang="ru-RU" sz="1143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следовательной минимизации образования трудно собираемых ТКО</a:t>
            </a:r>
            <a:r>
              <a:rPr lang="ru-RU" sz="1143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полиэтиленовых пакетов, с 300 тыс. тонн в год, до целевого уровня (не менее чем в 3 раза).</a:t>
            </a:r>
            <a:endParaRPr lang="ru-RU" sz="1143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9972" indent="-139972" algn="just">
              <a:lnSpc>
                <a:spcPct val="120000"/>
              </a:lnSpc>
              <a:buFont typeface="Symbol" panose="05050102010706020507" pitchFamily="18" charset="2"/>
              <a:buChar char=""/>
            </a:pPr>
            <a:r>
              <a:rPr lang="ru-RU" sz="1143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инимизация проблем накопления и утилизации части трудно-собираемых ТКО</a:t>
            </a:r>
            <a:endParaRPr lang="ru-RU" sz="1143" dirty="0">
              <a:solidFill>
                <a:srgbClr val="1F1F1F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39972" indent="-139972" algn="just">
              <a:lnSpc>
                <a:spcPct val="120000"/>
              </a:lnSpc>
              <a:buFont typeface="Symbol" panose="05050102010706020507" pitchFamily="18" charset="2"/>
              <a:buChar char=""/>
            </a:pPr>
            <a:r>
              <a:rPr lang="ru-RU" sz="1143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кцизные платежи, взимаемые с потребителя полиэтиленовых пакетов - источник формирование фонда для </a:t>
            </a:r>
            <a:r>
              <a:rPr lang="ru-RU" sz="1143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ализации целевых экологических программ, программы перевооружения производств, планируемых к реализации в рамках Стратегии</a:t>
            </a:r>
            <a:r>
              <a:rPr lang="ru-RU" sz="1143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43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вития промышленности по обработке, утилизации и обезвреживанию отходов производства и потребления на период до 2030 года, утвержденной 25 января 2018 года Распоряжением Правительства РФ №84-р.</a:t>
            </a:r>
          </a:p>
          <a:p>
            <a:pPr marL="139972" indent="-139972" algn="just">
              <a:lnSpc>
                <a:spcPct val="120000"/>
              </a:lnSpc>
              <a:buFont typeface="Symbol" panose="05050102010706020507" pitchFamily="18" charset="2"/>
              <a:buChar char=""/>
            </a:pPr>
            <a:r>
              <a:rPr lang="ru-RU" sz="1143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ложительное воздействие на </a:t>
            </a:r>
            <a:r>
              <a:rPr lang="ru-RU" sz="1143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нижение выбросов CO2 </a:t>
            </a:r>
            <a:r>
              <a:rPr lang="ru-RU" sz="1143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соответствии с обязательствами, принятыми Россией в рамках Парижского соглашения </a:t>
            </a:r>
          </a:p>
          <a:p>
            <a:pPr marL="139972" indent="-139972" algn="just">
              <a:lnSpc>
                <a:spcPct val="120000"/>
              </a:lnSpc>
              <a:buFont typeface="Symbol" panose="05050102010706020507" pitchFamily="18" charset="2"/>
              <a:buChar char=""/>
            </a:pPr>
            <a:r>
              <a:rPr lang="ru-RU" sz="1143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ост инвестиционной привлекательности, снижение страновых рисков</a:t>
            </a:r>
            <a:endParaRPr lang="ru-RU" sz="1143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9972" indent="-139972" algn="just">
              <a:lnSpc>
                <a:spcPct val="120000"/>
              </a:lnSpc>
              <a:buFont typeface="Symbol" panose="05050102010706020507" pitchFamily="18" charset="2"/>
              <a:buChar char=""/>
            </a:pPr>
            <a:r>
              <a:rPr lang="ru-RU" sz="1143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инимизация</a:t>
            </a:r>
            <a:r>
              <a:rPr lang="ru-RU" sz="1143" b="1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43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градации сельскохозяйственных земель, грунтовых вод и </a:t>
            </a:r>
            <a:r>
              <a:rPr lang="ru-RU" sz="1143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худшения условий проживания</a:t>
            </a:r>
            <a:endParaRPr lang="ru-RU" sz="1143" dirty="0">
              <a:solidFill>
                <a:srgbClr val="3C8A2E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9972" indent="-139972" algn="just">
              <a:lnSpc>
                <a:spcPct val="120000"/>
              </a:lnSpc>
              <a:buFont typeface="Symbol" panose="05050102010706020507" pitchFamily="18" charset="2"/>
              <a:buChar char=""/>
            </a:pPr>
            <a:r>
              <a:rPr lang="ru-RU" sz="1143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нижение экономических и политических рисков</a:t>
            </a:r>
            <a:r>
              <a:rPr lang="ru-RU" sz="1143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связанных с накоплением ТКО в международных водах</a:t>
            </a:r>
            <a:endParaRPr lang="ru-RU" sz="1143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9972" indent="-139972" algn="just">
              <a:lnSpc>
                <a:spcPct val="120000"/>
              </a:lnSpc>
              <a:buFont typeface="Symbol" panose="05050102010706020507" pitchFamily="18" charset="2"/>
              <a:buChar char=""/>
            </a:pPr>
            <a:r>
              <a:rPr lang="ru-RU" sz="1143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граничение использования одноразовых полиэтиленовых пакетов стимулирует </a:t>
            </a:r>
            <a:r>
              <a:rPr lang="ru-RU" sz="1143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витие глубоких переделов в лесопромышленном комплексе</a:t>
            </a:r>
            <a:r>
              <a:rPr lang="ru-RU" sz="1143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в частности в целлюлозно-бумажной отрасли России, что обеспечит достижение целевых показателей, определенных в проекте </a:t>
            </a:r>
            <a:r>
              <a:rPr lang="ru-RU" sz="1143" dirty="0">
                <a:solidFill>
                  <a:srgbClr val="333333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атегии развития лесопромышленного комплекса России до 2030 года.</a:t>
            </a:r>
            <a:endParaRPr lang="ru-RU" sz="1143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39972" indent="-139972" algn="just">
              <a:lnSpc>
                <a:spcPct val="120000"/>
              </a:lnSpc>
              <a:buFont typeface="Symbol" panose="05050102010706020507" pitchFamily="18" charset="2"/>
              <a:buChar char=""/>
            </a:pPr>
            <a:r>
              <a:rPr lang="ru-RU" sz="1143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окращение расходов на здравоохранение</a:t>
            </a:r>
            <a:r>
              <a:rPr lang="ru-RU" sz="1143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43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окращение расходов на ликвидацию последствий чрезвычайных ситуаций</a:t>
            </a:r>
          </a:p>
          <a:p>
            <a:pPr marL="139972" indent="-139972" algn="just">
              <a:lnSpc>
                <a:spcPct val="120000"/>
              </a:lnSpc>
              <a:buFont typeface="Symbol" panose="05050102010706020507" pitchFamily="18" charset="2"/>
              <a:buChar char=""/>
            </a:pPr>
            <a:r>
              <a:rPr lang="ru-RU" sz="1143" dirty="0">
                <a:solidFill>
                  <a:srgbClr val="1F1F1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едотвращение экологической катастрофы вокруг крупных городов и туристических кластерах</a:t>
            </a:r>
            <a:endParaRPr lang="ru-RU" sz="1143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267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630275" y="2046056"/>
            <a:ext cx="4090786" cy="458390"/>
          </a:xfrm>
        </p:spPr>
        <p:txBody>
          <a:bodyPr>
            <a:noAutofit/>
          </a:bodyPr>
          <a:lstStyle/>
          <a:p>
            <a:r>
              <a:rPr lang="ru-RU" sz="2694" b="1" dirty="0">
                <a:solidFill>
                  <a:srgbClr val="3C8A2E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пасибо за внимание !</a:t>
            </a:r>
            <a:endParaRPr lang="en-GB" sz="2694" b="1" dirty="0">
              <a:solidFill>
                <a:srgbClr val="3C8A2E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23528" y="915566"/>
            <a:ext cx="7268372" cy="6951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6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Мы столь радикально изменяли нашу среду, что теперь для того, чтобы существовать в ней, мы должны изменить себя»</a:t>
            </a:r>
          </a:p>
          <a:p>
            <a:r>
              <a:rPr lang="ru-RU" sz="1306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инер </a:t>
            </a:r>
            <a:r>
              <a:rPr lang="ru-RU" sz="1306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орберт</a:t>
            </a:r>
            <a:endParaRPr lang="ru-RU" sz="1306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Номер слайда 3"/>
          <p:cNvSpPr txBox="1">
            <a:spLocks/>
          </p:cNvSpPr>
          <p:nvPr/>
        </p:nvSpPr>
        <p:spPr>
          <a:xfrm>
            <a:off x="1324847" y="4869657"/>
            <a:ext cx="484936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1434065" rtl="0" eaLnBrk="1" latinLnBrk="0" hangingPunct="1">
              <a:defRPr sz="28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7032" algn="l" defTabSz="1434065" rtl="0" eaLnBrk="1" latinLnBrk="0" hangingPunct="1">
              <a:defRPr sz="28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4065" algn="l" defTabSz="1434065" rtl="0" eaLnBrk="1" latinLnBrk="0" hangingPunct="1">
              <a:defRPr sz="28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1097" algn="l" defTabSz="1434065" rtl="0" eaLnBrk="1" latinLnBrk="0" hangingPunct="1">
              <a:defRPr sz="28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68129" algn="l" defTabSz="1434065" rtl="0" eaLnBrk="1" latinLnBrk="0" hangingPunct="1">
              <a:defRPr sz="28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85161" algn="l" defTabSz="1434065" rtl="0" eaLnBrk="1" latinLnBrk="0" hangingPunct="1">
              <a:defRPr sz="28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02193" algn="l" defTabSz="1434065" rtl="0" eaLnBrk="1" latinLnBrk="0" hangingPunct="1">
              <a:defRPr sz="28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19227" algn="l" defTabSz="1434065" rtl="0" eaLnBrk="1" latinLnBrk="0" hangingPunct="1">
              <a:defRPr sz="28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36259" algn="l" defTabSz="1434065" rtl="0" eaLnBrk="1" latinLnBrk="0" hangingPunct="1">
              <a:defRPr sz="28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52" dirty="0"/>
          </a:p>
        </p:txBody>
      </p:sp>
    </p:spTree>
    <p:extLst>
      <p:ext uri="{BB962C8B-B14F-4D97-AF65-F5344CB8AC3E}">
        <p14:creationId xmlns:p14="http://schemas.microsoft.com/office/powerpoint/2010/main" val="3875405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52712" y="1056189"/>
            <a:ext cx="4459935" cy="2630638"/>
            <a:chOff x="624" y="712"/>
            <a:chExt cx="5316" cy="3053"/>
          </a:xfrm>
          <a:solidFill>
            <a:srgbClr val="AEAEAE"/>
          </a:solidFill>
        </p:grpSpPr>
        <p:sp>
          <p:nvSpPr>
            <p:cNvPr id="18" name="Freeform 8"/>
            <p:cNvSpPr>
              <a:spLocks noChangeAspect="1"/>
            </p:cNvSpPr>
            <p:nvPr/>
          </p:nvSpPr>
          <p:spPr bwMode="auto">
            <a:xfrm>
              <a:off x="5615" y="3566"/>
              <a:ext cx="19" cy="16"/>
            </a:xfrm>
            <a:custGeom>
              <a:avLst/>
              <a:gdLst>
                <a:gd name="T0" fmla="*/ 0 w 19"/>
                <a:gd name="T1" fmla="*/ 16 h 16"/>
                <a:gd name="T2" fmla="*/ 17 w 19"/>
                <a:gd name="T3" fmla="*/ 9 h 16"/>
                <a:gd name="T4" fmla="*/ 19 w 19"/>
                <a:gd name="T5" fmla="*/ 0 h 16"/>
                <a:gd name="T6" fmla="*/ 0 w 19"/>
                <a:gd name="T7" fmla="*/ 16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6"/>
                <a:gd name="T14" fmla="*/ 19 w 19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6">
                  <a:moveTo>
                    <a:pt x="0" y="16"/>
                  </a:moveTo>
                  <a:lnTo>
                    <a:pt x="17" y="9"/>
                  </a:lnTo>
                  <a:lnTo>
                    <a:pt x="19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9" name="Freeform 9"/>
            <p:cNvSpPr>
              <a:spLocks noChangeAspect="1"/>
            </p:cNvSpPr>
            <p:nvPr/>
          </p:nvSpPr>
          <p:spPr bwMode="auto">
            <a:xfrm>
              <a:off x="2118" y="3191"/>
              <a:ext cx="89" cy="106"/>
            </a:xfrm>
            <a:custGeom>
              <a:avLst/>
              <a:gdLst>
                <a:gd name="T0" fmla="*/ 5 w 98"/>
                <a:gd name="T1" fmla="*/ 88 h 106"/>
                <a:gd name="T2" fmla="*/ 0 w 98"/>
                <a:gd name="T3" fmla="*/ 0 h 106"/>
                <a:gd name="T4" fmla="*/ 5 w 98"/>
                <a:gd name="T5" fmla="*/ 0 h 106"/>
                <a:gd name="T6" fmla="*/ 5 w 98"/>
                <a:gd name="T7" fmla="*/ 18 h 106"/>
                <a:gd name="T8" fmla="*/ 5 w 98"/>
                <a:gd name="T9" fmla="*/ 15 h 106"/>
                <a:gd name="T10" fmla="*/ 5 w 98"/>
                <a:gd name="T11" fmla="*/ 40 h 106"/>
                <a:gd name="T12" fmla="*/ 5 w 98"/>
                <a:gd name="T13" fmla="*/ 58 h 106"/>
                <a:gd name="T14" fmla="*/ 5 w 98"/>
                <a:gd name="T15" fmla="*/ 82 h 106"/>
                <a:gd name="T16" fmla="*/ 5 w 98"/>
                <a:gd name="T17" fmla="*/ 99 h 106"/>
                <a:gd name="T18" fmla="*/ 5 w 98"/>
                <a:gd name="T19" fmla="*/ 106 h 106"/>
                <a:gd name="T20" fmla="*/ 5 w 98"/>
                <a:gd name="T21" fmla="*/ 88 h 10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8"/>
                <a:gd name="T34" fmla="*/ 0 h 106"/>
                <a:gd name="T35" fmla="*/ 98 w 98"/>
                <a:gd name="T36" fmla="*/ 106 h 10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8" h="106">
                  <a:moveTo>
                    <a:pt x="5" y="88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38" y="18"/>
                  </a:lnTo>
                  <a:lnTo>
                    <a:pt x="42" y="15"/>
                  </a:lnTo>
                  <a:lnTo>
                    <a:pt x="82" y="40"/>
                  </a:lnTo>
                  <a:lnTo>
                    <a:pt x="98" y="58"/>
                  </a:lnTo>
                  <a:lnTo>
                    <a:pt x="98" y="82"/>
                  </a:lnTo>
                  <a:lnTo>
                    <a:pt x="90" y="99"/>
                  </a:lnTo>
                  <a:lnTo>
                    <a:pt x="48" y="106"/>
                  </a:lnTo>
                  <a:lnTo>
                    <a:pt x="5" y="8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0" name="Freeform 10"/>
            <p:cNvSpPr>
              <a:spLocks noChangeAspect="1"/>
            </p:cNvSpPr>
            <p:nvPr/>
          </p:nvSpPr>
          <p:spPr bwMode="auto">
            <a:xfrm>
              <a:off x="2081" y="3698"/>
              <a:ext cx="75" cy="67"/>
            </a:xfrm>
            <a:custGeom>
              <a:avLst/>
              <a:gdLst>
                <a:gd name="T0" fmla="*/ 0 w 83"/>
                <a:gd name="T1" fmla="*/ 0 h 67"/>
                <a:gd name="T2" fmla="*/ 5 w 83"/>
                <a:gd name="T3" fmla="*/ 23 h 67"/>
                <a:gd name="T4" fmla="*/ 5 w 83"/>
                <a:gd name="T5" fmla="*/ 45 h 67"/>
                <a:gd name="T6" fmla="*/ 5 w 83"/>
                <a:gd name="T7" fmla="*/ 52 h 67"/>
                <a:gd name="T8" fmla="*/ 5 w 83"/>
                <a:gd name="T9" fmla="*/ 59 h 67"/>
                <a:gd name="T10" fmla="*/ 5 w 83"/>
                <a:gd name="T11" fmla="*/ 67 h 67"/>
                <a:gd name="T12" fmla="*/ 5 w 83"/>
                <a:gd name="T13" fmla="*/ 65 h 67"/>
                <a:gd name="T14" fmla="*/ 0 w 83"/>
                <a:gd name="T15" fmla="*/ 0 h 6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3"/>
                <a:gd name="T25" fmla="*/ 0 h 67"/>
                <a:gd name="T26" fmla="*/ 83 w 83"/>
                <a:gd name="T27" fmla="*/ 67 h 6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3" h="67">
                  <a:moveTo>
                    <a:pt x="0" y="0"/>
                  </a:moveTo>
                  <a:lnTo>
                    <a:pt x="24" y="23"/>
                  </a:lnTo>
                  <a:lnTo>
                    <a:pt x="83" y="45"/>
                  </a:lnTo>
                  <a:lnTo>
                    <a:pt x="79" y="52"/>
                  </a:lnTo>
                  <a:lnTo>
                    <a:pt x="38" y="59"/>
                  </a:lnTo>
                  <a:lnTo>
                    <a:pt x="46" y="67"/>
                  </a:lnTo>
                  <a:lnTo>
                    <a:pt x="31" y="6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1" name="Freeform 11"/>
            <p:cNvSpPr>
              <a:spLocks noChangeAspect="1"/>
            </p:cNvSpPr>
            <p:nvPr/>
          </p:nvSpPr>
          <p:spPr bwMode="auto">
            <a:xfrm>
              <a:off x="2012" y="3698"/>
              <a:ext cx="97" cy="65"/>
            </a:xfrm>
            <a:custGeom>
              <a:avLst/>
              <a:gdLst>
                <a:gd name="T0" fmla="*/ 4 w 108"/>
                <a:gd name="T1" fmla="*/ 0 h 65"/>
                <a:gd name="T2" fmla="*/ 4 w 108"/>
                <a:gd name="T3" fmla="*/ 5 h 65"/>
                <a:gd name="T4" fmla="*/ 4 w 108"/>
                <a:gd name="T5" fmla="*/ 16 h 65"/>
                <a:gd name="T6" fmla="*/ 4 w 108"/>
                <a:gd name="T7" fmla="*/ 20 h 65"/>
                <a:gd name="T8" fmla="*/ 4 w 108"/>
                <a:gd name="T9" fmla="*/ 26 h 65"/>
                <a:gd name="T10" fmla="*/ 4 w 108"/>
                <a:gd name="T11" fmla="*/ 23 h 65"/>
                <a:gd name="T12" fmla="*/ 4 w 108"/>
                <a:gd name="T13" fmla="*/ 34 h 65"/>
                <a:gd name="T14" fmla="*/ 3 w 108"/>
                <a:gd name="T15" fmla="*/ 16 h 65"/>
                <a:gd name="T16" fmla="*/ 0 w 108"/>
                <a:gd name="T17" fmla="*/ 22 h 65"/>
                <a:gd name="T18" fmla="*/ 4 w 108"/>
                <a:gd name="T19" fmla="*/ 33 h 65"/>
                <a:gd name="T20" fmla="*/ 4 w 108"/>
                <a:gd name="T21" fmla="*/ 33 h 65"/>
                <a:gd name="T22" fmla="*/ 4 w 108"/>
                <a:gd name="T23" fmla="*/ 52 h 65"/>
                <a:gd name="T24" fmla="*/ 4 w 108"/>
                <a:gd name="T25" fmla="*/ 52 h 65"/>
                <a:gd name="T26" fmla="*/ 4 w 108"/>
                <a:gd name="T27" fmla="*/ 60 h 65"/>
                <a:gd name="T28" fmla="*/ 4 w 108"/>
                <a:gd name="T29" fmla="*/ 65 h 65"/>
                <a:gd name="T30" fmla="*/ 4 w 108"/>
                <a:gd name="T31" fmla="*/ 0 h 6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8"/>
                <a:gd name="T49" fmla="*/ 0 h 65"/>
                <a:gd name="T50" fmla="*/ 108 w 108"/>
                <a:gd name="T51" fmla="*/ 65 h 6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8" h="65">
                  <a:moveTo>
                    <a:pt x="77" y="0"/>
                  </a:moveTo>
                  <a:lnTo>
                    <a:pt x="54" y="5"/>
                  </a:lnTo>
                  <a:lnTo>
                    <a:pt x="56" y="16"/>
                  </a:lnTo>
                  <a:lnTo>
                    <a:pt x="77" y="20"/>
                  </a:lnTo>
                  <a:lnTo>
                    <a:pt x="66" y="26"/>
                  </a:lnTo>
                  <a:lnTo>
                    <a:pt x="58" y="23"/>
                  </a:lnTo>
                  <a:lnTo>
                    <a:pt x="55" y="34"/>
                  </a:lnTo>
                  <a:lnTo>
                    <a:pt x="3" y="16"/>
                  </a:lnTo>
                  <a:lnTo>
                    <a:pt x="0" y="22"/>
                  </a:lnTo>
                  <a:lnTo>
                    <a:pt x="15" y="33"/>
                  </a:lnTo>
                  <a:lnTo>
                    <a:pt x="26" y="33"/>
                  </a:lnTo>
                  <a:lnTo>
                    <a:pt x="62" y="52"/>
                  </a:lnTo>
                  <a:lnTo>
                    <a:pt x="82" y="52"/>
                  </a:lnTo>
                  <a:lnTo>
                    <a:pt x="89" y="60"/>
                  </a:lnTo>
                  <a:lnTo>
                    <a:pt x="108" y="65"/>
                  </a:lnTo>
                  <a:lnTo>
                    <a:pt x="77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2" name="Freeform 12"/>
            <p:cNvSpPr>
              <a:spLocks noChangeAspect="1"/>
            </p:cNvSpPr>
            <p:nvPr/>
          </p:nvSpPr>
          <p:spPr bwMode="auto">
            <a:xfrm>
              <a:off x="1636" y="2499"/>
              <a:ext cx="241" cy="416"/>
            </a:xfrm>
            <a:custGeom>
              <a:avLst/>
              <a:gdLst>
                <a:gd name="T0" fmla="*/ 5 w 267"/>
                <a:gd name="T1" fmla="*/ 77 h 416"/>
                <a:gd name="T2" fmla="*/ 0 w 267"/>
                <a:gd name="T3" fmla="*/ 94 h 416"/>
                <a:gd name="T4" fmla="*/ 5 w 267"/>
                <a:gd name="T5" fmla="*/ 127 h 416"/>
                <a:gd name="T6" fmla="*/ 5 w 267"/>
                <a:gd name="T7" fmla="*/ 136 h 416"/>
                <a:gd name="T8" fmla="*/ 5 w 267"/>
                <a:gd name="T9" fmla="*/ 154 h 416"/>
                <a:gd name="T10" fmla="*/ 5 w 267"/>
                <a:gd name="T11" fmla="*/ 196 h 416"/>
                <a:gd name="T12" fmla="*/ 5 w 267"/>
                <a:gd name="T13" fmla="*/ 335 h 416"/>
                <a:gd name="T14" fmla="*/ 5 w 267"/>
                <a:gd name="T15" fmla="*/ 416 h 416"/>
                <a:gd name="T16" fmla="*/ 5 w 267"/>
                <a:gd name="T17" fmla="*/ 400 h 416"/>
                <a:gd name="T18" fmla="*/ 5 w 267"/>
                <a:gd name="T19" fmla="*/ 376 h 416"/>
                <a:gd name="T20" fmla="*/ 5 w 267"/>
                <a:gd name="T21" fmla="*/ 358 h 416"/>
                <a:gd name="T22" fmla="*/ 5 w 267"/>
                <a:gd name="T23" fmla="*/ 281 h 416"/>
                <a:gd name="T24" fmla="*/ 5 w 267"/>
                <a:gd name="T25" fmla="*/ 247 h 416"/>
                <a:gd name="T26" fmla="*/ 5 w 267"/>
                <a:gd name="T27" fmla="*/ 247 h 416"/>
                <a:gd name="T28" fmla="*/ 5 w 267"/>
                <a:gd name="T29" fmla="*/ 213 h 416"/>
                <a:gd name="T30" fmla="*/ 5 w 267"/>
                <a:gd name="T31" fmla="*/ 227 h 416"/>
                <a:gd name="T32" fmla="*/ 5 w 267"/>
                <a:gd name="T33" fmla="*/ 211 h 416"/>
                <a:gd name="T34" fmla="*/ 5 w 267"/>
                <a:gd name="T35" fmla="*/ 204 h 416"/>
                <a:gd name="T36" fmla="*/ 5 w 267"/>
                <a:gd name="T37" fmla="*/ 175 h 416"/>
                <a:gd name="T38" fmla="*/ 5 w 267"/>
                <a:gd name="T39" fmla="*/ 132 h 416"/>
                <a:gd name="T40" fmla="*/ 5 w 267"/>
                <a:gd name="T41" fmla="*/ 111 h 416"/>
                <a:gd name="T42" fmla="*/ 5 w 267"/>
                <a:gd name="T43" fmla="*/ 93 h 416"/>
                <a:gd name="T44" fmla="*/ 5 w 267"/>
                <a:gd name="T45" fmla="*/ 80 h 416"/>
                <a:gd name="T46" fmla="*/ 5 w 267"/>
                <a:gd name="T47" fmla="*/ 65 h 416"/>
                <a:gd name="T48" fmla="*/ 5 w 267"/>
                <a:gd name="T49" fmla="*/ 58 h 416"/>
                <a:gd name="T50" fmla="*/ 5 w 267"/>
                <a:gd name="T51" fmla="*/ 51 h 416"/>
                <a:gd name="T52" fmla="*/ 5 w 267"/>
                <a:gd name="T53" fmla="*/ 54 h 416"/>
                <a:gd name="T54" fmla="*/ 5 w 267"/>
                <a:gd name="T55" fmla="*/ 28 h 416"/>
                <a:gd name="T56" fmla="*/ 5 w 267"/>
                <a:gd name="T57" fmla="*/ 0 h 416"/>
                <a:gd name="T58" fmla="*/ 5 w 267"/>
                <a:gd name="T59" fmla="*/ 5 h 416"/>
                <a:gd name="T60" fmla="*/ 5 w 267"/>
                <a:gd name="T61" fmla="*/ 18 h 416"/>
                <a:gd name="T62" fmla="*/ 5 w 267"/>
                <a:gd name="T63" fmla="*/ 37 h 416"/>
                <a:gd name="T64" fmla="*/ 5 w 267"/>
                <a:gd name="T65" fmla="*/ 54 h 416"/>
                <a:gd name="T66" fmla="*/ 5 w 267"/>
                <a:gd name="T67" fmla="*/ 69 h 416"/>
                <a:gd name="T68" fmla="*/ 5 w 267"/>
                <a:gd name="T69" fmla="*/ 113 h 416"/>
                <a:gd name="T70" fmla="*/ 5 w 267"/>
                <a:gd name="T71" fmla="*/ 98 h 416"/>
                <a:gd name="T72" fmla="*/ 5 w 267"/>
                <a:gd name="T73" fmla="*/ 77 h 41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67"/>
                <a:gd name="T112" fmla="*/ 0 h 416"/>
                <a:gd name="T113" fmla="*/ 267 w 267"/>
                <a:gd name="T114" fmla="*/ 416 h 41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67" h="416">
                  <a:moveTo>
                    <a:pt x="18" y="77"/>
                  </a:moveTo>
                  <a:lnTo>
                    <a:pt x="0" y="94"/>
                  </a:lnTo>
                  <a:lnTo>
                    <a:pt x="11" y="127"/>
                  </a:lnTo>
                  <a:lnTo>
                    <a:pt x="5" y="136"/>
                  </a:lnTo>
                  <a:lnTo>
                    <a:pt x="29" y="154"/>
                  </a:lnTo>
                  <a:lnTo>
                    <a:pt x="58" y="196"/>
                  </a:lnTo>
                  <a:lnTo>
                    <a:pt x="126" y="335"/>
                  </a:lnTo>
                  <a:lnTo>
                    <a:pt x="240" y="416"/>
                  </a:lnTo>
                  <a:lnTo>
                    <a:pt x="258" y="400"/>
                  </a:lnTo>
                  <a:lnTo>
                    <a:pt x="267" y="376"/>
                  </a:lnTo>
                  <a:lnTo>
                    <a:pt x="257" y="358"/>
                  </a:lnTo>
                  <a:lnTo>
                    <a:pt x="263" y="281"/>
                  </a:lnTo>
                  <a:lnTo>
                    <a:pt x="243" y="247"/>
                  </a:lnTo>
                  <a:lnTo>
                    <a:pt x="226" y="247"/>
                  </a:lnTo>
                  <a:lnTo>
                    <a:pt x="221" y="213"/>
                  </a:lnTo>
                  <a:lnTo>
                    <a:pt x="196" y="227"/>
                  </a:lnTo>
                  <a:lnTo>
                    <a:pt x="173" y="211"/>
                  </a:lnTo>
                  <a:lnTo>
                    <a:pt x="175" y="204"/>
                  </a:lnTo>
                  <a:lnTo>
                    <a:pt x="156" y="175"/>
                  </a:lnTo>
                  <a:lnTo>
                    <a:pt x="170" y="132"/>
                  </a:lnTo>
                  <a:lnTo>
                    <a:pt x="183" y="111"/>
                  </a:lnTo>
                  <a:lnTo>
                    <a:pt x="229" y="93"/>
                  </a:lnTo>
                  <a:lnTo>
                    <a:pt x="217" y="80"/>
                  </a:lnTo>
                  <a:lnTo>
                    <a:pt x="227" y="65"/>
                  </a:lnTo>
                  <a:lnTo>
                    <a:pt x="223" y="58"/>
                  </a:lnTo>
                  <a:lnTo>
                    <a:pt x="211" y="51"/>
                  </a:lnTo>
                  <a:lnTo>
                    <a:pt x="166" y="54"/>
                  </a:lnTo>
                  <a:lnTo>
                    <a:pt x="154" y="28"/>
                  </a:lnTo>
                  <a:lnTo>
                    <a:pt x="120" y="0"/>
                  </a:lnTo>
                  <a:lnTo>
                    <a:pt x="114" y="5"/>
                  </a:lnTo>
                  <a:lnTo>
                    <a:pt x="121" y="18"/>
                  </a:lnTo>
                  <a:lnTo>
                    <a:pt x="112" y="37"/>
                  </a:lnTo>
                  <a:lnTo>
                    <a:pt x="97" y="54"/>
                  </a:lnTo>
                  <a:lnTo>
                    <a:pt x="68" y="69"/>
                  </a:lnTo>
                  <a:lnTo>
                    <a:pt x="42" y="113"/>
                  </a:lnTo>
                  <a:lnTo>
                    <a:pt x="16" y="98"/>
                  </a:lnTo>
                  <a:lnTo>
                    <a:pt x="18" y="7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3" name="Freeform 13"/>
            <p:cNvSpPr>
              <a:spLocks noChangeAspect="1"/>
            </p:cNvSpPr>
            <p:nvPr/>
          </p:nvSpPr>
          <p:spPr bwMode="auto">
            <a:xfrm>
              <a:off x="1642" y="2467"/>
              <a:ext cx="104" cy="145"/>
            </a:xfrm>
            <a:custGeom>
              <a:avLst/>
              <a:gdLst>
                <a:gd name="T0" fmla="*/ 5 w 115"/>
                <a:gd name="T1" fmla="*/ 109 h 145"/>
                <a:gd name="T2" fmla="*/ 5 w 115"/>
                <a:gd name="T3" fmla="*/ 130 h 145"/>
                <a:gd name="T4" fmla="*/ 5 w 115"/>
                <a:gd name="T5" fmla="*/ 145 h 145"/>
                <a:gd name="T6" fmla="*/ 5 w 115"/>
                <a:gd name="T7" fmla="*/ 101 h 145"/>
                <a:gd name="T8" fmla="*/ 5 w 115"/>
                <a:gd name="T9" fmla="*/ 86 h 145"/>
                <a:gd name="T10" fmla="*/ 5 w 115"/>
                <a:gd name="T11" fmla="*/ 69 h 145"/>
                <a:gd name="T12" fmla="*/ 5 w 115"/>
                <a:gd name="T13" fmla="*/ 50 h 145"/>
                <a:gd name="T14" fmla="*/ 5 w 115"/>
                <a:gd name="T15" fmla="*/ 37 h 145"/>
                <a:gd name="T16" fmla="*/ 5 w 115"/>
                <a:gd name="T17" fmla="*/ 32 h 145"/>
                <a:gd name="T18" fmla="*/ 5 w 115"/>
                <a:gd name="T19" fmla="*/ 25 h 145"/>
                <a:gd name="T20" fmla="*/ 5 w 115"/>
                <a:gd name="T21" fmla="*/ 28 h 145"/>
                <a:gd name="T22" fmla="*/ 5 w 115"/>
                <a:gd name="T23" fmla="*/ 0 h 145"/>
                <a:gd name="T24" fmla="*/ 5 w 115"/>
                <a:gd name="T25" fmla="*/ 14 h 145"/>
                <a:gd name="T26" fmla="*/ 5 w 115"/>
                <a:gd name="T27" fmla="*/ 29 h 145"/>
                <a:gd name="T28" fmla="*/ 5 w 115"/>
                <a:gd name="T29" fmla="*/ 37 h 145"/>
                <a:gd name="T30" fmla="*/ 5 w 115"/>
                <a:gd name="T31" fmla="*/ 49 h 145"/>
                <a:gd name="T32" fmla="*/ 0 w 115"/>
                <a:gd name="T33" fmla="*/ 52 h 145"/>
                <a:gd name="T34" fmla="*/ 1 w 115"/>
                <a:gd name="T35" fmla="*/ 83 h 145"/>
                <a:gd name="T36" fmla="*/ 5 w 115"/>
                <a:gd name="T37" fmla="*/ 99 h 145"/>
                <a:gd name="T38" fmla="*/ 5 w 115"/>
                <a:gd name="T39" fmla="*/ 86 h 145"/>
                <a:gd name="T40" fmla="*/ 5 w 115"/>
                <a:gd name="T41" fmla="*/ 86 h 145"/>
                <a:gd name="T42" fmla="*/ 5 w 115"/>
                <a:gd name="T43" fmla="*/ 106 h 145"/>
                <a:gd name="T44" fmla="*/ 5 w 115"/>
                <a:gd name="T45" fmla="*/ 109 h 1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15"/>
                <a:gd name="T70" fmla="*/ 0 h 145"/>
                <a:gd name="T71" fmla="*/ 115 w 115"/>
                <a:gd name="T72" fmla="*/ 145 h 1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15" h="145">
                  <a:moveTo>
                    <a:pt x="12" y="109"/>
                  </a:moveTo>
                  <a:lnTo>
                    <a:pt x="10" y="130"/>
                  </a:lnTo>
                  <a:lnTo>
                    <a:pt x="36" y="145"/>
                  </a:lnTo>
                  <a:lnTo>
                    <a:pt x="62" y="101"/>
                  </a:lnTo>
                  <a:lnTo>
                    <a:pt x="91" y="86"/>
                  </a:lnTo>
                  <a:lnTo>
                    <a:pt x="106" y="69"/>
                  </a:lnTo>
                  <a:lnTo>
                    <a:pt x="115" y="50"/>
                  </a:lnTo>
                  <a:lnTo>
                    <a:pt x="108" y="37"/>
                  </a:lnTo>
                  <a:lnTo>
                    <a:pt x="114" y="32"/>
                  </a:lnTo>
                  <a:lnTo>
                    <a:pt x="102" y="25"/>
                  </a:lnTo>
                  <a:lnTo>
                    <a:pt x="76" y="28"/>
                  </a:lnTo>
                  <a:lnTo>
                    <a:pt x="43" y="0"/>
                  </a:lnTo>
                  <a:lnTo>
                    <a:pt x="19" y="14"/>
                  </a:lnTo>
                  <a:lnTo>
                    <a:pt x="17" y="29"/>
                  </a:lnTo>
                  <a:lnTo>
                    <a:pt x="9" y="37"/>
                  </a:lnTo>
                  <a:lnTo>
                    <a:pt x="9" y="49"/>
                  </a:lnTo>
                  <a:lnTo>
                    <a:pt x="0" y="52"/>
                  </a:lnTo>
                  <a:lnTo>
                    <a:pt x="1" y="83"/>
                  </a:lnTo>
                  <a:lnTo>
                    <a:pt x="17" y="99"/>
                  </a:lnTo>
                  <a:lnTo>
                    <a:pt x="18" y="86"/>
                  </a:lnTo>
                  <a:lnTo>
                    <a:pt x="27" y="86"/>
                  </a:lnTo>
                  <a:lnTo>
                    <a:pt x="21" y="106"/>
                  </a:lnTo>
                  <a:lnTo>
                    <a:pt x="12" y="10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4" name="Freeform 14"/>
            <p:cNvSpPr>
              <a:spLocks noChangeAspect="1"/>
            </p:cNvSpPr>
            <p:nvPr/>
          </p:nvSpPr>
          <p:spPr bwMode="auto">
            <a:xfrm>
              <a:off x="1678" y="2211"/>
              <a:ext cx="220" cy="381"/>
            </a:xfrm>
            <a:custGeom>
              <a:avLst/>
              <a:gdLst>
                <a:gd name="T0" fmla="*/ 3 w 245"/>
                <a:gd name="T1" fmla="*/ 256 h 381"/>
                <a:gd name="T2" fmla="*/ 0 w 245"/>
                <a:gd name="T3" fmla="*/ 247 h 381"/>
                <a:gd name="T4" fmla="*/ 4 w 245"/>
                <a:gd name="T5" fmla="*/ 245 h 381"/>
                <a:gd name="T6" fmla="*/ 4 w 245"/>
                <a:gd name="T7" fmla="*/ 224 h 381"/>
                <a:gd name="T8" fmla="*/ 4 w 245"/>
                <a:gd name="T9" fmla="*/ 224 h 381"/>
                <a:gd name="T10" fmla="*/ 4 w 245"/>
                <a:gd name="T11" fmla="*/ 202 h 381"/>
                <a:gd name="T12" fmla="*/ 4 w 245"/>
                <a:gd name="T13" fmla="*/ 193 h 381"/>
                <a:gd name="T14" fmla="*/ 4 w 245"/>
                <a:gd name="T15" fmla="*/ 134 h 381"/>
                <a:gd name="T16" fmla="*/ 4 w 245"/>
                <a:gd name="T17" fmla="*/ 118 h 381"/>
                <a:gd name="T18" fmla="*/ 4 w 245"/>
                <a:gd name="T19" fmla="*/ 101 h 381"/>
                <a:gd name="T20" fmla="*/ 4 w 245"/>
                <a:gd name="T21" fmla="*/ 89 h 381"/>
                <a:gd name="T22" fmla="*/ 4 w 245"/>
                <a:gd name="T23" fmla="*/ 106 h 381"/>
                <a:gd name="T24" fmla="*/ 4 w 245"/>
                <a:gd name="T25" fmla="*/ 89 h 381"/>
                <a:gd name="T26" fmla="*/ 4 w 245"/>
                <a:gd name="T27" fmla="*/ 67 h 381"/>
                <a:gd name="T28" fmla="*/ 4 w 245"/>
                <a:gd name="T29" fmla="*/ 37 h 381"/>
                <a:gd name="T30" fmla="*/ 4 w 245"/>
                <a:gd name="T31" fmla="*/ 34 h 381"/>
                <a:gd name="T32" fmla="*/ 4 w 245"/>
                <a:gd name="T33" fmla="*/ 27 h 381"/>
                <a:gd name="T34" fmla="*/ 4 w 245"/>
                <a:gd name="T35" fmla="*/ 30 h 381"/>
                <a:gd name="T36" fmla="*/ 4 w 245"/>
                <a:gd name="T37" fmla="*/ 0 h 381"/>
                <a:gd name="T38" fmla="*/ 4 w 245"/>
                <a:gd name="T39" fmla="*/ 8 h 381"/>
                <a:gd name="T40" fmla="*/ 4 w 245"/>
                <a:gd name="T41" fmla="*/ 21 h 381"/>
                <a:gd name="T42" fmla="*/ 4 w 245"/>
                <a:gd name="T43" fmla="*/ 22 h 381"/>
                <a:gd name="T44" fmla="*/ 4 w 245"/>
                <a:gd name="T45" fmla="*/ 33 h 381"/>
                <a:gd name="T46" fmla="*/ 4 w 245"/>
                <a:gd name="T47" fmla="*/ 70 h 381"/>
                <a:gd name="T48" fmla="*/ 4 w 245"/>
                <a:gd name="T49" fmla="*/ 100 h 381"/>
                <a:gd name="T50" fmla="*/ 4 w 245"/>
                <a:gd name="T51" fmla="*/ 116 h 381"/>
                <a:gd name="T52" fmla="*/ 4 w 245"/>
                <a:gd name="T53" fmla="*/ 123 h 381"/>
                <a:gd name="T54" fmla="*/ 4 w 245"/>
                <a:gd name="T55" fmla="*/ 125 h 381"/>
                <a:gd name="T56" fmla="*/ 4 w 245"/>
                <a:gd name="T57" fmla="*/ 146 h 381"/>
                <a:gd name="T58" fmla="*/ 4 w 245"/>
                <a:gd name="T59" fmla="*/ 145 h 381"/>
                <a:gd name="T60" fmla="*/ 4 w 245"/>
                <a:gd name="T61" fmla="*/ 180 h 381"/>
                <a:gd name="T62" fmla="*/ 4 w 245"/>
                <a:gd name="T63" fmla="*/ 210 h 381"/>
                <a:gd name="T64" fmla="*/ 4 w 245"/>
                <a:gd name="T65" fmla="*/ 220 h 381"/>
                <a:gd name="T66" fmla="*/ 4 w 245"/>
                <a:gd name="T67" fmla="*/ 256 h 381"/>
                <a:gd name="T68" fmla="*/ 4 w 245"/>
                <a:gd name="T69" fmla="*/ 244 h 381"/>
                <a:gd name="T70" fmla="*/ 4 w 245"/>
                <a:gd name="T71" fmla="*/ 247 h 381"/>
                <a:gd name="T72" fmla="*/ 4 w 245"/>
                <a:gd name="T73" fmla="*/ 260 h 381"/>
                <a:gd name="T74" fmla="*/ 4 w 245"/>
                <a:gd name="T75" fmla="*/ 272 h 381"/>
                <a:gd name="T76" fmla="*/ 4 w 245"/>
                <a:gd name="T77" fmla="*/ 278 h 381"/>
                <a:gd name="T78" fmla="*/ 4 w 245"/>
                <a:gd name="T79" fmla="*/ 317 h 381"/>
                <a:gd name="T80" fmla="*/ 4 w 245"/>
                <a:gd name="T81" fmla="*/ 381 h 381"/>
                <a:gd name="T82" fmla="*/ 4 w 245"/>
                <a:gd name="T83" fmla="*/ 368 h 381"/>
                <a:gd name="T84" fmla="*/ 4 w 245"/>
                <a:gd name="T85" fmla="*/ 353 h 381"/>
                <a:gd name="T86" fmla="*/ 4 w 245"/>
                <a:gd name="T87" fmla="*/ 346 h 381"/>
                <a:gd name="T88" fmla="*/ 4 w 245"/>
                <a:gd name="T89" fmla="*/ 339 h 381"/>
                <a:gd name="T90" fmla="*/ 4 w 245"/>
                <a:gd name="T91" fmla="*/ 342 h 381"/>
                <a:gd name="T92" fmla="*/ 4 w 245"/>
                <a:gd name="T93" fmla="*/ 316 h 381"/>
                <a:gd name="T94" fmla="*/ 4 w 245"/>
                <a:gd name="T95" fmla="*/ 288 h 381"/>
                <a:gd name="T96" fmla="*/ 4 w 245"/>
                <a:gd name="T97" fmla="*/ 281 h 381"/>
                <a:gd name="T98" fmla="*/ 4 w 245"/>
                <a:gd name="T99" fmla="*/ 284 h 381"/>
                <a:gd name="T100" fmla="*/ 3 w 245"/>
                <a:gd name="T101" fmla="*/ 256 h 38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45"/>
                <a:gd name="T154" fmla="*/ 0 h 381"/>
                <a:gd name="T155" fmla="*/ 245 w 245"/>
                <a:gd name="T156" fmla="*/ 381 h 38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45" h="381">
                  <a:moveTo>
                    <a:pt x="3" y="256"/>
                  </a:moveTo>
                  <a:lnTo>
                    <a:pt x="0" y="247"/>
                  </a:lnTo>
                  <a:lnTo>
                    <a:pt x="9" y="245"/>
                  </a:lnTo>
                  <a:lnTo>
                    <a:pt x="13" y="224"/>
                  </a:lnTo>
                  <a:lnTo>
                    <a:pt x="26" y="224"/>
                  </a:lnTo>
                  <a:lnTo>
                    <a:pt x="38" y="202"/>
                  </a:lnTo>
                  <a:lnTo>
                    <a:pt x="32" y="193"/>
                  </a:lnTo>
                  <a:lnTo>
                    <a:pt x="35" y="134"/>
                  </a:lnTo>
                  <a:lnTo>
                    <a:pt x="26" y="118"/>
                  </a:lnTo>
                  <a:lnTo>
                    <a:pt x="41" y="101"/>
                  </a:lnTo>
                  <a:lnTo>
                    <a:pt x="38" y="89"/>
                  </a:lnTo>
                  <a:lnTo>
                    <a:pt x="50" y="106"/>
                  </a:lnTo>
                  <a:lnTo>
                    <a:pt x="51" y="89"/>
                  </a:lnTo>
                  <a:lnTo>
                    <a:pt x="75" y="67"/>
                  </a:lnTo>
                  <a:lnTo>
                    <a:pt x="85" y="37"/>
                  </a:lnTo>
                  <a:lnTo>
                    <a:pt x="102" y="34"/>
                  </a:lnTo>
                  <a:lnTo>
                    <a:pt x="107" y="27"/>
                  </a:lnTo>
                  <a:lnTo>
                    <a:pt x="120" y="30"/>
                  </a:lnTo>
                  <a:lnTo>
                    <a:pt x="159" y="0"/>
                  </a:lnTo>
                  <a:lnTo>
                    <a:pt x="169" y="8"/>
                  </a:lnTo>
                  <a:lnTo>
                    <a:pt x="153" y="21"/>
                  </a:lnTo>
                  <a:lnTo>
                    <a:pt x="153" y="22"/>
                  </a:lnTo>
                  <a:lnTo>
                    <a:pt x="140" y="33"/>
                  </a:lnTo>
                  <a:lnTo>
                    <a:pt x="124" y="70"/>
                  </a:lnTo>
                  <a:lnTo>
                    <a:pt x="138" y="100"/>
                  </a:lnTo>
                  <a:lnTo>
                    <a:pt x="138" y="116"/>
                  </a:lnTo>
                  <a:lnTo>
                    <a:pt x="149" y="123"/>
                  </a:lnTo>
                  <a:lnTo>
                    <a:pt x="183" y="125"/>
                  </a:lnTo>
                  <a:lnTo>
                    <a:pt x="200" y="146"/>
                  </a:lnTo>
                  <a:lnTo>
                    <a:pt x="237" y="145"/>
                  </a:lnTo>
                  <a:lnTo>
                    <a:pt x="227" y="180"/>
                  </a:lnTo>
                  <a:lnTo>
                    <a:pt x="237" y="210"/>
                  </a:lnTo>
                  <a:lnTo>
                    <a:pt x="227" y="220"/>
                  </a:lnTo>
                  <a:lnTo>
                    <a:pt x="245" y="256"/>
                  </a:lnTo>
                  <a:lnTo>
                    <a:pt x="232" y="244"/>
                  </a:lnTo>
                  <a:lnTo>
                    <a:pt x="187" y="247"/>
                  </a:lnTo>
                  <a:lnTo>
                    <a:pt x="186" y="260"/>
                  </a:lnTo>
                  <a:lnTo>
                    <a:pt x="199" y="272"/>
                  </a:lnTo>
                  <a:lnTo>
                    <a:pt x="181" y="278"/>
                  </a:lnTo>
                  <a:lnTo>
                    <a:pt x="193" y="317"/>
                  </a:lnTo>
                  <a:lnTo>
                    <a:pt x="183" y="381"/>
                  </a:lnTo>
                  <a:lnTo>
                    <a:pt x="171" y="368"/>
                  </a:lnTo>
                  <a:lnTo>
                    <a:pt x="181" y="353"/>
                  </a:lnTo>
                  <a:lnTo>
                    <a:pt x="177" y="346"/>
                  </a:lnTo>
                  <a:lnTo>
                    <a:pt x="165" y="339"/>
                  </a:lnTo>
                  <a:lnTo>
                    <a:pt x="120" y="342"/>
                  </a:lnTo>
                  <a:lnTo>
                    <a:pt x="108" y="316"/>
                  </a:lnTo>
                  <a:lnTo>
                    <a:pt x="74" y="288"/>
                  </a:lnTo>
                  <a:lnTo>
                    <a:pt x="62" y="281"/>
                  </a:lnTo>
                  <a:lnTo>
                    <a:pt x="36" y="284"/>
                  </a:lnTo>
                  <a:lnTo>
                    <a:pt x="3" y="25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5" name="Freeform 15"/>
            <p:cNvSpPr>
              <a:spLocks noChangeAspect="1"/>
            </p:cNvSpPr>
            <p:nvPr/>
          </p:nvSpPr>
          <p:spPr bwMode="auto">
            <a:xfrm>
              <a:off x="1790" y="2217"/>
              <a:ext cx="242" cy="261"/>
            </a:xfrm>
            <a:custGeom>
              <a:avLst/>
              <a:gdLst>
                <a:gd name="T0" fmla="*/ 4 w 269"/>
                <a:gd name="T1" fmla="*/ 89 h 261"/>
                <a:gd name="T2" fmla="*/ 4 w 269"/>
                <a:gd name="T3" fmla="*/ 102 h 261"/>
                <a:gd name="T4" fmla="*/ 4 w 269"/>
                <a:gd name="T5" fmla="*/ 116 h 261"/>
                <a:gd name="T6" fmla="*/ 4 w 269"/>
                <a:gd name="T7" fmla="*/ 119 h 261"/>
                <a:gd name="T8" fmla="*/ 4 w 269"/>
                <a:gd name="T9" fmla="*/ 127 h 261"/>
                <a:gd name="T10" fmla="*/ 4 w 269"/>
                <a:gd name="T11" fmla="*/ 144 h 261"/>
                <a:gd name="T12" fmla="*/ 4 w 269"/>
                <a:gd name="T13" fmla="*/ 161 h 261"/>
                <a:gd name="T14" fmla="*/ 4 w 269"/>
                <a:gd name="T15" fmla="*/ 174 h 261"/>
                <a:gd name="T16" fmla="*/ 4 w 269"/>
                <a:gd name="T17" fmla="*/ 191 h 261"/>
                <a:gd name="T18" fmla="*/ 4 w 269"/>
                <a:gd name="T19" fmla="*/ 186 h 261"/>
                <a:gd name="T20" fmla="*/ 4 w 269"/>
                <a:gd name="T21" fmla="*/ 197 h 261"/>
                <a:gd name="T22" fmla="*/ 4 w 269"/>
                <a:gd name="T23" fmla="*/ 219 h 261"/>
                <a:gd name="T24" fmla="*/ 4 w 269"/>
                <a:gd name="T25" fmla="*/ 231 h 261"/>
                <a:gd name="T26" fmla="*/ 4 w 269"/>
                <a:gd name="T27" fmla="*/ 261 h 261"/>
                <a:gd name="T28" fmla="*/ 4 w 269"/>
                <a:gd name="T29" fmla="*/ 261 h 261"/>
                <a:gd name="T30" fmla="*/ 4 w 269"/>
                <a:gd name="T31" fmla="*/ 250 h 261"/>
                <a:gd name="T32" fmla="*/ 4 w 269"/>
                <a:gd name="T33" fmla="*/ 214 h 261"/>
                <a:gd name="T34" fmla="*/ 4 w 269"/>
                <a:gd name="T35" fmla="*/ 204 h 261"/>
                <a:gd name="T36" fmla="*/ 4 w 269"/>
                <a:gd name="T37" fmla="*/ 174 h 261"/>
                <a:gd name="T38" fmla="*/ 4 w 269"/>
                <a:gd name="T39" fmla="*/ 139 h 261"/>
                <a:gd name="T40" fmla="*/ 4 w 269"/>
                <a:gd name="T41" fmla="*/ 140 h 261"/>
                <a:gd name="T42" fmla="*/ 4 w 269"/>
                <a:gd name="T43" fmla="*/ 119 h 261"/>
                <a:gd name="T44" fmla="*/ 4 w 269"/>
                <a:gd name="T45" fmla="*/ 117 h 261"/>
                <a:gd name="T46" fmla="*/ 4 w 269"/>
                <a:gd name="T47" fmla="*/ 110 h 261"/>
                <a:gd name="T48" fmla="*/ 4 w 269"/>
                <a:gd name="T49" fmla="*/ 94 h 261"/>
                <a:gd name="T50" fmla="*/ 0 w 269"/>
                <a:gd name="T51" fmla="*/ 64 h 261"/>
                <a:gd name="T52" fmla="*/ 4 w 269"/>
                <a:gd name="T53" fmla="*/ 27 h 261"/>
                <a:gd name="T54" fmla="*/ 4 w 269"/>
                <a:gd name="T55" fmla="*/ 16 h 261"/>
                <a:gd name="T56" fmla="*/ 4 w 269"/>
                <a:gd name="T57" fmla="*/ 15 h 261"/>
                <a:gd name="T58" fmla="*/ 4 w 269"/>
                <a:gd name="T59" fmla="*/ 37 h 261"/>
                <a:gd name="T60" fmla="*/ 4 w 269"/>
                <a:gd name="T61" fmla="*/ 56 h 261"/>
                <a:gd name="T62" fmla="*/ 4 w 269"/>
                <a:gd name="T63" fmla="*/ 73 h 261"/>
                <a:gd name="T64" fmla="*/ 4 w 269"/>
                <a:gd name="T65" fmla="*/ 68 h 261"/>
                <a:gd name="T66" fmla="*/ 4 w 269"/>
                <a:gd name="T67" fmla="*/ 28 h 261"/>
                <a:gd name="T68" fmla="*/ 4 w 269"/>
                <a:gd name="T69" fmla="*/ 15 h 261"/>
                <a:gd name="T70" fmla="*/ 4 w 269"/>
                <a:gd name="T71" fmla="*/ 5 h 261"/>
                <a:gd name="T72" fmla="*/ 4 w 269"/>
                <a:gd name="T73" fmla="*/ 0 h 261"/>
                <a:gd name="T74" fmla="*/ 4 w 269"/>
                <a:gd name="T75" fmla="*/ 15 h 261"/>
                <a:gd name="T76" fmla="*/ 4 w 269"/>
                <a:gd name="T77" fmla="*/ 24 h 261"/>
                <a:gd name="T78" fmla="*/ 4 w 269"/>
                <a:gd name="T79" fmla="*/ 40 h 261"/>
                <a:gd name="T80" fmla="*/ 4 w 269"/>
                <a:gd name="T81" fmla="*/ 37 h 261"/>
                <a:gd name="T82" fmla="*/ 4 w 269"/>
                <a:gd name="T83" fmla="*/ 48 h 261"/>
                <a:gd name="T84" fmla="*/ 4 w 269"/>
                <a:gd name="T85" fmla="*/ 34 h 261"/>
                <a:gd name="T86" fmla="*/ 4 w 269"/>
                <a:gd name="T87" fmla="*/ 34 h 261"/>
                <a:gd name="T88" fmla="*/ 4 w 269"/>
                <a:gd name="T89" fmla="*/ 38 h 261"/>
                <a:gd name="T90" fmla="*/ 4 w 269"/>
                <a:gd name="T91" fmla="*/ 56 h 261"/>
                <a:gd name="T92" fmla="*/ 4 w 269"/>
                <a:gd name="T93" fmla="*/ 61 h 261"/>
                <a:gd name="T94" fmla="*/ 4 w 269"/>
                <a:gd name="T95" fmla="*/ 87 h 261"/>
                <a:gd name="T96" fmla="*/ 4 w 269"/>
                <a:gd name="T97" fmla="*/ 83 h 261"/>
                <a:gd name="T98" fmla="*/ 4 w 269"/>
                <a:gd name="T99" fmla="*/ 89 h 26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69"/>
                <a:gd name="T151" fmla="*/ 0 h 261"/>
                <a:gd name="T152" fmla="*/ 269 w 269"/>
                <a:gd name="T153" fmla="*/ 261 h 26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69" h="261">
                  <a:moveTo>
                    <a:pt x="269" y="89"/>
                  </a:moveTo>
                  <a:lnTo>
                    <a:pt x="251" y="102"/>
                  </a:lnTo>
                  <a:lnTo>
                    <a:pt x="248" y="116"/>
                  </a:lnTo>
                  <a:lnTo>
                    <a:pt x="253" y="119"/>
                  </a:lnTo>
                  <a:lnTo>
                    <a:pt x="242" y="127"/>
                  </a:lnTo>
                  <a:lnTo>
                    <a:pt x="239" y="144"/>
                  </a:lnTo>
                  <a:lnTo>
                    <a:pt x="251" y="161"/>
                  </a:lnTo>
                  <a:lnTo>
                    <a:pt x="245" y="174"/>
                  </a:lnTo>
                  <a:lnTo>
                    <a:pt x="200" y="191"/>
                  </a:lnTo>
                  <a:lnTo>
                    <a:pt x="165" y="186"/>
                  </a:lnTo>
                  <a:lnTo>
                    <a:pt x="176" y="197"/>
                  </a:lnTo>
                  <a:lnTo>
                    <a:pt x="176" y="219"/>
                  </a:lnTo>
                  <a:lnTo>
                    <a:pt x="190" y="231"/>
                  </a:lnTo>
                  <a:lnTo>
                    <a:pt x="144" y="261"/>
                  </a:lnTo>
                  <a:lnTo>
                    <a:pt x="131" y="261"/>
                  </a:lnTo>
                  <a:lnTo>
                    <a:pt x="121" y="250"/>
                  </a:lnTo>
                  <a:lnTo>
                    <a:pt x="103" y="214"/>
                  </a:lnTo>
                  <a:lnTo>
                    <a:pt x="113" y="204"/>
                  </a:lnTo>
                  <a:lnTo>
                    <a:pt x="103" y="174"/>
                  </a:lnTo>
                  <a:lnTo>
                    <a:pt x="113" y="139"/>
                  </a:lnTo>
                  <a:lnTo>
                    <a:pt x="76" y="140"/>
                  </a:lnTo>
                  <a:lnTo>
                    <a:pt x="59" y="119"/>
                  </a:lnTo>
                  <a:lnTo>
                    <a:pt x="25" y="117"/>
                  </a:lnTo>
                  <a:lnTo>
                    <a:pt x="14" y="110"/>
                  </a:lnTo>
                  <a:lnTo>
                    <a:pt x="14" y="94"/>
                  </a:lnTo>
                  <a:lnTo>
                    <a:pt x="0" y="64"/>
                  </a:lnTo>
                  <a:lnTo>
                    <a:pt x="16" y="27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36" y="37"/>
                  </a:lnTo>
                  <a:lnTo>
                    <a:pt x="24" y="56"/>
                  </a:lnTo>
                  <a:lnTo>
                    <a:pt x="30" y="73"/>
                  </a:lnTo>
                  <a:lnTo>
                    <a:pt x="42" y="68"/>
                  </a:lnTo>
                  <a:lnTo>
                    <a:pt x="39" y="28"/>
                  </a:lnTo>
                  <a:lnTo>
                    <a:pt x="64" y="15"/>
                  </a:lnTo>
                  <a:lnTo>
                    <a:pt x="62" y="5"/>
                  </a:lnTo>
                  <a:lnTo>
                    <a:pt x="70" y="0"/>
                  </a:lnTo>
                  <a:lnTo>
                    <a:pt x="73" y="15"/>
                  </a:lnTo>
                  <a:lnTo>
                    <a:pt x="99" y="24"/>
                  </a:lnTo>
                  <a:lnTo>
                    <a:pt x="103" y="40"/>
                  </a:lnTo>
                  <a:lnTo>
                    <a:pt x="143" y="37"/>
                  </a:lnTo>
                  <a:lnTo>
                    <a:pt x="166" y="48"/>
                  </a:lnTo>
                  <a:lnTo>
                    <a:pt x="187" y="34"/>
                  </a:lnTo>
                  <a:lnTo>
                    <a:pt x="224" y="34"/>
                  </a:lnTo>
                  <a:lnTo>
                    <a:pt x="207" y="38"/>
                  </a:lnTo>
                  <a:lnTo>
                    <a:pt x="219" y="56"/>
                  </a:lnTo>
                  <a:lnTo>
                    <a:pt x="246" y="61"/>
                  </a:lnTo>
                  <a:lnTo>
                    <a:pt x="245" y="87"/>
                  </a:lnTo>
                  <a:lnTo>
                    <a:pt x="261" y="83"/>
                  </a:lnTo>
                  <a:lnTo>
                    <a:pt x="269" y="8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6" name="Freeform 16"/>
            <p:cNvSpPr>
              <a:spLocks noChangeAspect="1"/>
            </p:cNvSpPr>
            <p:nvPr/>
          </p:nvSpPr>
          <p:spPr bwMode="auto">
            <a:xfrm>
              <a:off x="2127" y="2370"/>
              <a:ext cx="53" cy="82"/>
            </a:xfrm>
            <a:custGeom>
              <a:avLst/>
              <a:gdLst>
                <a:gd name="T0" fmla="*/ 5 w 58"/>
                <a:gd name="T1" fmla="*/ 33 h 82"/>
                <a:gd name="T2" fmla="*/ 5 w 58"/>
                <a:gd name="T3" fmla="*/ 74 h 82"/>
                <a:gd name="T4" fmla="*/ 5 w 58"/>
                <a:gd name="T5" fmla="*/ 82 h 82"/>
                <a:gd name="T6" fmla="*/ 0 w 58"/>
                <a:gd name="T7" fmla="*/ 74 h 82"/>
                <a:gd name="T8" fmla="*/ 5 w 58"/>
                <a:gd name="T9" fmla="*/ 44 h 82"/>
                <a:gd name="T10" fmla="*/ 2 w 58"/>
                <a:gd name="T11" fmla="*/ 14 h 82"/>
                <a:gd name="T12" fmla="*/ 5 w 58"/>
                <a:gd name="T13" fmla="*/ 0 h 82"/>
                <a:gd name="T14" fmla="*/ 5 w 58"/>
                <a:gd name="T15" fmla="*/ 33 h 8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8"/>
                <a:gd name="T25" fmla="*/ 0 h 82"/>
                <a:gd name="T26" fmla="*/ 58 w 58"/>
                <a:gd name="T27" fmla="*/ 82 h 8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8" h="82">
                  <a:moveTo>
                    <a:pt x="58" y="33"/>
                  </a:moveTo>
                  <a:lnTo>
                    <a:pt x="29" y="74"/>
                  </a:lnTo>
                  <a:lnTo>
                    <a:pt x="11" y="82"/>
                  </a:lnTo>
                  <a:lnTo>
                    <a:pt x="0" y="74"/>
                  </a:lnTo>
                  <a:lnTo>
                    <a:pt x="9" y="44"/>
                  </a:lnTo>
                  <a:lnTo>
                    <a:pt x="2" y="14"/>
                  </a:lnTo>
                  <a:lnTo>
                    <a:pt x="10" y="0"/>
                  </a:lnTo>
                  <a:lnTo>
                    <a:pt x="58" y="3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7" name="Freeform 17"/>
            <p:cNvSpPr>
              <a:spLocks noChangeAspect="1"/>
            </p:cNvSpPr>
            <p:nvPr/>
          </p:nvSpPr>
          <p:spPr bwMode="auto">
            <a:xfrm>
              <a:off x="2061" y="2361"/>
              <a:ext cx="75" cy="93"/>
            </a:xfrm>
            <a:custGeom>
              <a:avLst/>
              <a:gdLst>
                <a:gd name="T0" fmla="*/ 5 w 83"/>
                <a:gd name="T1" fmla="*/ 9 h 93"/>
                <a:gd name="T2" fmla="*/ 5 w 83"/>
                <a:gd name="T3" fmla="*/ 0 h 93"/>
                <a:gd name="T4" fmla="*/ 5 w 83"/>
                <a:gd name="T5" fmla="*/ 0 h 93"/>
                <a:gd name="T6" fmla="*/ 0 w 83"/>
                <a:gd name="T7" fmla="*/ 38 h 93"/>
                <a:gd name="T8" fmla="*/ 5 w 83"/>
                <a:gd name="T9" fmla="*/ 91 h 93"/>
                <a:gd name="T10" fmla="*/ 5 w 83"/>
                <a:gd name="T11" fmla="*/ 93 h 93"/>
                <a:gd name="T12" fmla="*/ 5 w 83"/>
                <a:gd name="T13" fmla="*/ 80 h 93"/>
                <a:gd name="T14" fmla="*/ 5 w 83"/>
                <a:gd name="T15" fmla="*/ 83 h 93"/>
                <a:gd name="T16" fmla="*/ 5 w 83"/>
                <a:gd name="T17" fmla="*/ 53 h 93"/>
                <a:gd name="T18" fmla="*/ 5 w 83"/>
                <a:gd name="T19" fmla="*/ 23 h 93"/>
                <a:gd name="T20" fmla="*/ 5 w 83"/>
                <a:gd name="T21" fmla="*/ 9 h 9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3"/>
                <a:gd name="T34" fmla="*/ 0 h 93"/>
                <a:gd name="T35" fmla="*/ 83 w 83"/>
                <a:gd name="T36" fmla="*/ 93 h 9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3" h="93">
                  <a:moveTo>
                    <a:pt x="83" y="9"/>
                  </a:moveTo>
                  <a:lnTo>
                    <a:pt x="63" y="0"/>
                  </a:lnTo>
                  <a:lnTo>
                    <a:pt x="20" y="0"/>
                  </a:lnTo>
                  <a:lnTo>
                    <a:pt x="0" y="38"/>
                  </a:lnTo>
                  <a:lnTo>
                    <a:pt x="31" y="91"/>
                  </a:lnTo>
                  <a:lnTo>
                    <a:pt x="40" y="93"/>
                  </a:lnTo>
                  <a:lnTo>
                    <a:pt x="46" y="80"/>
                  </a:lnTo>
                  <a:lnTo>
                    <a:pt x="73" y="83"/>
                  </a:lnTo>
                  <a:lnTo>
                    <a:pt x="82" y="53"/>
                  </a:lnTo>
                  <a:lnTo>
                    <a:pt x="75" y="23"/>
                  </a:lnTo>
                  <a:lnTo>
                    <a:pt x="83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8" name="Freeform 18"/>
            <p:cNvSpPr>
              <a:spLocks noChangeAspect="1"/>
            </p:cNvSpPr>
            <p:nvPr/>
          </p:nvSpPr>
          <p:spPr bwMode="auto">
            <a:xfrm>
              <a:off x="1853" y="2899"/>
              <a:ext cx="214" cy="826"/>
            </a:xfrm>
            <a:custGeom>
              <a:avLst/>
              <a:gdLst>
                <a:gd name="T0" fmla="*/ 4 w 238"/>
                <a:gd name="T1" fmla="*/ 0 h 826"/>
                <a:gd name="T2" fmla="*/ 4 w 238"/>
                <a:gd name="T3" fmla="*/ 58 h 826"/>
                <a:gd name="T4" fmla="*/ 4 w 238"/>
                <a:gd name="T5" fmla="*/ 124 h 826"/>
                <a:gd name="T6" fmla="*/ 4 w 238"/>
                <a:gd name="T7" fmla="*/ 164 h 826"/>
                <a:gd name="T8" fmla="*/ 4 w 238"/>
                <a:gd name="T9" fmla="*/ 249 h 826"/>
                <a:gd name="T10" fmla="*/ 4 w 238"/>
                <a:gd name="T11" fmla="*/ 377 h 826"/>
                <a:gd name="T12" fmla="*/ 4 w 238"/>
                <a:gd name="T13" fmla="*/ 427 h 826"/>
                <a:gd name="T14" fmla="*/ 4 w 238"/>
                <a:gd name="T15" fmla="*/ 485 h 826"/>
                <a:gd name="T16" fmla="*/ 4 w 238"/>
                <a:gd name="T17" fmla="*/ 562 h 826"/>
                <a:gd name="T18" fmla="*/ 4 w 238"/>
                <a:gd name="T19" fmla="*/ 616 h 826"/>
                <a:gd name="T20" fmla="*/ 4 w 238"/>
                <a:gd name="T21" fmla="*/ 625 h 826"/>
                <a:gd name="T22" fmla="*/ 4 w 238"/>
                <a:gd name="T23" fmla="*/ 737 h 826"/>
                <a:gd name="T24" fmla="*/ 4 w 238"/>
                <a:gd name="T25" fmla="*/ 757 h 826"/>
                <a:gd name="T26" fmla="*/ 4 w 238"/>
                <a:gd name="T27" fmla="*/ 792 h 826"/>
                <a:gd name="T28" fmla="*/ 4 w 238"/>
                <a:gd name="T29" fmla="*/ 803 h 826"/>
                <a:gd name="T30" fmla="*/ 4 w 238"/>
                <a:gd name="T31" fmla="*/ 826 h 826"/>
                <a:gd name="T32" fmla="*/ 4 w 238"/>
                <a:gd name="T33" fmla="*/ 811 h 826"/>
                <a:gd name="T34" fmla="*/ 4 w 238"/>
                <a:gd name="T35" fmla="*/ 803 h 826"/>
                <a:gd name="T36" fmla="*/ 4 w 238"/>
                <a:gd name="T37" fmla="*/ 790 h 826"/>
                <a:gd name="T38" fmla="*/ 4 w 238"/>
                <a:gd name="T39" fmla="*/ 792 h 826"/>
                <a:gd name="T40" fmla="*/ 4 w 238"/>
                <a:gd name="T41" fmla="*/ 782 h 826"/>
                <a:gd name="T42" fmla="*/ 4 w 238"/>
                <a:gd name="T43" fmla="*/ 764 h 826"/>
                <a:gd name="T44" fmla="*/ 4 w 238"/>
                <a:gd name="T45" fmla="*/ 777 h 826"/>
                <a:gd name="T46" fmla="*/ 4 w 238"/>
                <a:gd name="T47" fmla="*/ 758 h 826"/>
                <a:gd name="T48" fmla="*/ 4 w 238"/>
                <a:gd name="T49" fmla="*/ 758 h 826"/>
                <a:gd name="T50" fmla="*/ 4 w 238"/>
                <a:gd name="T51" fmla="*/ 739 h 826"/>
                <a:gd name="T52" fmla="*/ 4 w 238"/>
                <a:gd name="T53" fmla="*/ 694 h 826"/>
                <a:gd name="T54" fmla="*/ 4 w 238"/>
                <a:gd name="T55" fmla="*/ 705 h 826"/>
                <a:gd name="T56" fmla="*/ 4 w 238"/>
                <a:gd name="T57" fmla="*/ 667 h 826"/>
                <a:gd name="T58" fmla="*/ 4 w 238"/>
                <a:gd name="T59" fmla="*/ 666 h 826"/>
                <a:gd name="T60" fmla="*/ 4 w 238"/>
                <a:gd name="T61" fmla="*/ 650 h 826"/>
                <a:gd name="T62" fmla="*/ 4 w 238"/>
                <a:gd name="T63" fmla="*/ 611 h 826"/>
                <a:gd name="T64" fmla="*/ 4 w 238"/>
                <a:gd name="T65" fmla="*/ 611 h 826"/>
                <a:gd name="T66" fmla="*/ 4 w 238"/>
                <a:gd name="T67" fmla="*/ 642 h 826"/>
                <a:gd name="T68" fmla="*/ 4 w 238"/>
                <a:gd name="T69" fmla="*/ 554 h 826"/>
                <a:gd name="T70" fmla="*/ 4 w 238"/>
                <a:gd name="T71" fmla="*/ 558 h 826"/>
                <a:gd name="T72" fmla="*/ 4 w 238"/>
                <a:gd name="T73" fmla="*/ 540 h 826"/>
                <a:gd name="T74" fmla="*/ 4 w 238"/>
                <a:gd name="T75" fmla="*/ 465 h 826"/>
                <a:gd name="T76" fmla="*/ 4 w 238"/>
                <a:gd name="T77" fmla="*/ 451 h 826"/>
                <a:gd name="T78" fmla="*/ 4 w 238"/>
                <a:gd name="T79" fmla="*/ 344 h 826"/>
                <a:gd name="T80" fmla="*/ 4 w 238"/>
                <a:gd name="T81" fmla="*/ 287 h 826"/>
                <a:gd name="T82" fmla="*/ 4 w 238"/>
                <a:gd name="T83" fmla="*/ 203 h 826"/>
                <a:gd name="T84" fmla="*/ 4 w 238"/>
                <a:gd name="T85" fmla="*/ 91 h 82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8"/>
                <a:gd name="T130" fmla="*/ 0 h 826"/>
                <a:gd name="T131" fmla="*/ 238 w 238"/>
                <a:gd name="T132" fmla="*/ 826 h 82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8" h="826">
                  <a:moveTo>
                    <a:pt x="0" y="16"/>
                  </a:moveTo>
                  <a:lnTo>
                    <a:pt x="18" y="0"/>
                  </a:lnTo>
                  <a:lnTo>
                    <a:pt x="41" y="39"/>
                  </a:lnTo>
                  <a:lnTo>
                    <a:pt x="40" y="58"/>
                  </a:lnTo>
                  <a:lnTo>
                    <a:pt x="66" y="122"/>
                  </a:lnTo>
                  <a:lnTo>
                    <a:pt x="80" y="124"/>
                  </a:lnTo>
                  <a:lnTo>
                    <a:pt x="80" y="150"/>
                  </a:lnTo>
                  <a:lnTo>
                    <a:pt x="61" y="164"/>
                  </a:lnTo>
                  <a:lnTo>
                    <a:pt x="71" y="211"/>
                  </a:lnTo>
                  <a:lnTo>
                    <a:pt x="54" y="249"/>
                  </a:lnTo>
                  <a:lnTo>
                    <a:pt x="50" y="317"/>
                  </a:lnTo>
                  <a:lnTo>
                    <a:pt x="77" y="377"/>
                  </a:lnTo>
                  <a:lnTo>
                    <a:pt x="73" y="409"/>
                  </a:lnTo>
                  <a:lnTo>
                    <a:pt x="79" y="427"/>
                  </a:lnTo>
                  <a:lnTo>
                    <a:pt x="72" y="444"/>
                  </a:lnTo>
                  <a:lnTo>
                    <a:pt x="86" y="485"/>
                  </a:lnTo>
                  <a:lnTo>
                    <a:pt x="89" y="541"/>
                  </a:lnTo>
                  <a:lnTo>
                    <a:pt x="100" y="562"/>
                  </a:lnTo>
                  <a:lnTo>
                    <a:pt x="101" y="582"/>
                  </a:lnTo>
                  <a:lnTo>
                    <a:pt x="119" y="616"/>
                  </a:lnTo>
                  <a:lnTo>
                    <a:pt x="131" y="626"/>
                  </a:lnTo>
                  <a:lnTo>
                    <a:pt x="124" y="625"/>
                  </a:lnTo>
                  <a:lnTo>
                    <a:pt x="143" y="668"/>
                  </a:lnTo>
                  <a:lnTo>
                    <a:pt x="144" y="737"/>
                  </a:lnTo>
                  <a:lnTo>
                    <a:pt x="154" y="758"/>
                  </a:lnTo>
                  <a:lnTo>
                    <a:pt x="170" y="757"/>
                  </a:lnTo>
                  <a:lnTo>
                    <a:pt x="193" y="787"/>
                  </a:lnTo>
                  <a:lnTo>
                    <a:pt x="237" y="792"/>
                  </a:lnTo>
                  <a:lnTo>
                    <a:pt x="238" y="797"/>
                  </a:lnTo>
                  <a:lnTo>
                    <a:pt x="221" y="803"/>
                  </a:lnTo>
                  <a:lnTo>
                    <a:pt x="228" y="825"/>
                  </a:lnTo>
                  <a:lnTo>
                    <a:pt x="225" y="826"/>
                  </a:lnTo>
                  <a:lnTo>
                    <a:pt x="203" y="817"/>
                  </a:lnTo>
                  <a:lnTo>
                    <a:pt x="215" y="811"/>
                  </a:lnTo>
                  <a:lnTo>
                    <a:pt x="216" y="804"/>
                  </a:lnTo>
                  <a:lnTo>
                    <a:pt x="208" y="803"/>
                  </a:lnTo>
                  <a:lnTo>
                    <a:pt x="198" y="817"/>
                  </a:lnTo>
                  <a:lnTo>
                    <a:pt x="155" y="790"/>
                  </a:lnTo>
                  <a:lnTo>
                    <a:pt x="152" y="796"/>
                  </a:lnTo>
                  <a:lnTo>
                    <a:pt x="141" y="792"/>
                  </a:lnTo>
                  <a:lnTo>
                    <a:pt x="136" y="781"/>
                  </a:lnTo>
                  <a:lnTo>
                    <a:pt x="148" y="782"/>
                  </a:lnTo>
                  <a:lnTo>
                    <a:pt x="148" y="775"/>
                  </a:lnTo>
                  <a:lnTo>
                    <a:pt x="140" y="764"/>
                  </a:lnTo>
                  <a:lnTo>
                    <a:pt x="140" y="771"/>
                  </a:lnTo>
                  <a:lnTo>
                    <a:pt x="129" y="777"/>
                  </a:lnTo>
                  <a:lnTo>
                    <a:pt x="126" y="757"/>
                  </a:lnTo>
                  <a:lnTo>
                    <a:pt x="134" y="758"/>
                  </a:lnTo>
                  <a:lnTo>
                    <a:pt x="125" y="742"/>
                  </a:lnTo>
                  <a:lnTo>
                    <a:pt x="119" y="758"/>
                  </a:lnTo>
                  <a:lnTo>
                    <a:pt x="115" y="740"/>
                  </a:lnTo>
                  <a:lnTo>
                    <a:pt x="106" y="739"/>
                  </a:lnTo>
                  <a:lnTo>
                    <a:pt x="90" y="701"/>
                  </a:lnTo>
                  <a:lnTo>
                    <a:pt x="89" y="694"/>
                  </a:lnTo>
                  <a:lnTo>
                    <a:pt x="95" y="691"/>
                  </a:lnTo>
                  <a:lnTo>
                    <a:pt x="108" y="705"/>
                  </a:lnTo>
                  <a:lnTo>
                    <a:pt x="103" y="671"/>
                  </a:lnTo>
                  <a:lnTo>
                    <a:pt x="83" y="667"/>
                  </a:lnTo>
                  <a:lnTo>
                    <a:pt x="77" y="673"/>
                  </a:lnTo>
                  <a:lnTo>
                    <a:pt x="73" y="666"/>
                  </a:lnTo>
                  <a:lnTo>
                    <a:pt x="83" y="656"/>
                  </a:lnTo>
                  <a:lnTo>
                    <a:pt x="75" y="650"/>
                  </a:lnTo>
                  <a:lnTo>
                    <a:pt x="84" y="649"/>
                  </a:lnTo>
                  <a:lnTo>
                    <a:pt x="73" y="611"/>
                  </a:lnTo>
                  <a:lnTo>
                    <a:pt x="78" y="604"/>
                  </a:lnTo>
                  <a:lnTo>
                    <a:pt x="86" y="611"/>
                  </a:lnTo>
                  <a:lnTo>
                    <a:pt x="89" y="629"/>
                  </a:lnTo>
                  <a:lnTo>
                    <a:pt x="97" y="642"/>
                  </a:lnTo>
                  <a:lnTo>
                    <a:pt x="95" y="602"/>
                  </a:lnTo>
                  <a:lnTo>
                    <a:pt x="83" y="554"/>
                  </a:lnTo>
                  <a:lnTo>
                    <a:pt x="73" y="551"/>
                  </a:lnTo>
                  <a:lnTo>
                    <a:pt x="73" y="558"/>
                  </a:lnTo>
                  <a:lnTo>
                    <a:pt x="64" y="557"/>
                  </a:lnTo>
                  <a:lnTo>
                    <a:pt x="54" y="540"/>
                  </a:lnTo>
                  <a:lnTo>
                    <a:pt x="52" y="505"/>
                  </a:lnTo>
                  <a:lnTo>
                    <a:pt x="30" y="465"/>
                  </a:lnTo>
                  <a:lnTo>
                    <a:pt x="29" y="451"/>
                  </a:lnTo>
                  <a:lnTo>
                    <a:pt x="38" y="451"/>
                  </a:lnTo>
                  <a:lnTo>
                    <a:pt x="43" y="371"/>
                  </a:lnTo>
                  <a:lnTo>
                    <a:pt x="41" y="344"/>
                  </a:lnTo>
                  <a:lnTo>
                    <a:pt x="24" y="304"/>
                  </a:lnTo>
                  <a:lnTo>
                    <a:pt x="29" y="287"/>
                  </a:lnTo>
                  <a:lnTo>
                    <a:pt x="20" y="264"/>
                  </a:lnTo>
                  <a:lnTo>
                    <a:pt x="26" y="203"/>
                  </a:lnTo>
                  <a:lnTo>
                    <a:pt x="16" y="126"/>
                  </a:lnTo>
                  <a:lnTo>
                    <a:pt x="20" y="91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9" name="Freeform 19"/>
            <p:cNvSpPr>
              <a:spLocks noChangeAspect="1"/>
            </p:cNvSpPr>
            <p:nvPr/>
          </p:nvSpPr>
          <p:spPr bwMode="auto">
            <a:xfrm>
              <a:off x="1856" y="2720"/>
              <a:ext cx="228" cy="303"/>
            </a:xfrm>
            <a:custGeom>
              <a:avLst/>
              <a:gdLst>
                <a:gd name="T0" fmla="*/ 0 w 254"/>
                <a:gd name="T1" fmla="*/ 26 h 303"/>
                <a:gd name="T2" fmla="*/ 4 w 254"/>
                <a:gd name="T3" fmla="*/ 28 h 303"/>
                <a:gd name="T4" fmla="*/ 4 w 254"/>
                <a:gd name="T5" fmla="*/ 1 h 303"/>
                <a:gd name="T6" fmla="*/ 4 w 254"/>
                <a:gd name="T7" fmla="*/ 0 h 303"/>
                <a:gd name="T8" fmla="*/ 4 w 254"/>
                <a:gd name="T9" fmla="*/ 35 h 303"/>
                <a:gd name="T10" fmla="*/ 4 w 254"/>
                <a:gd name="T11" fmla="*/ 53 h 303"/>
                <a:gd name="T12" fmla="*/ 4 w 254"/>
                <a:gd name="T13" fmla="*/ 88 h 303"/>
                <a:gd name="T14" fmla="*/ 4 w 254"/>
                <a:gd name="T15" fmla="*/ 114 h 303"/>
                <a:gd name="T16" fmla="*/ 4 w 254"/>
                <a:gd name="T17" fmla="*/ 127 h 303"/>
                <a:gd name="T18" fmla="*/ 4 w 254"/>
                <a:gd name="T19" fmla="*/ 148 h 303"/>
                <a:gd name="T20" fmla="*/ 4 w 254"/>
                <a:gd name="T21" fmla="*/ 154 h 303"/>
                <a:gd name="T22" fmla="*/ 4 w 254"/>
                <a:gd name="T23" fmla="*/ 167 h 303"/>
                <a:gd name="T24" fmla="*/ 4 w 254"/>
                <a:gd name="T25" fmla="*/ 194 h 303"/>
                <a:gd name="T26" fmla="*/ 4 w 254"/>
                <a:gd name="T27" fmla="*/ 239 h 303"/>
                <a:gd name="T28" fmla="*/ 4 w 254"/>
                <a:gd name="T29" fmla="*/ 218 h 303"/>
                <a:gd name="T30" fmla="*/ 4 w 254"/>
                <a:gd name="T31" fmla="*/ 231 h 303"/>
                <a:gd name="T32" fmla="*/ 4 w 254"/>
                <a:gd name="T33" fmla="*/ 289 h 303"/>
                <a:gd name="T34" fmla="*/ 4 w 254"/>
                <a:gd name="T35" fmla="*/ 283 h 303"/>
                <a:gd name="T36" fmla="*/ 4 w 254"/>
                <a:gd name="T37" fmla="*/ 294 h 303"/>
                <a:gd name="T38" fmla="*/ 4 w 254"/>
                <a:gd name="T39" fmla="*/ 276 h 303"/>
                <a:gd name="T40" fmla="*/ 4 w 254"/>
                <a:gd name="T41" fmla="*/ 303 h 303"/>
                <a:gd name="T42" fmla="*/ 4 w 254"/>
                <a:gd name="T43" fmla="*/ 301 h 303"/>
                <a:gd name="T44" fmla="*/ 4 w 254"/>
                <a:gd name="T45" fmla="*/ 237 h 303"/>
                <a:gd name="T46" fmla="*/ 4 w 254"/>
                <a:gd name="T47" fmla="*/ 218 h 303"/>
                <a:gd name="T48" fmla="*/ 4 w 254"/>
                <a:gd name="T49" fmla="*/ 179 h 303"/>
                <a:gd name="T50" fmla="*/ 4 w 254"/>
                <a:gd name="T51" fmla="*/ 155 h 303"/>
                <a:gd name="T52" fmla="*/ 4 w 254"/>
                <a:gd name="T53" fmla="*/ 137 h 303"/>
                <a:gd name="T54" fmla="*/ 4 w 254"/>
                <a:gd name="T55" fmla="*/ 60 h 303"/>
                <a:gd name="T56" fmla="*/ 0 w 254"/>
                <a:gd name="T57" fmla="*/ 26 h 30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54"/>
                <a:gd name="T88" fmla="*/ 0 h 303"/>
                <a:gd name="T89" fmla="*/ 254 w 254"/>
                <a:gd name="T90" fmla="*/ 303 h 30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54" h="303">
                  <a:moveTo>
                    <a:pt x="0" y="26"/>
                  </a:moveTo>
                  <a:lnTo>
                    <a:pt x="27" y="28"/>
                  </a:lnTo>
                  <a:lnTo>
                    <a:pt x="58" y="1"/>
                  </a:lnTo>
                  <a:lnTo>
                    <a:pt x="83" y="0"/>
                  </a:lnTo>
                  <a:lnTo>
                    <a:pt x="86" y="35"/>
                  </a:lnTo>
                  <a:lnTo>
                    <a:pt x="95" y="53"/>
                  </a:lnTo>
                  <a:lnTo>
                    <a:pt x="180" y="88"/>
                  </a:lnTo>
                  <a:lnTo>
                    <a:pt x="195" y="114"/>
                  </a:lnTo>
                  <a:lnTo>
                    <a:pt x="192" y="127"/>
                  </a:lnTo>
                  <a:lnTo>
                    <a:pt x="201" y="148"/>
                  </a:lnTo>
                  <a:lnTo>
                    <a:pt x="236" y="154"/>
                  </a:lnTo>
                  <a:lnTo>
                    <a:pt x="237" y="167"/>
                  </a:lnTo>
                  <a:lnTo>
                    <a:pt x="254" y="194"/>
                  </a:lnTo>
                  <a:lnTo>
                    <a:pt x="252" y="239"/>
                  </a:lnTo>
                  <a:lnTo>
                    <a:pt x="229" y="218"/>
                  </a:lnTo>
                  <a:lnTo>
                    <a:pt x="175" y="231"/>
                  </a:lnTo>
                  <a:lnTo>
                    <a:pt x="165" y="289"/>
                  </a:lnTo>
                  <a:lnTo>
                    <a:pt x="140" y="283"/>
                  </a:lnTo>
                  <a:lnTo>
                    <a:pt x="134" y="294"/>
                  </a:lnTo>
                  <a:lnTo>
                    <a:pt x="95" y="276"/>
                  </a:lnTo>
                  <a:lnTo>
                    <a:pt x="77" y="303"/>
                  </a:lnTo>
                  <a:lnTo>
                    <a:pt x="63" y="301"/>
                  </a:lnTo>
                  <a:lnTo>
                    <a:pt x="37" y="237"/>
                  </a:lnTo>
                  <a:lnTo>
                    <a:pt x="38" y="218"/>
                  </a:lnTo>
                  <a:lnTo>
                    <a:pt x="15" y="179"/>
                  </a:lnTo>
                  <a:lnTo>
                    <a:pt x="24" y="155"/>
                  </a:lnTo>
                  <a:lnTo>
                    <a:pt x="14" y="137"/>
                  </a:lnTo>
                  <a:lnTo>
                    <a:pt x="20" y="60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30" name="Freeform 20"/>
            <p:cNvSpPr>
              <a:spLocks noChangeAspect="1"/>
            </p:cNvSpPr>
            <p:nvPr/>
          </p:nvSpPr>
          <p:spPr bwMode="auto">
            <a:xfrm>
              <a:off x="2003" y="2938"/>
              <a:ext cx="155" cy="190"/>
            </a:xfrm>
            <a:custGeom>
              <a:avLst/>
              <a:gdLst>
                <a:gd name="T0" fmla="*/ 5 w 172"/>
                <a:gd name="T1" fmla="*/ 147 h 190"/>
                <a:gd name="T2" fmla="*/ 5 w 172"/>
                <a:gd name="T3" fmla="*/ 110 h 190"/>
                <a:gd name="T4" fmla="*/ 5 w 172"/>
                <a:gd name="T5" fmla="*/ 106 h 190"/>
                <a:gd name="T6" fmla="*/ 5 w 172"/>
                <a:gd name="T7" fmla="*/ 76 h 190"/>
                <a:gd name="T8" fmla="*/ 5 w 172"/>
                <a:gd name="T9" fmla="*/ 71 h 190"/>
                <a:gd name="T10" fmla="*/ 5 w 172"/>
                <a:gd name="T11" fmla="*/ 61 h 190"/>
                <a:gd name="T12" fmla="*/ 5 w 172"/>
                <a:gd name="T13" fmla="*/ 21 h 190"/>
                <a:gd name="T14" fmla="*/ 5 w 172"/>
                <a:gd name="T15" fmla="*/ 0 h 190"/>
                <a:gd name="T16" fmla="*/ 5 w 172"/>
                <a:gd name="T17" fmla="*/ 13 h 190"/>
                <a:gd name="T18" fmla="*/ 0 w 172"/>
                <a:gd name="T19" fmla="*/ 71 h 190"/>
                <a:gd name="T20" fmla="*/ 5 w 172"/>
                <a:gd name="T21" fmla="*/ 110 h 190"/>
                <a:gd name="T22" fmla="*/ 5 w 172"/>
                <a:gd name="T23" fmla="*/ 116 h 190"/>
                <a:gd name="T24" fmla="*/ 5 w 172"/>
                <a:gd name="T25" fmla="*/ 137 h 190"/>
                <a:gd name="T26" fmla="*/ 5 w 172"/>
                <a:gd name="T27" fmla="*/ 151 h 190"/>
                <a:gd name="T28" fmla="*/ 5 w 172"/>
                <a:gd name="T29" fmla="*/ 182 h 190"/>
                <a:gd name="T30" fmla="*/ 5 w 172"/>
                <a:gd name="T31" fmla="*/ 190 h 190"/>
                <a:gd name="T32" fmla="*/ 5 w 172"/>
                <a:gd name="T33" fmla="*/ 188 h 190"/>
                <a:gd name="T34" fmla="*/ 5 w 172"/>
                <a:gd name="T35" fmla="*/ 171 h 190"/>
                <a:gd name="T36" fmla="*/ 5 w 172"/>
                <a:gd name="T37" fmla="*/ 147 h 19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2"/>
                <a:gd name="T58" fmla="*/ 0 h 190"/>
                <a:gd name="T59" fmla="*/ 172 w 172"/>
                <a:gd name="T60" fmla="*/ 190 h 19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2" h="190">
                  <a:moveTo>
                    <a:pt x="172" y="147"/>
                  </a:moveTo>
                  <a:lnTo>
                    <a:pt x="169" y="110"/>
                  </a:lnTo>
                  <a:lnTo>
                    <a:pt x="148" y="106"/>
                  </a:lnTo>
                  <a:lnTo>
                    <a:pt x="139" y="76"/>
                  </a:lnTo>
                  <a:lnTo>
                    <a:pt x="132" y="71"/>
                  </a:lnTo>
                  <a:lnTo>
                    <a:pt x="93" y="61"/>
                  </a:lnTo>
                  <a:lnTo>
                    <a:pt x="87" y="21"/>
                  </a:lnTo>
                  <a:lnTo>
                    <a:pt x="64" y="0"/>
                  </a:lnTo>
                  <a:lnTo>
                    <a:pt x="10" y="13"/>
                  </a:lnTo>
                  <a:lnTo>
                    <a:pt x="0" y="71"/>
                  </a:lnTo>
                  <a:lnTo>
                    <a:pt x="42" y="110"/>
                  </a:lnTo>
                  <a:lnTo>
                    <a:pt x="67" y="116"/>
                  </a:lnTo>
                  <a:lnTo>
                    <a:pt x="101" y="137"/>
                  </a:lnTo>
                  <a:lnTo>
                    <a:pt x="107" y="151"/>
                  </a:lnTo>
                  <a:lnTo>
                    <a:pt x="99" y="182"/>
                  </a:lnTo>
                  <a:lnTo>
                    <a:pt x="138" y="190"/>
                  </a:lnTo>
                  <a:lnTo>
                    <a:pt x="151" y="188"/>
                  </a:lnTo>
                  <a:lnTo>
                    <a:pt x="168" y="171"/>
                  </a:lnTo>
                  <a:lnTo>
                    <a:pt x="172" y="14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31" name="Freeform 21"/>
            <p:cNvSpPr>
              <a:spLocks noChangeAspect="1"/>
            </p:cNvSpPr>
            <p:nvPr/>
          </p:nvSpPr>
          <p:spPr bwMode="auto">
            <a:xfrm>
              <a:off x="1897" y="2996"/>
              <a:ext cx="279" cy="696"/>
            </a:xfrm>
            <a:custGeom>
              <a:avLst/>
              <a:gdLst>
                <a:gd name="T0" fmla="*/ 5 w 309"/>
                <a:gd name="T1" fmla="*/ 283 h 696"/>
                <a:gd name="T2" fmla="*/ 5 w 309"/>
                <a:gd name="T3" fmla="*/ 313 h 696"/>
                <a:gd name="T4" fmla="*/ 5 w 309"/>
                <a:gd name="T5" fmla="*/ 336 h 696"/>
                <a:gd name="T6" fmla="*/ 5 w 309"/>
                <a:gd name="T7" fmla="*/ 377 h 696"/>
                <a:gd name="T8" fmla="*/ 5 w 309"/>
                <a:gd name="T9" fmla="*/ 397 h 696"/>
                <a:gd name="T10" fmla="*/ 5 w 309"/>
                <a:gd name="T11" fmla="*/ 408 h 696"/>
                <a:gd name="T12" fmla="*/ 5 w 309"/>
                <a:gd name="T13" fmla="*/ 446 h 696"/>
                <a:gd name="T14" fmla="*/ 5 w 309"/>
                <a:gd name="T15" fmla="*/ 443 h 696"/>
                <a:gd name="T16" fmla="*/ 5 w 309"/>
                <a:gd name="T17" fmla="*/ 473 h 696"/>
                <a:gd name="T18" fmla="*/ 5 w 309"/>
                <a:gd name="T19" fmla="*/ 478 h 696"/>
                <a:gd name="T20" fmla="*/ 5 w 309"/>
                <a:gd name="T21" fmla="*/ 484 h 696"/>
                <a:gd name="T22" fmla="*/ 5 w 309"/>
                <a:gd name="T23" fmla="*/ 484 h 696"/>
                <a:gd name="T24" fmla="*/ 5 w 309"/>
                <a:gd name="T25" fmla="*/ 503 h 696"/>
                <a:gd name="T26" fmla="*/ 5 w 309"/>
                <a:gd name="T27" fmla="*/ 525 h 696"/>
                <a:gd name="T28" fmla="*/ 5 w 309"/>
                <a:gd name="T29" fmla="*/ 539 h 696"/>
                <a:gd name="T30" fmla="*/ 5 w 309"/>
                <a:gd name="T31" fmla="*/ 566 h 696"/>
                <a:gd name="T32" fmla="*/ 5 w 309"/>
                <a:gd name="T33" fmla="*/ 582 h 696"/>
                <a:gd name="T34" fmla="*/ 5 w 309"/>
                <a:gd name="T35" fmla="*/ 600 h 696"/>
                <a:gd name="T36" fmla="*/ 5 w 309"/>
                <a:gd name="T37" fmla="*/ 645 h 696"/>
                <a:gd name="T38" fmla="*/ 5 w 309"/>
                <a:gd name="T39" fmla="*/ 667 h 696"/>
                <a:gd name="T40" fmla="*/ 5 w 309"/>
                <a:gd name="T41" fmla="*/ 695 h 696"/>
                <a:gd name="T42" fmla="*/ 5 w 309"/>
                <a:gd name="T43" fmla="*/ 660 h 696"/>
                <a:gd name="T44" fmla="*/ 5 w 309"/>
                <a:gd name="T45" fmla="*/ 640 h 696"/>
                <a:gd name="T46" fmla="*/ 5 w 309"/>
                <a:gd name="T47" fmla="*/ 528 h 696"/>
                <a:gd name="T48" fmla="*/ 5 w 309"/>
                <a:gd name="T49" fmla="*/ 519 h 696"/>
                <a:gd name="T50" fmla="*/ 5 w 309"/>
                <a:gd name="T51" fmla="*/ 465 h 696"/>
                <a:gd name="T52" fmla="*/ 5 w 309"/>
                <a:gd name="T53" fmla="*/ 388 h 696"/>
                <a:gd name="T54" fmla="*/ 5 w 309"/>
                <a:gd name="T55" fmla="*/ 330 h 696"/>
                <a:gd name="T56" fmla="*/ 5 w 309"/>
                <a:gd name="T57" fmla="*/ 280 h 696"/>
                <a:gd name="T58" fmla="*/ 4 w 309"/>
                <a:gd name="T59" fmla="*/ 152 h 696"/>
                <a:gd name="T60" fmla="*/ 5 w 309"/>
                <a:gd name="T61" fmla="*/ 67 h 696"/>
                <a:gd name="T62" fmla="*/ 5 w 309"/>
                <a:gd name="T63" fmla="*/ 27 h 696"/>
                <a:gd name="T64" fmla="*/ 5 w 309"/>
                <a:gd name="T65" fmla="*/ 18 h 696"/>
                <a:gd name="T66" fmla="*/ 5 w 309"/>
                <a:gd name="T67" fmla="*/ 13 h 696"/>
                <a:gd name="T68" fmla="*/ 5 w 309"/>
                <a:gd name="T69" fmla="*/ 58 h 696"/>
                <a:gd name="T70" fmla="*/ 5 w 309"/>
                <a:gd name="T71" fmla="*/ 93 h 696"/>
                <a:gd name="T72" fmla="*/ 5 w 309"/>
                <a:gd name="T73" fmla="*/ 132 h 696"/>
                <a:gd name="T74" fmla="*/ 5 w 309"/>
                <a:gd name="T75" fmla="*/ 113 h 696"/>
                <a:gd name="T76" fmla="*/ 5 w 309"/>
                <a:gd name="T77" fmla="*/ 90 h 696"/>
                <a:gd name="T78" fmla="*/ 5 w 309"/>
                <a:gd name="T79" fmla="*/ 133 h 69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09"/>
                <a:gd name="T121" fmla="*/ 0 h 696"/>
                <a:gd name="T122" fmla="*/ 309 w 309"/>
                <a:gd name="T123" fmla="*/ 696 h 69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09" h="696">
                  <a:moveTo>
                    <a:pt x="245" y="195"/>
                  </a:moveTo>
                  <a:lnTo>
                    <a:pt x="250" y="283"/>
                  </a:lnTo>
                  <a:lnTo>
                    <a:pt x="253" y="297"/>
                  </a:lnTo>
                  <a:lnTo>
                    <a:pt x="279" y="313"/>
                  </a:lnTo>
                  <a:lnTo>
                    <a:pt x="276" y="324"/>
                  </a:lnTo>
                  <a:lnTo>
                    <a:pt x="292" y="336"/>
                  </a:lnTo>
                  <a:lnTo>
                    <a:pt x="297" y="347"/>
                  </a:lnTo>
                  <a:lnTo>
                    <a:pt x="287" y="377"/>
                  </a:lnTo>
                  <a:lnTo>
                    <a:pt x="236" y="394"/>
                  </a:lnTo>
                  <a:lnTo>
                    <a:pt x="210" y="397"/>
                  </a:lnTo>
                  <a:lnTo>
                    <a:pt x="202" y="391"/>
                  </a:lnTo>
                  <a:lnTo>
                    <a:pt x="212" y="408"/>
                  </a:lnTo>
                  <a:lnTo>
                    <a:pt x="216" y="440"/>
                  </a:lnTo>
                  <a:lnTo>
                    <a:pt x="190" y="446"/>
                  </a:lnTo>
                  <a:lnTo>
                    <a:pt x="168" y="437"/>
                  </a:lnTo>
                  <a:lnTo>
                    <a:pt x="164" y="443"/>
                  </a:lnTo>
                  <a:lnTo>
                    <a:pt x="176" y="467"/>
                  </a:lnTo>
                  <a:lnTo>
                    <a:pt x="187" y="473"/>
                  </a:lnTo>
                  <a:lnTo>
                    <a:pt x="199" y="467"/>
                  </a:lnTo>
                  <a:lnTo>
                    <a:pt x="206" y="478"/>
                  </a:lnTo>
                  <a:lnTo>
                    <a:pt x="206" y="484"/>
                  </a:lnTo>
                  <a:lnTo>
                    <a:pt x="196" y="484"/>
                  </a:lnTo>
                  <a:lnTo>
                    <a:pt x="188" y="477"/>
                  </a:lnTo>
                  <a:lnTo>
                    <a:pt x="182" y="484"/>
                  </a:lnTo>
                  <a:lnTo>
                    <a:pt x="195" y="488"/>
                  </a:lnTo>
                  <a:lnTo>
                    <a:pt x="183" y="503"/>
                  </a:lnTo>
                  <a:lnTo>
                    <a:pt x="192" y="522"/>
                  </a:lnTo>
                  <a:lnTo>
                    <a:pt x="185" y="525"/>
                  </a:lnTo>
                  <a:lnTo>
                    <a:pt x="188" y="532"/>
                  </a:lnTo>
                  <a:lnTo>
                    <a:pt x="168" y="539"/>
                  </a:lnTo>
                  <a:lnTo>
                    <a:pt x="162" y="556"/>
                  </a:lnTo>
                  <a:lnTo>
                    <a:pt x="168" y="566"/>
                  </a:lnTo>
                  <a:lnTo>
                    <a:pt x="190" y="582"/>
                  </a:lnTo>
                  <a:lnTo>
                    <a:pt x="204" y="582"/>
                  </a:lnTo>
                  <a:lnTo>
                    <a:pt x="209" y="589"/>
                  </a:lnTo>
                  <a:lnTo>
                    <a:pt x="210" y="600"/>
                  </a:lnTo>
                  <a:lnTo>
                    <a:pt x="189" y="622"/>
                  </a:lnTo>
                  <a:lnTo>
                    <a:pt x="193" y="645"/>
                  </a:lnTo>
                  <a:lnTo>
                    <a:pt x="177" y="656"/>
                  </a:lnTo>
                  <a:lnTo>
                    <a:pt x="179" y="667"/>
                  </a:lnTo>
                  <a:lnTo>
                    <a:pt x="207" y="696"/>
                  </a:lnTo>
                  <a:lnTo>
                    <a:pt x="187" y="695"/>
                  </a:lnTo>
                  <a:lnTo>
                    <a:pt x="143" y="690"/>
                  </a:lnTo>
                  <a:lnTo>
                    <a:pt x="120" y="660"/>
                  </a:lnTo>
                  <a:lnTo>
                    <a:pt x="104" y="661"/>
                  </a:lnTo>
                  <a:lnTo>
                    <a:pt x="94" y="640"/>
                  </a:lnTo>
                  <a:lnTo>
                    <a:pt x="93" y="571"/>
                  </a:lnTo>
                  <a:lnTo>
                    <a:pt x="74" y="528"/>
                  </a:lnTo>
                  <a:lnTo>
                    <a:pt x="81" y="529"/>
                  </a:lnTo>
                  <a:lnTo>
                    <a:pt x="69" y="519"/>
                  </a:lnTo>
                  <a:lnTo>
                    <a:pt x="51" y="485"/>
                  </a:lnTo>
                  <a:lnTo>
                    <a:pt x="50" y="465"/>
                  </a:lnTo>
                  <a:lnTo>
                    <a:pt x="39" y="444"/>
                  </a:lnTo>
                  <a:lnTo>
                    <a:pt x="36" y="388"/>
                  </a:lnTo>
                  <a:lnTo>
                    <a:pt x="22" y="347"/>
                  </a:lnTo>
                  <a:lnTo>
                    <a:pt x="29" y="330"/>
                  </a:lnTo>
                  <a:lnTo>
                    <a:pt x="23" y="312"/>
                  </a:lnTo>
                  <a:lnTo>
                    <a:pt x="27" y="280"/>
                  </a:lnTo>
                  <a:lnTo>
                    <a:pt x="0" y="220"/>
                  </a:lnTo>
                  <a:lnTo>
                    <a:pt x="4" y="152"/>
                  </a:lnTo>
                  <a:lnTo>
                    <a:pt x="21" y="114"/>
                  </a:lnTo>
                  <a:lnTo>
                    <a:pt x="11" y="67"/>
                  </a:lnTo>
                  <a:lnTo>
                    <a:pt x="30" y="53"/>
                  </a:lnTo>
                  <a:lnTo>
                    <a:pt x="30" y="27"/>
                  </a:lnTo>
                  <a:lnTo>
                    <a:pt x="48" y="0"/>
                  </a:lnTo>
                  <a:lnTo>
                    <a:pt x="87" y="18"/>
                  </a:lnTo>
                  <a:lnTo>
                    <a:pt x="93" y="7"/>
                  </a:lnTo>
                  <a:lnTo>
                    <a:pt x="118" y="13"/>
                  </a:lnTo>
                  <a:lnTo>
                    <a:pt x="160" y="52"/>
                  </a:lnTo>
                  <a:lnTo>
                    <a:pt x="185" y="58"/>
                  </a:lnTo>
                  <a:lnTo>
                    <a:pt x="219" y="79"/>
                  </a:lnTo>
                  <a:lnTo>
                    <a:pt x="225" y="93"/>
                  </a:lnTo>
                  <a:lnTo>
                    <a:pt x="217" y="124"/>
                  </a:lnTo>
                  <a:lnTo>
                    <a:pt x="256" y="132"/>
                  </a:lnTo>
                  <a:lnTo>
                    <a:pt x="269" y="130"/>
                  </a:lnTo>
                  <a:lnTo>
                    <a:pt x="286" y="113"/>
                  </a:lnTo>
                  <a:lnTo>
                    <a:pt x="290" y="89"/>
                  </a:lnTo>
                  <a:lnTo>
                    <a:pt x="301" y="90"/>
                  </a:lnTo>
                  <a:lnTo>
                    <a:pt x="309" y="121"/>
                  </a:lnTo>
                  <a:lnTo>
                    <a:pt x="291" y="133"/>
                  </a:lnTo>
                  <a:lnTo>
                    <a:pt x="245" y="19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32" name="Freeform 22"/>
            <p:cNvSpPr>
              <a:spLocks noChangeAspect="1"/>
            </p:cNvSpPr>
            <p:nvPr/>
          </p:nvSpPr>
          <p:spPr bwMode="auto">
            <a:xfrm>
              <a:off x="2004" y="2306"/>
              <a:ext cx="86" cy="161"/>
            </a:xfrm>
            <a:custGeom>
              <a:avLst/>
              <a:gdLst>
                <a:gd name="T0" fmla="*/ 5 w 94"/>
                <a:gd name="T1" fmla="*/ 0 h 161"/>
                <a:gd name="T2" fmla="*/ 5 w 94"/>
                <a:gd name="T3" fmla="*/ 13 h 161"/>
                <a:gd name="T4" fmla="*/ 5 w 94"/>
                <a:gd name="T5" fmla="*/ 27 h 161"/>
                <a:gd name="T6" fmla="*/ 5 w 94"/>
                <a:gd name="T7" fmla="*/ 30 h 161"/>
                <a:gd name="T8" fmla="*/ 3 w 94"/>
                <a:gd name="T9" fmla="*/ 38 h 161"/>
                <a:gd name="T10" fmla="*/ 0 w 94"/>
                <a:gd name="T11" fmla="*/ 55 h 161"/>
                <a:gd name="T12" fmla="*/ 5 w 94"/>
                <a:gd name="T13" fmla="*/ 72 h 161"/>
                <a:gd name="T14" fmla="*/ 5 w 94"/>
                <a:gd name="T15" fmla="*/ 74 h 161"/>
                <a:gd name="T16" fmla="*/ 5 w 94"/>
                <a:gd name="T17" fmla="*/ 95 h 161"/>
                <a:gd name="T18" fmla="*/ 5 w 94"/>
                <a:gd name="T19" fmla="*/ 130 h 161"/>
                <a:gd name="T20" fmla="*/ 5 w 94"/>
                <a:gd name="T21" fmla="*/ 156 h 161"/>
                <a:gd name="T22" fmla="*/ 5 w 94"/>
                <a:gd name="T23" fmla="*/ 161 h 161"/>
                <a:gd name="T24" fmla="*/ 5 w 94"/>
                <a:gd name="T25" fmla="*/ 144 h 161"/>
                <a:gd name="T26" fmla="*/ 5 w 94"/>
                <a:gd name="T27" fmla="*/ 146 h 161"/>
                <a:gd name="T28" fmla="*/ 5 w 94"/>
                <a:gd name="T29" fmla="*/ 93 h 161"/>
                <a:gd name="T30" fmla="*/ 5 w 94"/>
                <a:gd name="T31" fmla="*/ 55 h 161"/>
                <a:gd name="T32" fmla="*/ 5 w 94"/>
                <a:gd name="T33" fmla="*/ 34 h 161"/>
                <a:gd name="T34" fmla="*/ 5 w 94"/>
                <a:gd name="T35" fmla="*/ 35 h 161"/>
                <a:gd name="T36" fmla="*/ 5 w 94"/>
                <a:gd name="T37" fmla="*/ 16 h 161"/>
                <a:gd name="T38" fmla="*/ 5 w 94"/>
                <a:gd name="T39" fmla="*/ 0 h 16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4"/>
                <a:gd name="T61" fmla="*/ 0 h 161"/>
                <a:gd name="T62" fmla="*/ 94 w 94"/>
                <a:gd name="T63" fmla="*/ 161 h 16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4" h="161">
                  <a:moveTo>
                    <a:pt x="30" y="0"/>
                  </a:moveTo>
                  <a:lnTo>
                    <a:pt x="12" y="13"/>
                  </a:lnTo>
                  <a:lnTo>
                    <a:pt x="9" y="27"/>
                  </a:lnTo>
                  <a:lnTo>
                    <a:pt x="14" y="30"/>
                  </a:lnTo>
                  <a:lnTo>
                    <a:pt x="3" y="38"/>
                  </a:lnTo>
                  <a:lnTo>
                    <a:pt x="0" y="55"/>
                  </a:lnTo>
                  <a:lnTo>
                    <a:pt x="12" y="72"/>
                  </a:lnTo>
                  <a:lnTo>
                    <a:pt x="24" y="74"/>
                  </a:lnTo>
                  <a:lnTo>
                    <a:pt x="31" y="95"/>
                  </a:lnTo>
                  <a:lnTo>
                    <a:pt x="25" y="130"/>
                  </a:lnTo>
                  <a:lnTo>
                    <a:pt x="36" y="156"/>
                  </a:lnTo>
                  <a:lnTo>
                    <a:pt x="47" y="161"/>
                  </a:lnTo>
                  <a:lnTo>
                    <a:pt x="81" y="144"/>
                  </a:lnTo>
                  <a:lnTo>
                    <a:pt x="94" y="146"/>
                  </a:lnTo>
                  <a:lnTo>
                    <a:pt x="63" y="93"/>
                  </a:lnTo>
                  <a:lnTo>
                    <a:pt x="83" y="55"/>
                  </a:lnTo>
                  <a:lnTo>
                    <a:pt x="62" y="34"/>
                  </a:lnTo>
                  <a:lnTo>
                    <a:pt x="53" y="35"/>
                  </a:lnTo>
                  <a:lnTo>
                    <a:pt x="52" y="16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33" name="Freeform 23"/>
            <p:cNvSpPr>
              <a:spLocks noChangeAspect="1"/>
            </p:cNvSpPr>
            <p:nvPr/>
          </p:nvSpPr>
          <p:spPr bwMode="auto">
            <a:xfrm>
              <a:off x="1905" y="3457"/>
              <a:ext cx="15" cy="36"/>
            </a:xfrm>
            <a:custGeom>
              <a:avLst/>
              <a:gdLst>
                <a:gd name="T0" fmla="*/ 0 w 18"/>
                <a:gd name="T1" fmla="*/ 0 h 36"/>
                <a:gd name="T2" fmla="*/ 2 w 18"/>
                <a:gd name="T3" fmla="*/ 34 h 36"/>
                <a:gd name="T4" fmla="*/ 2 w 18"/>
                <a:gd name="T5" fmla="*/ 36 h 36"/>
                <a:gd name="T6" fmla="*/ 2 w 18"/>
                <a:gd name="T7" fmla="*/ 12 h 36"/>
                <a:gd name="T8" fmla="*/ 0 w 18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36"/>
                <a:gd name="T17" fmla="*/ 18 w 18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36">
                  <a:moveTo>
                    <a:pt x="0" y="0"/>
                  </a:moveTo>
                  <a:lnTo>
                    <a:pt x="7" y="34"/>
                  </a:lnTo>
                  <a:lnTo>
                    <a:pt x="18" y="36"/>
                  </a:lnTo>
                  <a:lnTo>
                    <a:pt x="17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34" name="Freeform 24"/>
            <p:cNvSpPr>
              <a:spLocks noChangeAspect="1"/>
            </p:cNvSpPr>
            <p:nvPr/>
          </p:nvSpPr>
          <p:spPr bwMode="auto">
            <a:xfrm>
              <a:off x="1777" y="2378"/>
              <a:ext cx="710" cy="895"/>
            </a:xfrm>
            <a:custGeom>
              <a:avLst/>
              <a:gdLst>
                <a:gd name="T0" fmla="*/ 5 w 788"/>
                <a:gd name="T1" fmla="*/ 66 h 895"/>
                <a:gd name="T2" fmla="*/ 5 w 788"/>
                <a:gd name="T3" fmla="*/ 66 h 895"/>
                <a:gd name="T4" fmla="*/ 5 w 788"/>
                <a:gd name="T5" fmla="*/ 76 h 895"/>
                <a:gd name="T6" fmla="*/ 5 w 788"/>
                <a:gd name="T7" fmla="*/ 72 h 895"/>
                <a:gd name="T8" fmla="*/ 5 w 788"/>
                <a:gd name="T9" fmla="*/ 84 h 895"/>
                <a:gd name="T10" fmla="*/ 5 w 788"/>
                <a:gd name="T11" fmla="*/ 23 h 895"/>
                <a:gd name="T12" fmla="*/ 5 w 788"/>
                <a:gd name="T13" fmla="*/ 0 h 895"/>
                <a:gd name="T14" fmla="*/ 5 w 788"/>
                <a:gd name="T15" fmla="*/ 30 h 895"/>
                <a:gd name="T16" fmla="*/ 5 w 788"/>
                <a:gd name="T17" fmla="*/ 36 h 895"/>
                <a:gd name="T18" fmla="*/ 5 w 788"/>
                <a:gd name="T19" fmla="*/ 70 h 895"/>
                <a:gd name="T20" fmla="*/ 5 w 788"/>
                <a:gd name="T21" fmla="*/ 100 h 895"/>
                <a:gd name="T22" fmla="*/ 5 w 788"/>
                <a:gd name="T23" fmla="*/ 77 h 895"/>
                <a:gd name="T24" fmla="*/ 5 w 788"/>
                <a:gd name="T25" fmla="*/ 93 h 895"/>
                <a:gd name="T26" fmla="*/ 5 w 788"/>
                <a:gd name="T27" fmla="*/ 111 h 895"/>
                <a:gd name="T28" fmla="*/ 5 w 788"/>
                <a:gd name="T29" fmla="*/ 214 h 895"/>
                <a:gd name="T30" fmla="*/ 5 w 788"/>
                <a:gd name="T31" fmla="*/ 253 h 895"/>
                <a:gd name="T32" fmla="*/ 5 w 788"/>
                <a:gd name="T33" fmla="*/ 325 h 895"/>
                <a:gd name="T34" fmla="*/ 5 w 788"/>
                <a:gd name="T35" fmla="*/ 348 h 895"/>
                <a:gd name="T36" fmla="*/ 5 w 788"/>
                <a:gd name="T37" fmla="*/ 368 h 895"/>
                <a:gd name="T38" fmla="*/ 5 w 788"/>
                <a:gd name="T39" fmla="*/ 370 h 895"/>
                <a:gd name="T40" fmla="*/ 5 w 788"/>
                <a:gd name="T41" fmla="*/ 342 h 895"/>
                <a:gd name="T42" fmla="*/ 5 w 788"/>
                <a:gd name="T43" fmla="*/ 395 h 895"/>
                <a:gd name="T44" fmla="*/ 5 w 788"/>
                <a:gd name="T45" fmla="*/ 456 h 895"/>
                <a:gd name="T46" fmla="*/ 5 w 788"/>
                <a:gd name="T47" fmla="*/ 490 h 895"/>
                <a:gd name="T48" fmla="*/ 5 w 788"/>
                <a:gd name="T49" fmla="*/ 509 h 895"/>
                <a:gd name="T50" fmla="*/ 5 w 788"/>
                <a:gd name="T51" fmla="*/ 581 h 895"/>
                <a:gd name="T52" fmla="*/ 5 w 788"/>
                <a:gd name="T53" fmla="*/ 631 h 895"/>
                <a:gd name="T54" fmla="*/ 5 w 788"/>
                <a:gd name="T55" fmla="*/ 666 h 895"/>
                <a:gd name="T56" fmla="*/ 5 w 788"/>
                <a:gd name="T57" fmla="*/ 707 h 895"/>
                <a:gd name="T58" fmla="*/ 5 w 788"/>
                <a:gd name="T59" fmla="*/ 739 h 895"/>
                <a:gd name="T60" fmla="*/ 5 w 788"/>
                <a:gd name="T61" fmla="*/ 813 h 895"/>
                <a:gd name="T62" fmla="*/ 5 w 788"/>
                <a:gd name="T63" fmla="*/ 831 h 895"/>
                <a:gd name="T64" fmla="*/ 5 w 788"/>
                <a:gd name="T65" fmla="*/ 853 h 895"/>
                <a:gd name="T66" fmla="*/ 5 w 788"/>
                <a:gd name="T67" fmla="*/ 895 h 895"/>
                <a:gd name="T68" fmla="*/ 5 w 788"/>
                <a:gd name="T69" fmla="*/ 842 h 895"/>
                <a:gd name="T70" fmla="*/ 5 w 788"/>
                <a:gd name="T71" fmla="*/ 773 h 895"/>
                <a:gd name="T72" fmla="*/ 5 w 788"/>
                <a:gd name="T73" fmla="*/ 674 h 895"/>
                <a:gd name="T74" fmla="*/ 5 w 788"/>
                <a:gd name="T75" fmla="*/ 666 h 895"/>
                <a:gd name="T76" fmla="*/ 5 w 788"/>
                <a:gd name="T77" fmla="*/ 656 h 895"/>
                <a:gd name="T78" fmla="*/ 5 w 788"/>
                <a:gd name="T79" fmla="*/ 646 h 895"/>
                <a:gd name="T80" fmla="*/ 5 w 788"/>
                <a:gd name="T81" fmla="*/ 624 h 895"/>
                <a:gd name="T82" fmla="*/ 5 w 788"/>
                <a:gd name="T83" fmla="*/ 566 h 895"/>
                <a:gd name="T84" fmla="*/ 5 w 788"/>
                <a:gd name="T85" fmla="*/ 524 h 895"/>
                <a:gd name="T86" fmla="*/ 5 w 788"/>
                <a:gd name="T87" fmla="*/ 338 h 895"/>
                <a:gd name="T88" fmla="*/ 5 w 788"/>
                <a:gd name="T89" fmla="*/ 279 h 895"/>
                <a:gd name="T90" fmla="*/ 5 w 788"/>
                <a:gd name="T91" fmla="*/ 235 h 895"/>
                <a:gd name="T92" fmla="*/ 5 w 788"/>
                <a:gd name="T93" fmla="*/ 188 h 895"/>
                <a:gd name="T94" fmla="*/ 5 w 788"/>
                <a:gd name="T95" fmla="*/ 184 h 895"/>
                <a:gd name="T96" fmla="*/ 5 w 788"/>
                <a:gd name="T97" fmla="*/ 152 h 895"/>
                <a:gd name="T98" fmla="*/ 5 w 788"/>
                <a:gd name="T99" fmla="*/ 149 h 895"/>
                <a:gd name="T100" fmla="*/ 5 w 788"/>
                <a:gd name="T101" fmla="*/ 138 h 895"/>
                <a:gd name="T102" fmla="*/ 5 w 788"/>
                <a:gd name="T103" fmla="*/ 151 h 895"/>
                <a:gd name="T104" fmla="*/ 5 w 788"/>
                <a:gd name="T105" fmla="*/ 122 h 895"/>
                <a:gd name="T106" fmla="*/ 5 w 788"/>
                <a:gd name="T107" fmla="*/ 157 h 895"/>
                <a:gd name="T108" fmla="*/ 5 w 788"/>
                <a:gd name="T109" fmla="*/ 148 h 895"/>
                <a:gd name="T110" fmla="*/ 5 w 788"/>
                <a:gd name="T111" fmla="*/ 95 h 895"/>
                <a:gd name="T112" fmla="*/ 5 w 788"/>
                <a:gd name="T113" fmla="*/ 76 h 895"/>
                <a:gd name="T114" fmla="*/ 5 w 788"/>
                <a:gd name="T115" fmla="*/ 25 h 89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88"/>
                <a:gd name="T175" fmla="*/ 0 h 895"/>
                <a:gd name="T176" fmla="*/ 788 w 788"/>
                <a:gd name="T177" fmla="*/ 895 h 89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88" h="895">
                  <a:moveTo>
                    <a:pt x="447" y="25"/>
                  </a:moveTo>
                  <a:lnTo>
                    <a:pt x="418" y="66"/>
                  </a:lnTo>
                  <a:lnTo>
                    <a:pt x="400" y="74"/>
                  </a:lnTo>
                  <a:lnTo>
                    <a:pt x="389" y="66"/>
                  </a:lnTo>
                  <a:lnTo>
                    <a:pt x="362" y="63"/>
                  </a:lnTo>
                  <a:lnTo>
                    <a:pt x="356" y="76"/>
                  </a:lnTo>
                  <a:lnTo>
                    <a:pt x="347" y="74"/>
                  </a:lnTo>
                  <a:lnTo>
                    <a:pt x="334" y="72"/>
                  </a:lnTo>
                  <a:lnTo>
                    <a:pt x="300" y="89"/>
                  </a:lnTo>
                  <a:lnTo>
                    <a:pt x="289" y="84"/>
                  </a:lnTo>
                  <a:lnTo>
                    <a:pt x="278" y="58"/>
                  </a:lnTo>
                  <a:lnTo>
                    <a:pt x="284" y="23"/>
                  </a:lnTo>
                  <a:lnTo>
                    <a:pt x="277" y="2"/>
                  </a:lnTo>
                  <a:lnTo>
                    <a:pt x="265" y="0"/>
                  </a:lnTo>
                  <a:lnTo>
                    <a:pt x="259" y="13"/>
                  </a:lnTo>
                  <a:lnTo>
                    <a:pt x="214" y="30"/>
                  </a:lnTo>
                  <a:lnTo>
                    <a:pt x="179" y="25"/>
                  </a:lnTo>
                  <a:lnTo>
                    <a:pt x="190" y="36"/>
                  </a:lnTo>
                  <a:lnTo>
                    <a:pt x="190" y="58"/>
                  </a:lnTo>
                  <a:lnTo>
                    <a:pt x="204" y="70"/>
                  </a:lnTo>
                  <a:lnTo>
                    <a:pt x="158" y="100"/>
                  </a:lnTo>
                  <a:lnTo>
                    <a:pt x="145" y="100"/>
                  </a:lnTo>
                  <a:lnTo>
                    <a:pt x="135" y="89"/>
                  </a:lnTo>
                  <a:lnTo>
                    <a:pt x="122" y="77"/>
                  </a:lnTo>
                  <a:lnTo>
                    <a:pt x="77" y="80"/>
                  </a:lnTo>
                  <a:lnTo>
                    <a:pt x="76" y="93"/>
                  </a:lnTo>
                  <a:lnTo>
                    <a:pt x="89" y="105"/>
                  </a:lnTo>
                  <a:lnTo>
                    <a:pt x="71" y="111"/>
                  </a:lnTo>
                  <a:lnTo>
                    <a:pt x="83" y="150"/>
                  </a:lnTo>
                  <a:lnTo>
                    <a:pt x="73" y="214"/>
                  </a:lnTo>
                  <a:lnTo>
                    <a:pt x="27" y="232"/>
                  </a:lnTo>
                  <a:lnTo>
                    <a:pt x="14" y="253"/>
                  </a:lnTo>
                  <a:lnTo>
                    <a:pt x="0" y="296"/>
                  </a:lnTo>
                  <a:lnTo>
                    <a:pt x="19" y="325"/>
                  </a:lnTo>
                  <a:lnTo>
                    <a:pt x="17" y="332"/>
                  </a:lnTo>
                  <a:lnTo>
                    <a:pt x="40" y="348"/>
                  </a:lnTo>
                  <a:lnTo>
                    <a:pt x="65" y="334"/>
                  </a:lnTo>
                  <a:lnTo>
                    <a:pt x="70" y="368"/>
                  </a:lnTo>
                  <a:lnTo>
                    <a:pt x="87" y="368"/>
                  </a:lnTo>
                  <a:lnTo>
                    <a:pt x="114" y="370"/>
                  </a:lnTo>
                  <a:lnTo>
                    <a:pt x="145" y="343"/>
                  </a:lnTo>
                  <a:lnTo>
                    <a:pt x="170" y="342"/>
                  </a:lnTo>
                  <a:lnTo>
                    <a:pt x="173" y="377"/>
                  </a:lnTo>
                  <a:lnTo>
                    <a:pt x="182" y="395"/>
                  </a:lnTo>
                  <a:lnTo>
                    <a:pt x="267" y="430"/>
                  </a:lnTo>
                  <a:lnTo>
                    <a:pt x="282" y="456"/>
                  </a:lnTo>
                  <a:lnTo>
                    <a:pt x="279" y="469"/>
                  </a:lnTo>
                  <a:lnTo>
                    <a:pt x="288" y="490"/>
                  </a:lnTo>
                  <a:lnTo>
                    <a:pt x="323" y="496"/>
                  </a:lnTo>
                  <a:lnTo>
                    <a:pt x="324" y="509"/>
                  </a:lnTo>
                  <a:lnTo>
                    <a:pt x="341" y="536"/>
                  </a:lnTo>
                  <a:lnTo>
                    <a:pt x="339" y="581"/>
                  </a:lnTo>
                  <a:lnTo>
                    <a:pt x="345" y="621"/>
                  </a:lnTo>
                  <a:lnTo>
                    <a:pt x="384" y="631"/>
                  </a:lnTo>
                  <a:lnTo>
                    <a:pt x="391" y="636"/>
                  </a:lnTo>
                  <a:lnTo>
                    <a:pt x="400" y="666"/>
                  </a:lnTo>
                  <a:lnTo>
                    <a:pt x="421" y="670"/>
                  </a:lnTo>
                  <a:lnTo>
                    <a:pt x="424" y="707"/>
                  </a:lnTo>
                  <a:lnTo>
                    <a:pt x="435" y="708"/>
                  </a:lnTo>
                  <a:lnTo>
                    <a:pt x="443" y="739"/>
                  </a:lnTo>
                  <a:lnTo>
                    <a:pt x="425" y="751"/>
                  </a:lnTo>
                  <a:lnTo>
                    <a:pt x="379" y="813"/>
                  </a:lnTo>
                  <a:lnTo>
                    <a:pt x="397" y="813"/>
                  </a:lnTo>
                  <a:lnTo>
                    <a:pt x="417" y="831"/>
                  </a:lnTo>
                  <a:lnTo>
                    <a:pt x="421" y="828"/>
                  </a:lnTo>
                  <a:lnTo>
                    <a:pt x="461" y="853"/>
                  </a:lnTo>
                  <a:lnTo>
                    <a:pt x="477" y="871"/>
                  </a:lnTo>
                  <a:lnTo>
                    <a:pt x="477" y="895"/>
                  </a:lnTo>
                  <a:lnTo>
                    <a:pt x="490" y="865"/>
                  </a:lnTo>
                  <a:lnTo>
                    <a:pt x="514" y="842"/>
                  </a:lnTo>
                  <a:lnTo>
                    <a:pt x="528" y="796"/>
                  </a:lnTo>
                  <a:lnTo>
                    <a:pt x="546" y="773"/>
                  </a:lnTo>
                  <a:lnTo>
                    <a:pt x="541" y="713"/>
                  </a:lnTo>
                  <a:lnTo>
                    <a:pt x="572" y="674"/>
                  </a:lnTo>
                  <a:lnTo>
                    <a:pt x="591" y="663"/>
                  </a:lnTo>
                  <a:lnTo>
                    <a:pt x="598" y="666"/>
                  </a:lnTo>
                  <a:lnTo>
                    <a:pt x="606" y="656"/>
                  </a:lnTo>
                  <a:lnTo>
                    <a:pt x="615" y="656"/>
                  </a:lnTo>
                  <a:lnTo>
                    <a:pt x="612" y="647"/>
                  </a:lnTo>
                  <a:lnTo>
                    <a:pt x="664" y="646"/>
                  </a:lnTo>
                  <a:lnTo>
                    <a:pt x="664" y="636"/>
                  </a:lnTo>
                  <a:lnTo>
                    <a:pt x="682" y="624"/>
                  </a:lnTo>
                  <a:lnTo>
                    <a:pt x="683" y="601"/>
                  </a:lnTo>
                  <a:lnTo>
                    <a:pt x="704" y="566"/>
                  </a:lnTo>
                  <a:lnTo>
                    <a:pt x="705" y="532"/>
                  </a:lnTo>
                  <a:lnTo>
                    <a:pt x="711" y="524"/>
                  </a:lnTo>
                  <a:lnTo>
                    <a:pt x="710" y="424"/>
                  </a:lnTo>
                  <a:lnTo>
                    <a:pt x="773" y="338"/>
                  </a:lnTo>
                  <a:lnTo>
                    <a:pt x="788" y="306"/>
                  </a:lnTo>
                  <a:lnTo>
                    <a:pt x="788" y="279"/>
                  </a:lnTo>
                  <a:lnTo>
                    <a:pt x="774" y="239"/>
                  </a:lnTo>
                  <a:lnTo>
                    <a:pt x="743" y="235"/>
                  </a:lnTo>
                  <a:lnTo>
                    <a:pt x="681" y="184"/>
                  </a:lnTo>
                  <a:lnTo>
                    <a:pt x="651" y="188"/>
                  </a:lnTo>
                  <a:lnTo>
                    <a:pt x="609" y="174"/>
                  </a:lnTo>
                  <a:lnTo>
                    <a:pt x="588" y="184"/>
                  </a:lnTo>
                  <a:lnTo>
                    <a:pt x="591" y="172"/>
                  </a:lnTo>
                  <a:lnTo>
                    <a:pt x="583" y="152"/>
                  </a:lnTo>
                  <a:lnTo>
                    <a:pt x="572" y="157"/>
                  </a:lnTo>
                  <a:lnTo>
                    <a:pt x="569" y="149"/>
                  </a:lnTo>
                  <a:lnTo>
                    <a:pt x="533" y="134"/>
                  </a:lnTo>
                  <a:lnTo>
                    <a:pt x="515" y="138"/>
                  </a:lnTo>
                  <a:lnTo>
                    <a:pt x="507" y="155"/>
                  </a:lnTo>
                  <a:lnTo>
                    <a:pt x="503" y="151"/>
                  </a:lnTo>
                  <a:lnTo>
                    <a:pt x="510" y="126"/>
                  </a:lnTo>
                  <a:lnTo>
                    <a:pt x="498" y="122"/>
                  </a:lnTo>
                  <a:lnTo>
                    <a:pt x="469" y="128"/>
                  </a:lnTo>
                  <a:lnTo>
                    <a:pt x="466" y="157"/>
                  </a:lnTo>
                  <a:lnTo>
                    <a:pt x="460" y="141"/>
                  </a:lnTo>
                  <a:lnTo>
                    <a:pt x="449" y="148"/>
                  </a:lnTo>
                  <a:lnTo>
                    <a:pt x="454" y="122"/>
                  </a:lnTo>
                  <a:lnTo>
                    <a:pt x="477" y="95"/>
                  </a:lnTo>
                  <a:lnTo>
                    <a:pt x="480" y="78"/>
                  </a:lnTo>
                  <a:lnTo>
                    <a:pt x="467" y="76"/>
                  </a:lnTo>
                  <a:lnTo>
                    <a:pt x="458" y="32"/>
                  </a:lnTo>
                  <a:lnTo>
                    <a:pt x="447" y="2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35" name="Freeform 25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1112" y="855"/>
              <a:ext cx="1175" cy="682"/>
            </a:xfrm>
            <a:custGeom>
              <a:avLst/>
              <a:gdLst>
                <a:gd name="T0" fmla="*/ 5 w 1305"/>
                <a:gd name="T1" fmla="*/ 600 h 682"/>
                <a:gd name="T2" fmla="*/ 5 w 1305"/>
                <a:gd name="T3" fmla="*/ 605 h 682"/>
                <a:gd name="T4" fmla="*/ 5 w 1305"/>
                <a:gd name="T5" fmla="*/ 592 h 682"/>
                <a:gd name="T6" fmla="*/ 5 w 1305"/>
                <a:gd name="T7" fmla="*/ 548 h 682"/>
                <a:gd name="T8" fmla="*/ 5 w 1305"/>
                <a:gd name="T9" fmla="*/ 523 h 682"/>
                <a:gd name="T10" fmla="*/ 5 w 1305"/>
                <a:gd name="T11" fmla="*/ 528 h 682"/>
                <a:gd name="T12" fmla="*/ 5 w 1305"/>
                <a:gd name="T13" fmla="*/ 489 h 682"/>
                <a:gd name="T14" fmla="*/ 5 w 1305"/>
                <a:gd name="T15" fmla="*/ 427 h 682"/>
                <a:gd name="T16" fmla="*/ 5 w 1305"/>
                <a:gd name="T17" fmla="*/ 406 h 682"/>
                <a:gd name="T18" fmla="*/ 5 w 1305"/>
                <a:gd name="T19" fmla="*/ 381 h 682"/>
                <a:gd name="T20" fmla="*/ 5 w 1305"/>
                <a:gd name="T21" fmla="*/ 273 h 682"/>
                <a:gd name="T22" fmla="*/ 5 w 1305"/>
                <a:gd name="T23" fmla="*/ 320 h 682"/>
                <a:gd name="T24" fmla="*/ 5 w 1305"/>
                <a:gd name="T25" fmla="*/ 247 h 682"/>
                <a:gd name="T26" fmla="*/ 5 w 1305"/>
                <a:gd name="T27" fmla="*/ 242 h 682"/>
                <a:gd name="T28" fmla="*/ 5 w 1305"/>
                <a:gd name="T29" fmla="*/ 289 h 682"/>
                <a:gd name="T30" fmla="*/ 5 w 1305"/>
                <a:gd name="T31" fmla="*/ 396 h 682"/>
                <a:gd name="T32" fmla="*/ 5 w 1305"/>
                <a:gd name="T33" fmla="*/ 432 h 682"/>
                <a:gd name="T34" fmla="*/ 5 w 1305"/>
                <a:gd name="T35" fmla="*/ 346 h 682"/>
                <a:gd name="T36" fmla="*/ 5 w 1305"/>
                <a:gd name="T37" fmla="*/ 259 h 682"/>
                <a:gd name="T38" fmla="*/ 5 w 1305"/>
                <a:gd name="T39" fmla="*/ 197 h 682"/>
                <a:gd name="T40" fmla="*/ 5 w 1305"/>
                <a:gd name="T41" fmla="*/ 147 h 682"/>
                <a:gd name="T42" fmla="*/ 5 w 1305"/>
                <a:gd name="T43" fmla="*/ 125 h 682"/>
                <a:gd name="T44" fmla="*/ 5 w 1305"/>
                <a:gd name="T45" fmla="*/ 85 h 682"/>
                <a:gd name="T46" fmla="*/ 5 w 1305"/>
                <a:gd name="T47" fmla="*/ 121 h 682"/>
                <a:gd name="T48" fmla="*/ 5 w 1305"/>
                <a:gd name="T49" fmla="*/ 88 h 682"/>
                <a:gd name="T50" fmla="*/ 5 w 1305"/>
                <a:gd name="T51" fmla="*/ 37 h 682"/>
                <a:gd name="T52" fmla="*/ 5 w 1305"/>
                <a:gd name="T53" fmla="*/ 0 h 682"/>
                <a:gd name="T54" fmla="*/ 5 w 1305"/>
                <a:gd name="T55" fmla="*/ 82 h 682"/>
                <a:gd name="T56" fmla="*/ 5 w 1305"/>
                <a:gd name="T57" fmla="*/ 128 h 682"/>
                <a:gd name="T58" fmla="*/ 5 w 1305"/>
                <a:gd name="T59" fmla="*/ 91 h 682"/>
                <a:gd name="T60" fmla="*/ 5 w 1305"/>
                <a:gd name="T61" fmla="*/ 124 h 682"/>
                <a:gd name="T62" fmla="*/ 5 w 1305"/>
                <a:gd name="T63" fmla="*/ 112 h 682"/>
                <a:gd name="T64" fmla="*/ 5 w 1305"/>
                <a:gd name="T65" fmla="*/ 124 h 682"/>
                <a:gd name="T66" fmla="*/ 5 w 1305"/>
                <a:gd name="T67" fmla="*/ 94 h 682"/>
                <a:gd name="T68" fmla="*/ 5 w 1305"/>
                <a:gd name="T69" fmla="*/ 90 h 682"/>
                <a:gd name="T70" fmla="*/ 5 w 1305"/>
                <a:gd name="T71" fmla="*/ 77 h 682"/>
                <a:gd name="T72" fmla="*/ 5 w 1305"/>
                <a:gd name="T73" fmla="*/ 90 h 682"/>
                <a:gd name="T74" fmla="*/ 1 w 1305"/>
                <a:gd name="T75" fmla="*/ 271 h 682"/>
                <a:gd name="T76" fmla="*/ 5 w 1305"/>
                <a:gd name="T77" fmla="*/ 301 h 682"/>
                <a:gd name="T78" fmla="*/ 5 w 1305"/>
                <a:gd name="T79" fmla="*/ 352 h 682"/>
                <a:gd name="T80" fmla="*/ 5 w 1305"/>
                <a:gd name="T81" fmla="*/ 440 h 682"/>
                <a:gd name="T82" fmla="*/ 5 w 1305"/>
                <a:gd name="T83" fmla="*/ 520 h 682"/>
                <a:gd name="T84" fmla="*/ 5 w 1305"/>
                <a:gd name="T85" fmla="*/ 541 h 682"/>
                <a:gd name="T86" fmla="*/ 5 w 1305"/>
                <a:gd name="T87" fmla="*/ 544 h 682"/>
                <a:gd name="T88" fmla="*/ 5 w 1305"/>
                <a:gd name="T89" fmla="*/ 580 h 682"/>
                <a:gd name="T90" fmla="*/ 5 w 1305"/>
                <a:gd name="T91" fmla="*/ 605 h 682"/>
                <a:gd name="T92" fmla="*/ 5 w 1305"/>
                <a:gd name="T93" fmla="*/ 682 h 682"/>
                <a:gd name="T94" fmla="*/ 5 w 1305"/>
                <a:gd name="T95" fmla="*/ 649 h 682"/>
                <a:gd name="T96" fmla="*/ 5 w 1305"/>
                <a:gd name="T97" fmla="*/ 609 h 682"/>
                <a:gd name="T98" fmla="*/ 5 w 1305"/>
                <a:gd name="T99" fmla="*/ 562 h 68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05"/>
                <a:gd name="T151" fmla="*/ 0 h 682"/>
                <a:gd name="T152" fmla="*/ 1305 w 1305"/>
                <a:gd name="T153" fmla="*/ 682 h 68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05" h="682">
                  <a:moveTo>
                    <a:pt x="1037" y="605"/>
                  </a:moveTo>
                  <a:lnTo>
                    <a:pt x="1080" y="594"/>
                  </a:lnTo>
                  <a:lnTo>
                    <a:pt x="1077" y="601"/>
                  </a:lnTo>
                  <a:lnTo>
                    <a:pt x="1089" y="600"/>
                  </a:lnTo>
                  <a:lnTo>
                    <a:pt x="1044" y="629"/>
                  </a:lnTo>
                  <a:lnTo>
                    <a:pt x="1050" y="644"/>
                  </a:lnTo>
                  <a:lnTo>
                    <a:pt x="1083" y="621"/>
                  </a:lnTo>
                  <a:lnTo>
                    <a:pt x="1143" y="605"/>
                  </a:lnTo>
                  <a:lnTo>
                    <a:pt x="1174" y="586"/>
                  </a:lnTo>
                  <a:lnTo>
                    <a:pt x="1164" y="579"/>
                  </a:lnTo>
                  <a:lnTo>
                    <a:pt x="1166" y="563"/>
                  </a:lnTo>
                  <a:lnTo>
                    <a:pt x="1142" y="592"/>
                  </a:lnTo>
                  <a:lnTo>
                    <a:pt x="1109" y="592"/>
                  </a:lnTo>
                  <a:lnTo>
                    <a:pt x="1090" y="580"/>
                  </a:lnTo>
                  <a:lnTo>
                    <a:pt x="1089" y="569"/>
                  </a:lnTo>
                  <a:lnTo>
                    <a:pt x="1098" y="548"/>
                  </a:lnTo>
                  <a:lnTo>
                    <a:pt x="1083" y="551"/>
                  </a:lnTo>
                  <a:lnTo>
                    <a:pt x="1074" y="539"/>
                  </a:lnTo>
                  <a:lnTo>
                    <a:pt x="1115" y="531"/>
                  </a:lnTo>
                  <a:lnTo>
                    <a:pt x="1118" y="523"/>
                  </a:lnTo>
                  <a:lnTo>
                    <a:pt x="1105" y="514"/>
                  </a:lnTo>
                  <a:lnTo>
                    <a:pt x="1037" y="532"/>
                  </a:lnTo>
                  <a:lnTo>
                    <a:pt x="977" y="568"/>
                  </a:lnTo>
                  <a:lnTo>
                    <a:pt x="1027" y="528"/>
                  </a:lnTo>
                  <a:lnTo>
                    <a:pt x="1056" y="512"/>
                  </a:lnTo>
                  <a:lnTo>
                    <a:pt x="1068" y="512"/>
                  </a:lnTo>
                  <a:lnTo>
                    <a:pt x="1085" y="495"/>
                  </a:lnTo>
                  <a:lnTo>
                    <a:pt x="1136" y="489"/>
                  </a:lnTo>
                  <a:lnTo>
                    <a:pt x="1205" y="493"/>
                  </a:lnTo>
                  <a:lnTo>
                    <a:pt x="1238" y="471"/>
                  </a:lnTo>
                  <a:lnTo>
                    <a:pt x="1297" y="451"/>
                  </a:lnTo>
                  <a:lnTo>
                    <a:pt x="1305" y="427"/>
                  </a:lnTo>
                  <a:lnTo>
                    <a:pt x="1297" y="417"/>
                  </a:lnTo>
                  <a:lnTo>
                    <a:pt x="1285" y="417"/>
                  </a:lnTo>
                  <a:lnTo>
                    <a:pt x="1288" y="407"/>
                  </a:lnTo>
                  <a:lnTo>
                    <a:pt x="1271" y="406"/>
                  </a:lnTo>
                  <a:lnTo>
                    <a:pt x="1289" y="398"/>
                  </a:lnTo>
                  <a:lnTo>
                    <a:pt x="1267" y="391"/>
                  </a:lnTo>
                  <a:lnTo>
                    <a:pt x="1266" y="384"/>
                  </a:lnTo>
                  <a:lnTo>
                    <a:pt x="1248" y="381"/>
                  </a:lnTo>
                  <a:lnTo>
                    <a:pt x="1249" y="373"/>
                  </a:lnTo>
                  <a:lnTo>
                    <a:pt x="1234" y="360"/>
                  </a:lnTo>
                  <a:lnTo>
                    <a:pt x="1250" y="343"/>
                  </a:lnTo>
                  <a:lnTo>
                    <a:pt x="1232" y="273"/>
                  </a:lnTo>
                  <a:lnTo>
                    <a:pt x="1210" y="286"/>
                  </a:lnTo>
                  <a:lnTo>
                    <a:pt x="1211" y="293"/>
                  </a:lnTo>
                  <a:lnTo>
                    <a:pt x="1200" y="301"/>
                  </a:lnTo>
                  <a:lnTo>
                    <a:pt x="1156" y="320"/>
                  </a:lnTo>
                  <a:lnTo>
                    <a:pt x="1141" y="296"/>
                  </a:lnTo>
                  <a:lnTo>
                    <a:pt x="1160" y="261"/>
                  </a:lnTo>
                  <a:lnTo>
                    <a:pt x="1129" y="254"/>
                  </a:lnTo>
                  <a:lnTo>
                    <a:pt x="1137" y="247"/>
                  </a:lnTo>
                  <a:lnTo>
                    <a:pt x="1114" y="230"/>
                  </a:lnTo>
                  <a:lnTo>
                    <a:pt x="1056" y="229"/>
                  </a:lnTo>
                  <a:lnTo>
                    <a:pt x="1041" y="233"/>
                  </a:lnTo>
                  <a:lnTo>
                    <a:pt x="1035" y="242"/>
                  </a:lnTo>
                  <a:lnTo>
                    <a:pt x="1041" y="247"/>
                  </a:lnTo>
                  <a:lnTo>
                    <a:pt x="1021" y="265"/>
                  </a:lnTo>
                  <a:lnTo>
                    <a:pt x="1026" y="270"/>
                  </a:lnTo>
                  <a:lnTo>
                    <a:pt x="1016" y="289"/>
                  </a:lnTo>
                  <a:lnTo>
                    <a:pt x="984" y="306"/>
                  </a:lnTo>
                  <a:lnTo>
                    <a:pt x="997" y="317"/>
                  </a:lnTo>
                  <a:lnTo>
                    <a:pt x="980" y="366"/>
                  </a:lnTo>
                  <a:lnTo>
                    <a:pt x="915" y="396"/>
                  </a:lnTo>
                  <a:lnTo>
                    <a:pt x="904" y="449"/>
                  </a:lnTo>
                  <a:lnTo>
                    <a:pt x="870" y="467"/>
                  </a:lnTo>
                  <a:lnTo>
                    <a:pt x="868" y="475"/>
                  </a:lnTo>
                  <a:lnTo>
                    <a:pt x="846" y="432"/>
                  </a:lnTo>
                  <a:lnTo>
                    <a:pt x="875" y="387"/>
                  </a:lnTo>
                  <a:lnTo>
                    <a:pt x="830" y="381"/>
                  </a:lnTo>
                  <a:lnTo>
                    <a:pt x="759" y="339"/>
                  </a:lnTo>
                  <a:lnTo>
                    <a:pt x="732" y="346"/>
                  </a:lnTo>
                  <a:lnTo>
                    <a:pt x="747" y="309"/>
                  </a:lnTo>
                  <a:lnTo>
                    <a:pt x="725" y="309"/>
                  </a:lnTo>
                  <a:lnTo>
                    <a:pt x="726" y="300"/>
                  </a:lnTo>
                  <a:lnTo>
                    <a:pt x="766" y="259"/>
                  </a:lnTo>
                  <a:lnTo>
                    <a:pt x="811" y="237"/>
                  </a:lnTo>
                  <a:lnTo>
                    <a:pt x="818" y="226"/>
                  </a:lnTo>
                  <a:lnTo>
                    <a:pt x="855" y="220"/>
                  </a:lnTo>
                  <a:lnTo>
                    <a:pt x="881" y="197"/>
                  </a:lnTo>
                  <a:lnTo>
                    <a:pt x="904" y="197"/>
                  </a:lnTo>
                  <a:lnTo>
                    <a:pt x="943" y="178"/>
                  </a:lnTo>
                  <a:lnTo>
                    <a:pt x="977" y="153"/>
                  </a:lnTo>
                  <a:lnTo>
                    <a:pt x="971" y="147"/>
                  </a:lnTo>
                  <a:lnTo>
                    <a:pt x="992" y="146"/>
                  </a:lnTo>
                  <a:lnTo>
                    <a:pt x="1011" y="153"/>
                  </a:lnTo>
                  <a:lnTo>
                    <a:pt x="1060" y="138"/>
                  </a:lnTo>
                  <a:lnTo>
                    <a:pt x="1073" y="125"/>
                  </a:lnTo>
                  <a:lnTo>
                    <a:pt x="1057" y="121"/>
                  </a:lnTo>
                  <a:lnTo>
                    <a:pt x="1095" y="94"/>
                  </a:lnTo>
                  <a:lnTo>
                    <a:pt x="1077" y="91"/>
                  </a:lnTo>
                  <a:lnTo>
                    <a:pt x="1079" y="85"/>
                  </a:lnTo>
                  <a:lnTo>
                    <a:pt x="1044" y="82"/>
                  </a:lnTo>
                  <a:lnTo>
                    <a:pt x="1018" y="115"/>
                  </a:lnTo>
                  <a:lnTo>
                    <a:pt x="976" y="133"/>
                  </a:lnTo>
                  <a:lnTo>
                    <a:pt x="972" y="121"/>
                  </a:lnTo>
                  <a:lnTo>
                    <a:pt x="989" y="102"/>
                  </a:lnTo>
                  <a:lnTo>
                    <a:pt x="984" y="93"/>
                  </a:lnTo>
                  <a:lnTo>
                    <a:pt x="959" y="106"/>
                  </a:lnTo>
                  <a:lnTo>
                    <a:pt x="953" y="88"/>
                  </a:lnTo>
                  <a:lnTo>
                    <a:pt x="942" y="83"/>
                  </a:lnTo>
                  <a:lnTo>
                    <a:pt x="965" y="76"/>
                  </a:lnTo>
                  <a:lnTo>
                    <a:pt x="957" y="43"/>
                  </a:lnTo>
                  <a:lnTo>
                    <a:pt x="972" y="37"/>
                  </a:lnTo>
                  <a:lnTo>
                    <a:pt x="972" y="30"/>
                  </a:lnTo>
                  <a:lnTo>
                    <a:pt x="1005" y="27"/>
                  </a:lnTo>
                  <a:lnTo>
                    <a:pt x="1050" y="7"/>
                  </a:lnTo>
                  <a:lnTo>
                    <a:pt x="1015" y="0"/>
                  </a:lnTo>
                  <a:lnTo>
                    <a:pt x="970" y="11"/>
                  </a:lnTo>
                  <a:lnTo>
                    <a:pt x="942" y="45"/>
                  </a:lnTo>
                  <a:lnTo>
                    <a:pt x="891" y="71"/>
                  </a:lnTo>
                  <a:lnTo>
                    <a:pt x="896" y="82"/>
                  </a:lnTo>
                  <a:lnTo>
                    <a:pt x="913" y="90"/>
                  </a:lnTo>
                  <a:lnTo>
                    <a:pt x="896" y="98"/>
                  </a:lnTo>
                  <a:lnTo>
                    <a:pt x="892" y="107"/>
                  </a:lnTo>
                  <a:lnTo>
                    <a:pt x="851" y="128"/>
                  </a:lnTo>
                  <a:lnTo>
                    <a:pt x="843" y="121"/>
                  </a:lnTo>
                  <a:lnTo>
                    <a:pt x="851" y="110"/>
                  </a:lnTo>
                  <a:lnTo>
                    <a:pt x="878" y="102"/>
                  </a:lnTo>
                  <a:lnTo>
                    <a:pt x="875" y="91"/>
                  </a:lnTo>
                  <a:lnTo>
                    <a:pt x="863" y="82"/>
                  </a:lnTo>
                  <a:lnTo>
                    <a:pt x="823" y="98"/>
                  </a:lnTo>
                  <a:lnTo>
                    <a:pt x="839" y="106"/>
                  </a:lnTo>
                  <a:lnTo>
                    <a:pt x="811" y="124"/>
                  </a:lnTo>
                  <a:lnTo>
                    <a:pt x="767" y="123"/>
                  </a:lnTo>
                  <a:lnTo>
                    <a:pt x="737" y="111"/>
                  </a:lnTo>
                  <a:lnTo>
                    <a:pt x="731" y="100"/>
                  </a:lnTo>
                  <a:lnTo>
                    <a:pt x="669" y="112"/>
                  </a:lnTo>
                  <a:lnTo>
                    <a:pt x="681" y="117"/>
                  </a:lnTo>
                  <a:lnTo>
                    <a:pt x="668" y="125"/>
                  </a:lnTo>
                  <a:lnTo>
                    <a:pt x="645" y="117"/>
                  </a:lnTo>
                  <a:lnTo>
                    <a:pt x="598" y="124"/>
                  </a:lnTo>
                  <a:lnTo>
                    <a:pt x="566" y="121"/>
                  </a:lnTo>
                  <a:lnTo>
                    <a:pt x="594" y="112"/>
                  </a:lnTo>
                  <a:lnTo>
                    <a:pt x="595" y="104"/>
                  </a:lnTo>
                  <a:lnTo>
                    <a:pt x="544" y="94"/>
                  </a:lnTo>
                  <a:lnTo>
                    <a:pt x="521" y="82"/>
                  </a:lnTo>
                  <a:lnTo>
                    <a:pt x="497" y="82"/>
                  </a:lnTo>
                  <a:lnTo>
                    <a:pt x="479" y="90"/>
                  </a:lnTo>
                  <a:lnTo>
                    <a:pt x="468" y="90"/>
                  </a:lnTo>
                  <a:lnTo>
                    <a:pt x="480" y="78"/>
                  </a:lnTo>
                  <a:lnTo>
                    <a:pt x="453" y="90"/>
                  </a:lnTo>
                  <a:lnTo>
                    <a:pt x="445" y="87"/>
                  </a:lnTo>
                  <a:lnTo>
                    <a:pt x="450" y="77"/>
                  </a:lnTo>
                  <a:lnTo>
                    <a:pt x="442" y="67"/>
                  </a:lnTo>
                  <a:lnTo>
                    <a:pt x="403" y="82"/>
                  </a:lnTo>
                  <a:lnTo>
                    <a:pt x="407" y="74"/>
                  </a:lnTo>
                  <a:lnTo>
                    <a:pt x="334" y="90"/>
                  </a:lnTo>
                  <a:lnTo>
                    <a:pt x="311" y="88"/>
                  </a:lnTo>
                  <a:lnTo>
                    <a:pt x="280" y="102"/>
                  </a:lnTo>
                  <a:lnTo>
                    <a:pt x="231" y="84"/>
                  </a:lnTo>
                  <a:lnTo>
                    <a:pt x="1" y="271"/>
                  </a:lnTo>
                  <a:lnTo>
                    <a:pt x="0" y="276"/>
                  </a:lnTo>
                  <a:lnTo>
                    <a:pt x="26" y="273"/>
                  </a:lnTo>
                  <a:lnTo>
                    <a:pt x="20" y="279"/>
                  </a:lnTo>
                  <a:lnTo>
                    <a:pt x="28" y="301"/>
                  </a:lnTo>
                  <a:lnTo>
                    <a:pt x="75" y="286"/>
                  </a:lnTo>
                  <a:lnTo>
                    <a:pt x="71" y="304"/>
                  </a:lnTo>
                  <a:lnTo>
                    <a:pt x="77" y="309"/>
                  </a:lnTo>
                  <a:lnTo>
                    <a:pt x="64" y="352"/>
                  </a:lnTo>
                  <a:lnTo>
                    <a:pt x="82" y="368"/>
                  </a:lnTo>
                  <a:lnTo>
                    <a:pt x="62" y="389"/>
                  </a:lnTo>
                  <a:lnTo>
                    <a:pt x="30" y="410"/>
                  </a:lnTo>
                  <a:lnTo>
                    <a:pt x="31" y="440"/>
                  </a:lnTo>
                  <a:lnTo>
                    <a:pt x="40" y="446"/>
                  </a:lnTo>
                  <a:lnTo>
                    <a:pt x="31" y="471"/>
                  </a:lnTo>
                  <a:lnTo>
                    <a:pt x="57" y="488"/>
                  </a:lnTo>
                  <a:lnTo>
                    <a:pt x="82" y="520"/>
                  </a:lnTo>
                  <a:lnTo>
                    <a:pt x="567" y="520"/>
                  </a:lnTo>
                  <a:lnTo>
                    <a:pt x="579" y="510"/>
                  </a:lnTo>
                  <a:lnTo>
                    <a:pt x="583" y="526"/>
                  </a:lnTo>
                  <a:lnTo>
                    <a:pt x="655" y="541"/>
                  </a:lnTo>
                  <a:lnTo>
                    <a:pt x="653" y="543"/>
                  </a:lnTo>
                  <a:lnTo>
                    <a:pt x="697" y="520"/>
                  </a:lnTo>
                  <a:lnTo>
                    <a:pt x="722" y="524"/>
                  </a:lnTo>
                  <a:lnTo>
                    <a:pt x="726" y="544"/>
                  </a:lnTo>
                  <a:lnTo>
                    <a:pt x="741" y="544"/>
                  </a:lnTo>
                  <a:lnTo>
                    <a:pt x="733" y="575"/>
                  </a:lnTo>
                  <a:lnTo>
                    <a:pt x="738" y="580"/>
                  </a:lnTo>
                  <a:lnTo>
                    <a:pt x="737" y="580"/>
                  </a:lnTo>
                  <a:lnTo>
                    <a:pt x="795" y="589"/>
                  </a:lnTo>
                  <a:lnTo>
                    <a:pt x="803" y="613"/>
                  </a:lnTo>
                  <a:lnTo>
                    <a:pt x="793" y="621"/>
                  </a:lnTo>
                  <a:lnTo>
                    <a:pt x="773" y="605"/>
                  </a:lnTo>
                  <a:lnTo>
                    <a:pt x="750" y="648"/>
                  </a:lnTo>
                  <a:lnTo>
                    <a:pt x="736" y="653"/>
                  </a:lnTo>
                  <a:lnTo>
                    <a:pt x="737" y="653"/>
                  </a:lnTo>
                  <a:lnTo>
                    <a:pt x="708" y="682"/>
                  </a:lnTo>
                  <a:lnTo>
                    <a:pt x="748" y="665"/>
                  </a:lnTo>
                  <a:lnTo>
                    <a:pt x="800" y="659"/>
                  </a:lnTo>
                  <a:lnTo>
                    <a:pt x="799" y="648"/>
                  </a:lnTo>
                  <a:lnTo>
                    <a:pt x="787" y="649"/>
                  </a:lnTo>
                  <a:lnTo>
                    <a:pt x="796" y="640"/>
                  </a:lnTo>
                  <a:lnTo>
                    <a:pt x="844" y="635"/>
                  </a:lnTo>
                  <a:lnTo>
                    <a:pt x="864" y="625"/>
                  </a:lnTo>
                  <a:lnTo>
                    <a:pt x="892" y="609"/>
                  </a:lnTo>
                  <a:lnTo>
                    <a:pt x="949" y="609"/>
                  </a:lnTo>
                  <a:lnTo>
                    <a:pt x="972" y="602"/>
                  </a:lnTo>
                  <a:lnTo>
                    <a:pt x="1012" y="555"/>
                  </a:lnTo>
                  <a:lnTo>
                    <a:pt x="1038" y="562"/>
                  </a:lnTo>
                  <a:lnTo>
                    <a:pt x="1029" y="594"/>
                  </a:lnTo>
                  <a:lnTo>
                    <a:pt x="1038" y="605"/>
                  </a:lnTo>
                  <a:lnTo>
                    <a:pt x="1037" y="60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36" name="Freeform 26"/>
            <p:cNvSpPr>
              <a:spLocks noChangeAspect="1"/>
            </p:cNvSpPr>
            <p:nvPr/>
          </p:nvSpPr>
          <p:spPr bwMode="auto">
            <a:xfrm>
              <a:off x="624" y="909"/>
              <a:ext cx="696" cy="348"/>
            </a:xfrm>
            <a:custGeom>
              <a:avLst/>
              <a:gdLst>
                <a:gd name="T0" fmla="*/ 5 w 771"/>
                <a:gd name="T1" fmla="*/ 222 h 348"/>
                <a:gd name="T2" fmla="*/ 5 w 771"/>
                <a:gd name="T3" fmla="*/ 225 h 348"/>
                <a:gd name="T4" fmla="*/ 5 w 771"/>
                <a:gd name="T5" fmla="*/ 232 h 348"/>
                <a:gd name="T6" fmla="*/ 5 w 771"/>
                <a:gd name="T7" fmla="*/ 255 h 348"/>
                <a:gd name="T8" fmla="*/ 5 w 771"/>
                <a:gd name="T9" fmla="*/ 314 h 348"/>
                <a:gd name="T10" fmla="*/ 5 w 771"/>
                <a:gd name="T11" fmla="*/ 338 h 348"/>
                <a:gd name="T12" fmla="*/ 5 w 771"/>
                <a:gd name="T13" fmla="*/ 316 h 348"/>
                <a:gd name="T14" fmla="*/ 5 w 771"/>
                <a:gd name="T15" fmla="*/ 306 h 348"/>
                <a:gd name="T16" fmla="*/ 5 w 771"/>
                <a:gd name="T17" fmla="*/ 341 h 348"/>
                <a:gd name="T18" fmla="*/ 5 w 771"/>
                <a:gd name="T19" fmla="*/ 304 h 348"/>
                <a:gd name="T20" fmla="*/ 5 w 771"/>
                <a:gd name="T21" fmla="*/ 296 h 348"/>
                <a:gd name="T22" fmla="*/ 5 w 771"/>
                <a:gd name="T23" fmla="*/ 292 h 348"/>
                <a:gd name="T24" fmla="*/ 5 w 771"/>
                <a:gd name="T25" fmla="*/ 290 h 348"/>
                <a:gd name="T26" fmla="*/ 5 w 771"/>
                <a:gd name="T27" fmla="*/ 263 h 348"/>
                <a:gd name="T28" fmla="*/ 5 w 771"/>
                <a:gd name="T29" fmla="*/ 308 h 348"/>
                <a:gd name="T30" fmla="*/ 5 w 771"/>
                <a:gd name="T31" fmla="*/ 239 h 348"/>
                <a:gd name="T32" fmla="*/ 5 w 771"/>
                <a:gd name="T33" fmla="*/ 233 h 348"/>
                <a:gd name="T34" fmla="*/ 5 w 771"/>
                <a:gd name="T35" fmla="*/ 208 h 348"/>
                <a:gd name="T36" fmla="*/ 5 w 771"/>
                <a:gd name="T37" fmla="*/ 228 h 348"/>
                <a:gd name="T38" fmla="*/ 5 w 771"/>
                <a:gd name="T39" fmla="*/ 211 h 348"/>
                <a:gd name="T40" fmla="*/ 5 w 771"/>
                <a:gd name="T41" fmla="*/ 200 h 348"/>
                <a:gd name="T42" fmla="*/ 5 w 771"/>
                <a:gd name="T43" fmla="*/ 246 h 348"/>
                <a:gd name="T44" fmla="*/ 5 w 771"/>
                <a:gd name="T45" fmla="*/ 258 h 348"/>
                <a:gd name="T46" fmla="*/ 5 w 771"/>
                <a:gd name="T47" fmla="*/ 312 h 348"/>
                <a:gd name="T48" fmla="*/ 5 w 771"/>
                <a:gd name="T49" fmla="*/ 278 h 348"/>
                <a:gd name="T50" fmla="*/ 5 w 771"/>
                <a:gd name="T51" fmla="*/ 259 h 348"/>
                <a:gd name="T52" fmla="*/ 5 w 771"/>
                <a:gd name="T53" fmla="*/ 252 h 348"/>
                <a:gd name="T54" fmla="*/ 5 w 771"/>
                <a:gd name="T55" fmla="*/ 233 h 348"/>
                <a:gd name="T56" fmla="*/ 5 w 771"/>
                <a:gd name="T57" fmla="*/ 164 h 348"/>
                <a:gd name="T58" fmla="*/ 5 w 771"/>
                <a:gd name="T59" fmla="*/ 126 h 348"/>
                <a:gd name="T60" fmla="*/ 5 w 771"/>
                <a:gd name="T61" fmla="*/ 133 h 348"/>
                <a:gd name="T62" fmla="*/ 5 w 771"/>
                <a:gd name="T63" fmla="*/ 116 h 348"/>
                <a:gd name="T64" fmla="*/ 5 w 771"/>
                <a:gd name="T65" fmla="*/ 93 h 348"/>
                <a:gd name="T66" fmla="*/ 5 w 771"/>
                <a:gd name="T67" fmla="*/ 102 h 348"/>
                <a:gd name="T68" fmla="*/ 5 w 771"/>
                <a:gd name="T69" fmla="*/ 80 h 348"/>
                <a:gd name="T70" fmla="*/ 5 w 771"/>
                <a:gd name="T71" fmla="*/ 57 h 348"/>
                <a:gd name="T72" fmla="*/ 5 w 771"/>
                <a:gd name="T73" fmla="*/ 42 h 348"/>
                <a:gd name="T74" fmla="*/ 5 w 771"/>
                <a:gd name="T75" fmla="*/ 0 h 348"/>
                <a:gd name="T76" fmla="*/ 5 w 771"/>
                <a:gd name="T77" fmla="*/ 8 h 348"/>
                <a:gd name="T78" fmla="*/ 5 w 771"/>
                <a:gd name="T79" fmla="*/ 16 h 348"/>
                <a:gd name="T80" fmla="*/ 5 w 771"/>
                <a:gd name="T81" fmla="*/ 30 h 34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71"/>
                <a:gd name="T124" fmla="*/ 0 h 348"/>
                <a:gd name="T125" fmla="*/ 771 w 771"/>
                <a:gd name="T126" fmla="*/ 348 h 34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71" h="348">
                  <a:moveTo>
                    <a:pt x="541" y="217"/>
                  </a:moveTo>
                  <a:lnTo>
                    <a:pt x="540" y="222"/>
                  </a:lnTo>
                  <a:lnTo>
                    <a:pt x="566" y="219"/>
                  </a:lnTo>
                  <a:lnTo>
                    <a:pt x="560" y="225"/>
                  </a:lnTo>
                  <a:lnTo>
                    <a:pt x="568" y="247"/>
                  </a:lnTo>
                  <a:lnTo>
                    <a:pt x="615" y="232"/>
                  </a:lnTo>
                  <a:lnTo>
                    <a:pt x="611" y="250"/>
                  </a:lnTo>
                  <a:lnTo>
                    <a:pt x="617" y="255"/>
                  </a:lnTo>
                  <a:lnTo>
                    <a:pt x="604" y="298"/>
                  </a:lnTo>
                  <a:lnTo>
                    <a:pt x="622" y="314"/>
                  </a:lnTo>
                  <a:lnTo>
                    <a:pt x="602" y="335"/>
                  </a:lnTo>
                  <a:lnTo>
                    <a:pt x="587" y="338"/>
                  </a:lnTo>
                  <a:lnTo>
                    <a:pt x="582" y="333"/>
                  </a:lnTo>
                  <a:lnTo>
                    <a:pt x="585" y="316"/>
                  </a:lnTo>
                  <a:lnTo>
                    <a:pt x="593" y="310"/>
                  </a:lnTo>
                  <a:lnTo>
                    <a:pt x="580" y="306"/>
                  </a:lnTo>
                  <a:lnTo>
                    <a:pt x="575" y="327"/>
                  </a:lnTo>
                  <a:lnTo>
                    <a:pt x="563" y="341"/>
                  </a:lnTo>
                  <a:lnTo>
                    <a:pt x="559" y="326"/>
                  </a:lnTo>
                  <a:lnTo>
                    <a:pt x="570" y="304"/>
                  </a:lnTo>
                  <a:lnTo>
                    <a:pt x="560" y="306"/>
                  </a:lnTo>
                  <a:lnTo>
                    <a:pt x="568" y="296"/>
                  </a:lnTo>
                  <a:lnTo>
                    <a:pt x="583" y="289"/>
                  </a:lnTo>
                  <a:lnTo>
                    <a:pt x="593" y="292"/>
                  </a:lnTo>
                  <a:lnTo>
                    <a:pt x="596" y="278"/>
                  </a:lnTo>
                  <a:lnTo>
                    <a:pt x="570" y="290"/>
                  </a:lnTo>
                  <a:lnTo>
                    <a:pt x="598" y="255"/>
                  </a:lnTo>
                  <a:lnTo>
                    <a:pt x="579" y="263"/>
                  </a:lnTo>
                  <a:lnTo>
                    <a:pt x="581" y="270"/>
                  </a:lnTo>
                  <a:lnTo>
                    <a:pt x="548" y="308"/>
                  </a:lnTo>
                  <a:lnTo>
                    <a:pt x="563" y="266"/>
                  </a:lnTo>
                  <a:lnTo>
                    <a:pt x="541" y="239"/>
                  </a:lnTo>
                  <a:lnTo>
                    <a:pt x="551" y="228"/>
                  </a:lnTo>
                  <a:lnTo>
                    <a:pt x="535" y="233"/>
                  </a:lnTo>
                  <a:lnTo>
                    <a:pt x="482" y="227"/>
                  </a:lnTo>
                  <a:lnTo>
                    <a:pt x="458" y="208"/>
                  </a:lnTo>
                  <a:lnTo>
                    <a:pt x="437" y="205"/>
                  </a:lnTo>
                  <a:lnTo>
                    <a:pt x="404" y="228"/>
                  </a:lnTo>
                  <a:lnTo>
                    <a:pt x="334" y="244"/>
                  </a:lnTo>
                  <a:lnTo>
                    <a:pt x="382" y="211"/>
                  </a:lnTo>
                  <a:lnTo>
                    <a:pt x="417" y="200"/>
                  </a:lnTo>
                  <a:lnTo>
                    <a:pt x="405" y="200"/>
                  </a:lnTo>
                  <a:lnTo>
                    <a:pt x="308" y="239"/>
                  </a:lnTo>
                  <a:lnTo>
                    <a:pt x="296" y="246"/>
                  </a:lnTo>
                  <a:lnTo>
                    <a:pt x="303" y="250"/>
                  </a:lnTo>
                  <a:lnTo>
                    <a:pt x="285" y="258"/>
                  </a:lnTo>
                  <a:lnTo>
                    <a:pt x="201" y="290"/>
                  </a:lnTo>
                  <a:lnTo>
                    <a:pt x="142" y="312"/>
                  </a:lnTo>
                  <a:lnTo>
                    <a:pt x="0" y="348"/>
                  </a:lnTo>
                  <a:lnTo>
                    <a:pt x="199" y="278"/>
                  </a:lnTo>
                  <a:lnTo>
                    <a:pt x="233" y="252"/>
                  </a:lnTo>
                  <a:lnTo>
                    <a:pt x="199" y="259"/>
                  </a:lnTo>
                  <a:lnTo>
                    <a:pt x="201" y="250"/>
                  </a:lnTo>
                  <a:lnTo>
                    <a:pt x="164" y="252"/>
                  </a:lnTo>
                  <a:lnTo>
                    <a:pt x="190" y="224"/>
                  </a:lnTo>
                  <a:lnTo>
                    <a:pt x="152" y="233"/>
                  </a:lnTo>
                  <a:lnTo>
                    <a:pt x="166" y="195"/>
                  </a:lnTo>
                  <a:lnTo>
                    <a:pt x="229" y="164"/>
                  </a:lnTo>
                  <a:lnTo>
                    <a:pt x="301" y="154"/>
                  </a:lnTo>
                  <a:lnTo>
                    <a:pt x="337" y="126"/>
                  </a:lnTo>
                  <a:lnTo>
                    <a:pt x="301" y="135"/>
                  </a:lnTo>
                  <a:lnTo>
                    <a:pt x="268" y="133"/>
                  </a:lnTo>
                  <a:lnTo>
                    <a:pt x="251" y="130"/>
                  </a:lnTo>
                  <a:lnTo>
                    <a:pt x="269" y="116"/>
                  </a:lnTo>
                  <a:lnTo>
                    <a:pt x="254" y="111"/>
                  </a:lnTo>
                  <a:lnTo>
                    <a:pt x="329" y="93"/>
                  </a:lnTo>
                  <a:lnTo>
                    <a:pt x="342" y="93"/>
                  </a:lnTo>
                  <a:lnTo>
                    <a:pt x="331" y="102"/>
                  </a:lnTo>
                  <a:lnTo>
                    <a:pt x="371" y="94"/>
                  </a:lnTo>
                  <a:lnTo>
                    <a:pt x="366" y="80"/>
                  </a:lnTo>
                  <a:lnTo>
                    <a:pt x="372" y="70"/>
                  </a:lnTo>
                  <a:lnTo>
                    <a:pt x="360" y="57"/>
                  </a:lnTo>
                  <a:lnTo>
                    <a:pt x="377" y="47"/>
                  </a:lnTo>
                  <a:lnTo>
                    <a:pt x="422" y="42"/>
                  </a:lnTo>
                  <a:lnTo>
                    <a:pt x="488" y="18"/>
                  </a:lnTo>
                  <a:lnTo>
                    <a:pt x="593" y="0"/>
                  </a:lnTo>
                  <a:lnTo>
                    <a:pt x="609" y="4"/>
                  </a:lnTo>
                  <a:lnTo>
                    <a:pt x="608" y="8"/>
                  </a:lnTo>
                  <a:lnTo>
                    <a:pt x="634" y="8"/>
                  </a:lnTo>
                  <a:lnTo>
                    <a:pt x="638" y="16"/>
                  </a:lnTo>
                  <a:lnTo>
                    <a:pt x="753" y="23"/>
                  </a:lnTo>
                  <a:lnTo>
                    <a:pt x="771" y="30"/>
                  </a:lnTo>
                  <a:lnTo>
                    <a:pt x="541" y="21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37" name="Freeform 27"/>
            <p:cNvSpPr>
              <a:spLocks noChangeAspect="1"/>
            </p:cNvSpPr>
            <p:nvPr/>
          </p:nvSpPr>
          <p:spPr bwMode="auto">
            <a:xfrm>
              <a:off x="1094" y="1747"/>
              <a:ext cx="475" cy="415"/>
            </a:xfrm>
            <a:custGeom>
              <a:avLst/>
              <a:gdLst>
                <a:gd name="T0" fmla="*/ 2 w 527"/>
                <a:gd name="T1" fmla="*/ 68 h 415"/>
                <a:gd name="T2" fmla="*/ 5 w 527"/>
                <a:gd name="T3" fmla="*/ 113 h 415"/>
                <a:gd name="T4" fmla="*/ 5 w 527"/>
                <a:gd name="T5" fmla="*/ 126 h 415"/>
                <a:gd name="T6" fmla="*/ 5 w 527"/>
                <a:gd name="T7" fmla="*/ 160 h 415"/>
                <a:gd name="T8" fmla="*/ 5 w 527"/>
                <a:gd name="T9" fmla="*/ 210 h 415"/>
                <a:gd name="T10" fmla="*/ 5 w 527"/>
                <a:gd name="T11" fmla="*/ 213 h 415"/>
                <a:gd name="T12" fmla="*/ 5 w 527"/>
                <a:gd name="T13" fmla="*/ 193 h 415"/>
                <a:gd name="T14" fmla="*/ 5 w 527"/>
                <a:gd name="T15" fmla="*/ 57 h 415"/>
                <a:gd name="T16" fmla="*/ 5 w 527"/>
                <a:gd name="T17" fmla="*/ 24 h 415"/>
                <a:gd name="T18" fmla="*/ 5 w 527"/>
                <a:gd name="T19" fmla="*/ 84 h 415"/>
                <a:gd name="T20" fmla="*/ 5 w 527"/>
                <a:gd name="T21" fmla="*/ 109 h 415"/>
                <a:gd name="T22" fmla="*/ 5 w 527"/>
                <a:gd name="T23" fmla="*/ 145 h 415"/>
                <a:gd name="T24" fmla="*/ 5 w 527"/>
                <a:gd name="T25" fmla="*/ 170 h 415"/>
                <a:gd name="T26" fmla="*/ 5 w 527"/>
                <a:gd name="T27" fmla="*/ 256 h 415"/>
                <a:gd name="T28" fmla="*/ 5 w 527"/>
                <a:gd name="T29" fmla="*/ 295 h 415"/>
                <a:gd name="T30" fmla="*/ 5 w 527"/>
                <a:gd name="T31" fmla="*/ 336 h 415"/>
                <a:gd name="T32" fmla="*/ 5 w 527"/>
                <a:gd name="T33" fmla="*/ 381 h 415"/>
                <a:gd name="T34" fmla="*/ 5 w 527"/>
                <a:gd name="T35" fmla="*/ 378 h 415"/>
                <a:gd name="T36" fmla="*/ 5 w 527"/>
                <a:gd name="T37" fmla="*/ 415 h 415"/>
                <a:gd name="T38" fmla="*/ 5 w 527"/>
                <a:gd name="T39" fmla="*/ 373 h 415"/>
                <a:gd name="T40" fmla="*/ 5 w 527"/>
                <a:gd name="T41" fmla="*/ 339 h 415"/>
                <a:gd name="T42" fmla="*/ 5 w 527"/>
                <a:gd name="T43" fmla="*/ 326 h 415"/>
                <a:gd name="T44" fmla="*/ 5 w 527"/>
                <a:gd name="T45" fmla="*/ 338 h 415"/>
                <a:gd name="T46" fmla="*/ 5 w 527"/>
                <a:gd name="T47" fmla="*/ 259 h 415"/>
                <a:gd name="T48" fmla="*/ 5 w 527"/>
                <a:gd name="T49" fmla="*/ 263 h 415"/>
                <a:gd name="T50" fmla="*/ 5 w 527"/>
                <a:gd name="T51" fmla="*/ 308 h 415"/>
                <a:gd name="T52" fmla="*/ 5 w 527"/>
                <a:gd name="T53" fmla="*/ 322 h 415"/>
                <a:gd name="T54" fmla="*/ 5 w 527"/>
                <a:gd name="T55" fmla="*/ 321 h 415"/>
                <a:gd name="T56" fmla="*/ 5 w 527"/>
                <a:gd name="T57" fmla="*/ 308 h 415"/>
                <a:gd name="T58" fmla="*/ 5 w 527"/>
                <a:gd name="T59" fmla="*/ 190 h 415"/>
                <a:gd name="T60" fmla="*/ 5 w 527"/>
                <a:gd name="T61" fmla="*/ 143 h 415"/>
                <a:gd name="T62" fmla="*/ 5 w 527"/>
                <a:gd name="T63" fmla="*/ 65 h 415"/>
                <a:gd name="T64" fmla="*/ 5 w 527"/>
                <a:gd name="T65" fmla="*/ 81 h 415"/>
                <a:gd name="T66" fmla="*/ 5 w 527"/>
                <a:gd name="T67" fmla="*/ 46 h 415"/>
                <a:gd name="T68" fmla="*/ 5 w 527"/>
                <a:gd name="T69" fmla="*/ 31 h 415"/>
                <a:gd name="T70" fmla="*/ 0 w 527"/>
                <a:gd name="T71" fmla="*/ 5 h 41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27"/>
                <a:gd name="T109" fmla="*/ 0 h 415"/>
                <a:gd name="T110" fmla="*/ 527 w 527"/>
                <a:gd name="T111" fmla="*/ 415 h 41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27" h="415">
                  <a:moveTo>
                    <a:pt x="0" y="5"/>
                  </a:moveTo>
                  <a:lnTo>
                    <a:pt x="2" y="68"/>
                  </a:lnTo>
                  <a:lnTo>
                    <a:pt x="25" y="97"/>
                  </a:lnTo>
                  <a:lnTo>
                    <a:pt x="13" y="113"/>
                  </a:lnTo>
                  <a:lnTo>
                    <a:pt x="2" y="110"/>
                  </a:lnTo>
                  <a:lnTo>
                    <a:pt x="10" y="126"/>
                  </a:lnTo>
                  <a:lnTo>
                    <a:pt x="43" y="149"/>
                  </a:lnTo>
                  <a:lnTo>
                    <a:pt x="46" y="160"/>
                  </a:lnTo>
                  <a:lnTo>
                    <a:pt x="36" y="179"/>
                  </a:lnTo>
                  <a:lnTo>
                    <a:pt x="69" y="210"/>
                  </a:lnTo>
                  <a:lnTo>
                    <a:pt x="72" y="225"/>
                  </a:lnTo>
                  <a:lnTo>
                    <a:pt x="87" y="213"/>
                  </a:lnTo>
                  <a:lnTo>
                    <a:pt x="76" y="193"/>
                  </a:lnTo>
                  <a:lnTo>
                    <a:pt x="67" y="193"/>
                  </a:lnTo>
                  <a:lnTo>
                    <a:pt x="61" y="141"/>
                  </a:lnTo>
                  <a:lnTo>
                    <a:pt x="25" y="57"/>
                  </a:lnTo>
                  <a:lnTo>
                    <a:pt x="36" y="20"/>
                  </a:lnTo>
                  <a:lnTo>
                    <a:pt x="53" y="24"/>
                  </a:lnTo>
                  <a:lnTo>
                    <a:pt x="64" y="34"/>
                  </a:lnTo>
                  <a:lnTo>
                    <a:pt x="65" y="84"/>
                  </a:lnTo>
                  <a:lnTo>
                    <a:pt x="78" y="107"/>
                  </a:lnTo>
                  <a:lnTo>
                    <a:pt x="88" y="109"/>
                  </a:lnTo>
                  <a:lnTo>
                    <a:pt x="86" y="120"/>
                  </a:lnTo>
                  <a:lnTo>
                    <a:pt x="105" y="145"/>
                  </a:lnTo>
                  <a:lnTo>
                    <a:pt x="98" y="159"/>
                  </a:lnTo>
                  <a:lnTo>
                    <a:pt x="117" y="170"/>
                  </a:lnTo>
                  <a:lnTo>
                    <a:pt x="156" y="235"/>
                  </a:lnTo>
                  <a:lnTo>
                    <a:pt x="162" y="256"/>
                  </a:lnTo>
                  <a:lnTo>
                    <a:pt x="148" y="282"/>
                  </a:lnTo>
                  <a:lnTo>
                    <a:pt x="152" y="295"/>
                  </a:lnTo>
                  <a:lnTo>
                    <a:pt x="183" y="329"/>
                  </a:lnTo>
                  <a:lnTo>
                    <a:pt x="212" y="336"/>
                  </a:lnTo>
                  <a:lnTo>
                    <a:pt x="229" y="354"/>
                  </a:lnTo>
                  <a:lnTo>
                    <a:pt x="286" y="381"/>
                  </a:lnTo>
                  <a:lnTo>
                    <a:pt x="320" y="390"/>
                  </a:lnTo>
                  <a:lnTo>
                    <a:pt x="344" y="378"/>
                  </a:lnTo>
                  <a:lnTo>
                    <a:pt x="361" y="381"/>
                  </a:lnTo>
                  <a:lnTo>
                    <a:pt x="397" y="415"/>
                  </a:lnTo>
                  <a:lnTo>
                    <a:pt x="418" y="379"/>
                  </a:lnTo>
                  <a:lnTo>
                    <a:pt x="437" y="373"/>
                  </a:lnTo>
                  <a:lnTo>
                    <a:pt x="425" y="350"/>
                  </a:lnTo>
                  <a:lnTo>
                    <a:pt x="438" y="339"/>
                  </a:lnTo>
                  <a:lnTo>
                    <a:pt x="468" y="338"/>
                  </a:lnTo>
                  <a:lnTo>
                    <a:pt x="486" y="326"/>
                  </a:lnTo>
                  <a:lnTo>
                    <a:pt x="487" y="325"/>
                  </a:lnTo>
                  <a:lnTo>
                    <a:pt x="494" y="338"/>
                  </a:lnTo>
                  <a:lnTo>
                    <a:pt x="500" y="326"/>
                  </a:lnTo>
                  <a:lnTo>
                    <a:pt x="527" y="259"/>
                  </a:lnTo>
                  <a:lnTo>
                    <a:pt x="505" y="255"/>
                  </a:lnTo>
                  <a:lnTo>
                    <a:pt x="464" y="263"/>
                  </a:lnTo>
                  <a:lnTo>
                    <a:pt x="457" y="267"/>
                  </a:lnTo>
                  <a:lnTo>
                    <a:pt x="443" y="308"/>
                  </a:lnTo>
                  <a:lnTo>
                    <a:pt x="429" y="318"/>
                  </a:lnTo>
                  <a:lnTo>
                    <a:pt x="430" y="322"/>
                  </a:lnTo>
                  <a:lnTo>
                    <a:pt x="418" y="326"/>
                  </a:lnTo>
                  <a:lnTo>
                    <a:pt x="407" y="321"/>
                  </a:lnTo>
                  <a:lnTo>
                    <a:pt x="363" y="332"/>
                  </a:lnTo>
                  <a:lnTo>
                    <a:pt x="334" y="308"/>
                  </a:lnTo>
                  <a:lnTo>
                    <a:pt x="311" y="235"/>
                  </a:lnTo>
                  <a:lnTo>
                    <a:pt x="322" y="190"/>
                  </a:lnTo>
                  <a:lnTo>
                    <a:pt x="343" y="155"/>
                  </a:lnTo>
                  <a:lnTo>
                    <a:pt x="307" y="143"/>
                  </a:lnTo>
                  <a:lnTo>
                    <a:pt x="281" y="67"/>
                  </a:lnTo>
                  <a:lnTo>
                    <a:pt x="258" y="65"/>
                  </a:lnTo>
                  <a:lnTo>
                    <a:pt x="241" y="82"/>
                  </a:lnTo>
                  <a:lnTo>
                    <a:pt x="230" y="81"/>
                  </a:lnTo>
                  <a:lnTo>
                    <a:pt x="217" y="65"/>
                  </a:lnTo>
                  <a:lnTo>
                    <a:pt x="217" y="46"/>
                  </a:lnTo>
                  <a:lnTo>
                    <a:pt x="198" y="22"/>
                  </a:lnTo>
                  <a:lnTo>
                    <a:pt x="105" y="31"/>
                  </a:lnTo>
                  <a:lnTo>
                    <a:pt x="41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38" name="Freeform 28"/>
            <p:cNvSpPr>
              <a:spLocks noChangeAspect="1"/>
            </p:cNvSpPr>
            <p:nvPr/>
          </p:nvSpPr>
          <p:spPr bwMode="auto">
            <a:xfrm>
              <a:off x="1453" y="2085"/>
              <a:ext cx="72" cy="96"/>
            </a:xfrm>
            <a:custGeom>
              <a:avLst/>
              <a:gdLst>
                <a:gd name="T0" fmla="*/ 4 w 81"/>
                <a:gd name="T1" fmla="*/ 79 h 96"/>
                <a:gd name="T2" fmla="*/ 4 w 81"/>
                <a:gd name="T3" fmla="*/ 95 h 96"/>
                <a:gd name="T4" fmla="*/ 4 w 81"/>
                <a:gd name="T5" fmla="*/ 96 h 96"/>
                <a:gd name="T6" fmla="*/ 4 w 81"/>
                <a:gd name="T7" fmla="*/ 83 h 96"/>
                <a:gd name="T8" fmla="*/ 0 w 81"/>
                <a:gd name="T9" fmla="*/ 77 h 96"/>
                <a:gd name="T10" fmla="*/ 4 w 81"/>
                <a:gd name="T11" fmla="*/ 41 h 96"/>
                <a:gd name="T12" fmla="*/ 4 w 81"/>
                <a:gd name="T13" fmla="*/ 35 h 96"/>
                <a:gd name="T14" fmla="*/ 4 w 81"/>
                <a:gd name="T15" fmla="*/ 12 h 96"/>
                <a:gd name="T16" fmla="*/ 4 w 81"/>
                <a:gd name="T17" fmla="*/ 1 h 96"/>
                <a:gd name="T18" fmla="*/ 4 w 81"/>
                <a:gd name="T19" fmla="*/ 0 h 96"/>
                <a:gd name="T20" fmla="*/ 4 w 81"/>
                <a:gd name="T21" fmla="*/ 39 h 96"/>
                <a:gd name="T22" fmla="*/ 4 w 81"/>
                <a:gd name="T23" fmla="*/ 44 h 96"/>
                <a:gd name="T24" fmla="*/ 4 w 81"/>
                <a:gd name="T25" fmla="*/ 50 h 96"/>
                <a:gd name="T26" fmla="*/ 4 w 81"/>
                <a:gd name="T27" fmla="*/ 79 h 9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1"/>
                <a:gd name="T43" fmla="*/ 0 h 96"/>
                <a:gd name="T44" fmla="*/ 81 w 81"/>
                <a:gd name="T45" fmla="*/ 96 h 9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1" h="96">
                  <a:moveTo>
                    <a:pt x="56" y="79"/>
                  </a:moveTo>
                  <a:lnTo>
                    <a:pt x="43" y="95"/>
                  </a:lnTo>
                  <a:lnTo>
                    <a:pt x="43" y="96"/>
                  </a:lnTo>
                  <a:lnTo>
                    <a:pt x="5" y="83"/>
                  </a:lnTo>
                  <a:lnTo>
                    <a:pt x="0" y="77"/>
                  </a:lnTo>
                  <a:lnTo>
                    <a:pt x="21" y="41"/>
                  </a:lnTo>
                  <a:lnTo>
                    <a:pt x="40" y="35"/>
                  </a:lnTo>
                  <a:lnTo>
                    <a:pt x="28" y="12"/>
                  </a:lnTo>
                  <a:lnTo>
                    <a:pt x="41" y="1"/>
                  </a:lnTo>
                  <a:lnTo>
                    <a:pt x="71" y="0"/>
                  </a:lnTo>
                  <a:lnTo>
                    <a:pt x="64" y="39"/>
                  </a:lnTo>
                  <a:lnTo>
                    <a:pt x="69" y="44"/>
                  </a:lnTo>
                  <a:lnTo>
                    <a:pt x="81" y="50"/>
                  </a:lnTo>
                  <a:lnTo>
                    <a:pt x="56" y="7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39" name="Freeform 29"/>
            <p:cNvSpPr>
              <a:spLocks noChangeAspect="1"/>
            </p:cNvSpPr>
            <p:nvPr/>
          </p:nvSpPr>
          <p:spPr bwMode="auto">
            <a:xfrm>
              <a:off x="1490" y="2164"/>
              <a:ext cx="42" cy="30"/>
            </a:xfrm>
            <a:custGeom>
              <a:avLst/>
              <a:gdLst>
                <a:gd name="T0" fmla="*/ 7 w 45"/>
                <a:gd name="T1" fmla="*/ 16 h 30"/>
                <a:gd name="T2" fmla="*/ 7 w 45"/>
                <a:gd name="T3" fmla="*/ 0 h 30"/>
                <a:gd name="T4" fmla="*/ 0 w 45"/>
                <a:gd name="T5" fmla="*/ 16 h 30"/>
                <a:gd name="T6" fmla="*/ 0 w 45"/>
                <a:gd name="T7" fmla="*/ 17 h 30"/>
                <a:gd name="T8" fmla="*/ 5 w 45"/>
                <a:gd name="T9" fmla="*/ 24 h 30"/>
                <a:gd name="T10" fmla="*/ 7 w 45"/>
                <a:gd name="T11" fmla="*/ 30 h 30"/>
                <a:gd name="T12" fmla="*/ 7 w 45"/>
                <a:gd name="T13" fmla="*/ 24 h 30"/>
                <a:gd name="T14" fmla="*/ 7 w 45"/>
                <a:gd name="T15" fmla="*/ 16 h 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5"/>
                <a:gd name="T25" fmla="*/ 0 h 30"/>
                <a:gd name="T26" fmla="*/ 45 w 45"/>
                <a:gd name="T27" fmla="*/ 30 h 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5" h="30">
                  <a:moveTo>
                    <a:pt x="45" y="16"/>
                  </a:moveTo>
                  <a:lnTo>
                    <a:pt x="13" y="0"/>
                  </a:lnTo>
                  <a:lnTo>
                    <a:pt x="0" y="16"/>
                  </a:lnTo>
                  <a:lnTo>
                    <a:pt x="0" y="17"/>
                  </a:lnTo>
                  <a:lnTo>
                    <a:pt x="5" y="24"/>
                  </a:lnTo>
                  <a:lnTo>
                    <a:pt x="42" y="30"/>
                  </a:lnTo>
                  <a:lnTo>
                    <a:pt x="45" y="24"/>
                  </a:lnTo>
                  <a:lnTo>
                    <a:pt x="45" y="1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40" name="Freeform 30"/>
            <p:cNvSpPr>
              <a:spLocks noChangeAspect="1"/>
            </p:cNvSpPr>
            <p:nvPr/>
          </p:nvSpPr>
          <p:spPr bwMode="auto">
            <a:xfrm>
              <a:off x="1665" y="2284"/>
              <a:ext cx="9" cy="12"/>
            </a:xfrm>
            <a:custGeom>
              <a:avLst/>
              <a:gdLst>
                <a:gd name="T0" fmla="*/ 0 w 10"/>
                <a:gd name="T1" fmla="*/ 0 h 12"/>
                <a:gd name="T2" fmla="*/ 3 w 10"/>
                <a:gd name="T3" fmla="*/ 0 h 12"/>
                <a:gd name="T4" fmla="*/ 5 w 10"/>
                <a:gd name="T5" fmla="*/ 9 h 12"/>
                <a:gd name="T6" fmla="*/ 5 w 10"/>
                <a:gd name="T7" fmla="*/ 12 h 12"/>
                <a:gd name="T8" fmla="*/ 0 w 10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2"/>
                <a:gd name="T17" fmla="*/ 10 w 10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2">
                  <a:moveTo>
                    <a:pt x="0" y="0"/>
                  </a:moveTo>
                  <a:lnTo>
                    <a:pt x="3" y="0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41" name="Freeform 31"/>
            <p:cNvSpPr>
              <a:spLocks noChangeAspect="1"/>
            </p:cNvSpPr>
            <p:nvPr/>
          </p:nvSpPr>
          <p:spPr bwMode="auto">
            <a:xfrm>
              <a:off x="1667" y="2277"/>
              <a:ext cx="47" cy="52"/>
            </a:xfrm>
            <a:custGeom>
              <a:avLst/>
              <a:gdLst>
                <a:gd name="T0" fmla="*/ 5 w 52"/>
                <a:gd name="T1" fmla="*/ 23 h 52"/>
                <a:gd name="T2" fmla="*/ 5 w 52"/>
                <a:gd name="T3" fmla="*/ 5 h 52"/>
                <a:gd name="T4" fmla="*/ 5 w 52"/>
                <a:gd name="T5" fmla="*/ 0 h 52"/>
                <a:gd name="T6" fmla="*/ 0 w 52"/>
                <a:gd name="T7" fmla="*/ 7 h 52"/>
                <a:gd name="T8" fmla="*/ 5 w 52"/>
                <a:gd name="T9" fmla="*/ 16 h 52"/>
                <a:gd name="T10" fmla="*/ 5 w 52"/>
                <a:gd name="T11" fmla="*/ 28 h 52"/>
                <a:gd name="T12" fmla="*/ 5 w 52"/>
                <a:gd name="T13" fmla="*/ 36 h 52"/>
                <a:gd name="T14" fmla="*/ 5 w 52"/>
                <a:gd name="T15" fmla="*/ 52 h 52"/>
                <a:gd name="T16" fmla="*/ 5 w 52"/>
                <a:gd name="T17" fmla="*/ 35 h 52"/>
                <a:gd name="T18" fmla="*/ 5 w 52"/>
                <a:gd name="T19" fmla="*/ 23 h 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52"/>
                <a:gd name="T32" fmla="*/ 52 w 52"/>
                <a:gd name="T33" fmla="*/ 52 h 5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52">
                  <a:moveTo>
                    <a:pt x="49" y="23"/>
                  </a:moveTo>
                  <a:lnTo>
                    <a:pt x="33" y="5"/>
                  </a:lnTo>
                  <a:lnTo>
                    <a:pt x="16" y="0"/>
                  </a:lnTo>
                  <a:lnTo>
                    <a:pt x="0" y="7"/>
                  </a:lnTo>
                  <a:lnTo>
                    <a:pt x="7" y="16"/>
                  </a:lnTo>
                  <a:lnTo>
                    <a:pt x="33" y="28"/>
                  </a:lnTo>
                  <a:lnTo>
                    <a:pt x="28" y="36"/>
                  </a:lnTo>
                  <a:lnTo>
                    <a:pt x="37" y="52"/>
                  </a:lnTo>
                  <a:lnTo>
                    <a:pt x="52" y="35"/>
                  </a:lnTo>
                  <a:lnTo>
                    <a:pt x="49" y="2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42" name="Freeform 32"/>
            <p:cNvSpPr>
              <a:spLocks noChangeAspect="1"/>
            </p:cNvSpPr>
            <p:nvPr/>
          </p:nvSpPr>
          <p:spPr bwMode="auto">
            <a:xfrm>
              <a:off x="1610" y="2277"/>
              <a:ext cx="62" cy="54"/>
            </a:xfrm>
            <a:custGeom>
              <a:avLst/>
              <a:gdLst>
                <a:gd name="T0" fmla="*/ 4 w 69"/>
                <a:gd name="T1" fmla="*/ 1 h 54"/>
                <a:gd name="T2" fmla="*/ 4 w 69"/>
                <a:gd name="T3" fmla="*/ 0 h 54"/>
                <a:gd name="T4" fmla="*/ 4 w 69"/>
                <a:gd name="T5" fmla="*/ 13 h 54"/>
                <a:gd name="T6" fmla="*/ 4 w 69"/>
                <a:gd name="T7" fmla="*/ 18 h 54"/>
                <a:gd name="T8" fmla="*/ 4 w 69"/>
                <a:gd name="T9" fmla="*/ 7 h 54"/>
                <a:gd name="T10" fmla="*/ 4 w 69"/>
                <a:gd name="T11" fmla="*/ 19 h 54"/>
                <a:gd name="T12" fmla="*/ 4 w 69"/>
                <a:gd name="T13" fmla="*/ 31 h 54"/>
                <a:gd name="T14" fmla="*/ 4 w 69"/>
                <a:gd name="T15" fmla="*/ 47 h 54"/>
                <a:gd name="T16" fmla="*/ 4 w 69"/>
                <a:gd name="T17" fmla="*/ 54 h 54"/>
                <a:gd name="T18" fmla="*/ 4 w 69"/>
                <a:gd name="T19" fmla="*/ 41 h 54"/>
                <a:gd name="T20" fmla="*/ 0 w 69"/>
                <a:gd name="T21" fmla="*/ 29 h 54"/>
                <a:gd name="T22" fmla="*/ 4 w 69"/>
                <a:gd name="T23" fmla="*/ 1 h 5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54"/>
                <a:gd name="T38" fmla="*/ 69 w 69"/>
                <a:gd name="T39" fmla="*/ 54 h 5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54">
                  <a:moveTo>
                    <a:pt x="4" y="1"/>
                  </a:moveTo>
                  <a:lnTo>
                    <a:pt x="10" y="0"/>
                  </a:lnTo>
                  <a:lnTo>
                    <a:pt x="17" y="13"/>
                  </a:lnTo>
                  <a:lnTo>
                    <a:pt x="31" y="18"/>
                  </a:lnTo>
                  <a:lnTo>
                    <a:pt x="61" y="7"/>
                  </a:lnTo>
                  <a:lnTo>
                    <a:pt x="69" y="19"/>
                  </a:lnTo>
                  <a:lnTo>
                    <a:pt x="50" y="31"/>
                  </a:lnTo>
                  <a:lnTo>
                    <a:pt x="59" y="47"/>
                  </a:lnTo>
                  <a:lnTo>
                    <a:pt x="40" y="54"/>
                  </a:lnTo>
                  <a:lnTo>
                    <a:pt x="39" y="41"/>
                  </a:lnTo>
                  <a:lnTo>
                    <a:pt x="0" y="29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43" name="Freeform 33"/>
            <p:cNvSpPr>
              <a:spLocks noChangeAspect="1"/>
            </p:cNvSpPr>
            <p:nvPr/>
          </p:nvSpPr>
          <p:spPr bwMode="auto">
            <a:xfrm>
              <a:off x="1564" y="2242"/>
              <a:ext cx="56" cy="64"/>
            </a:xfrm>
            <a:custGeom>
              <a:avLst/>
              <a:gdLst>
                <a:gd name="T0" fmla="*/ 5 w 62"/>
                <a:gd name="T1" fmla="*/ 36 h 64"/>
                <a:gd name="T2" fmla="*/ 5 w 62"/>
                <a:gd name="T3" fmla="*/ 35 h 64"/>
                <a:gd name="T4" fmla="*/ 5 w 62"/>
                <a:gd name="T5" fmla="*/ 25 h 64"/>
                <a:gd name="T6" fmla="*/ 5 w 62"/>
                <a:gd name="T7" fmla="*/ 3 h 64"/>
                <a:gd name="T8" fmla="*/ 1 w 62"/>
                <a:gd name="T9" fmla="*/ 0 h 64"/>
                <a:gd name="T10" fmla="*/ 0 w 62"/>
                <a:gd name="T11" fmla="*/ 26 h 64"/>
                <a:gd name="T12" fmla="*/ 5 w 62"/>
                <a:gd name="T13" fmla="*/ 32 h 64"/>
                <a:gd name="T14" fmla="*/ 5 w 62"/>
                <a:gd name="T15" fmla="*/ 25 h 64"/>
                <a:gd name="T16" fmla="*/ 5 w 62"/>
                <a:gd name="T17" fmla="*/ 48 h 64"/>
                <a:gd name="T18" fmla="*/ 5 w 62"/>
                <a:gd name="T19" fmla="*/ 59 h 64"/>
                <a:gd name="T20" fmla="*/ 5 w 62"/>
                <a:gd name="T21" fmla="*/ 64 h 64"/>
                <a:gd name="T22" fmla="*/ 5 w 62"/>
                <a:gd name="T23" fmla="*/ 36 h 6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2"/>
                <a:gd name="T37" fmla="*/ 0 h 64"/>
                <a:gd name="T38" fmla="*/ 62 w 62"/>
                <a:gd name="T39" fmla="*/ 64 h 6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2" h="64">
                  <a:moveTo>
                    <a:pt x="56" y="36"/>
                  </a:moveTo>
                  <a:lnTo>
                    <a:pt x="62" y="35"/>
                  </a:lnTo>
                  <a:lnTo>
                    <a:pt x="51" y="25"/>
                  </a:lnTo>
                  <a:lnTo>
                    <a:pt x="42" y="3"/>
                  </a:lnTo>
                  <a:lnTo>
                    <a:pt x="1" y="0"/>
                  </a:lnTo>
                  <a:lnTo>
                    <a:pt x="0" y="26"/>
                  </a:lnTo>
                  <a:lnTo>
                    <a:pt x="9" y="32"/>
                  </a:lnTo>
                  <a:lnTo>
                    <a:pt x="17" y="25"/>
                  </a:lnTo>
                  <a:lnTo>
                    <a:pt x="39" y="48"/>
                  </a:lnTo>
                  <a:lnTo>
                    <a:pt x="36" y="59"/>
                  </a:lnTo>
                  <a:lnTo>
                    <a:pt x="52" y="64"/>
                  </a:lnTo>
                  <a:lnTo>
                    <a:pt x="56" y="3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52" name="Freeform 34"/>
            <p:cNvSpPr>
              <a:spLocks noChangeAspect="1"/>
            </p:cNvSpPr>
            <p:nvPr/>
          </p:nvSpPr>
          <p:spPr bwMode="auto">
            <a:xfrm>
              <a:off x="1538" y="2150"/>
              <a:ext cx="76" cy="95"/>
            </a:xfrm>
            <a:custGeom>
              <a:avLst/>
              <a:gdLst>
                <a:gd name="T0" fmla="*/ 4 w 85"/>
                <a:gd name="T1" fmla="*/ 95 h 95"/>
                <a:gd name="T2" fmla="*/ 4 w 85"/>
                <a:gd name="T3" fmla="*/ 88 h 95"/>
                <a:gd name="T4" fmla="*/ 4 w 85"/>
                <a:gd name="T5" fmla="*/ 19 h 95"/>
                <a:gd name="T6" fmla="*/ 4 w 85"/>
                <a:gd name="T7" fmla="*/ 0 h 95"/>
                <a:gd name="T8" fmla="*/ 4 w 85"/>
                <a:gd name="T9" fmla="*/ 9 h 95"/>
                <a:gd name="T10" fmla="*/ 0 w 85"/>
                <a:gd name="T11" fmla="*/ 47 h 95"/>
                <a:gd name="T12" fmla="*/ 1 w 85"/>
                <a:gd name="T13" fmla="*/ 58 h 95"/>
                <a:gd name="T14" fmla="*/ 4 w 85"/>
                <a:gd name="T15" fmla="*/ 92 h 95"/>
                <a:gd name="T16" fmla="*/ 4 w 85"/>
                <a:gd name="T17" fmla="*/ 95 h 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"/>
                <a:gd name="T28" fmla="*/ 0 h 95"/>
                <a:gd name="T29" fmla="*/ 85 w 85"/>
                <a:gd name="T30" fmla="*/ 95 h 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" h="95">
                  <a:moveTo>
                    <a:pt x="70" y="95"/>
                  </a:moveTo>
                  <a:lnTo>
                    <a:pt x="67" y="88"/>
                  </a:lnTo>
                  <a:lnTo>
                    <a:pt x="85" y="19"/>
                  </a:lnTo>
                  <a:lnTo>
                    <a:pt x="84" y="0"/>
                  </a:lnTo>
                  <a:lnTo>
                    <a:pt x="52" y="9"/>
                  </a:lnTo>
                  <a:lnTo>
                    <a:pt x="0" y="47"/>
                  </a:lnTo>
                  <a:lnTo>
                    <a:pt x="1" y="58"/>
                  </a:lnTo>
                  <a:lnTo>
                    <a:pt x="29" y="92"/>
                  </a:lnTo>
                  <a:lnTo>
                    <a:pt x="70" y="9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53" name="Freeform 35"/>
            <p:cNvSpPr>
              <a:spLocks noChangeAspect="1"/>
            </p:cNvSpPr>
            <p:nvPr/>
          </p:nvSpPr>
          <p:spPr bwMode="auto">
            <a:xfrm>
              <a:off x="1502" y="2131"/>
              <a:ext cx="111" cy="66"/>
            </a:xfrm>
            <a:custGeom>
              <a:avLst/>
              <a:gdLst>
                <a:gd name="T0" fmla="*/ 5 w 123"/>
                <a:gd name="T1" fmla="*/ 4 h 66"/>
                <a:gd name="T2" fmla="*/ 5 w 123"/>
                <a:gd name="T3" fmla="*/ 0 h 66"/>
                <a:gd name="T4" fmla="*/ 5 w 123"/>
                <a:gd name="T5" fmla="*/ 19 h 66"/>
                <a:gd name="T6" fmla="*/ 5 w 123"/>
                <a:gd name="T7" fmla="*/ 28 h 66"/>
                <a:gd name="T8" fmla="*/ 5 w 123"/>
                <a:gd name="T9" fmla="*/ 66 h 66"/>
                <a:gd name="T10" fmla="*/ 5 w 123"/>
                <a:gd name="T11" fmla="*/ 57 h 66"/>
                <a:gd name="T12" fmla="*/ 5 w 123"/>
                <a:gd name="T13" fmla="*/ 49 h 66"/>
                <a:gd name="T14" fmla="*/ 0 w 123"/>
                <a:gd name="T15" fmla="*/ 33 h 66"/>
                <a:gd name="T16" fmla="*/ 5 w 123"/>
                <a:gd name="T17" fmla="*/ 4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3"/>
                <a:gd name="T28" fmla="*/ 0 h 66"/>
                <a:gd name="T29" fmla="*/ 123 w 123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3" h="66">
                  <a:moveTo>
                    <a:pt x="25" y="4"/>
                  </a:moveTo>
                  <a:lnTo>
                    <a:pt x="93" y="0"/>
                  </a:lnTo>
                  <a:lnTo>
                    <a:pt x="123" y="19"/>
                  </a:lnTo>
                  <a:lnTo>
                    <a:pt x="91" y="28"/>
                  </a:lnTo>
                  <a:lnTo>
                    <a:pt x="39" y="66"/>
                  </a:lnTo>
                  <a:lnTo>
                    <a:pt x="32" y="57"/>
                  </a:lnTo>
                  <a:lnTo>
                    <a:pt x="32" y="49"/>
                  </a:lnTo>
                  <a:lnTo>
                    <a:pt x="0" y="33"/>
                  </a:lnTo>
                  <a:lnTo>
                    <a:pt x="25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54" name="Freeform 36"/>
            <p:cNvSpPr>
              <a:spLocks noChangeAspect="1"/>
            </p:cNvSpPr>
            <p:nvPr/>
          </p:nvSpPr>
          <p:spPr bwMode="auto">
            <a:xfrm>
              <a:off x="1830" y="2042"/>
              <a:ext cx="63" cy="51"/>
            </a:xfrm>
            <a:custGeom>
              <a:avLst/>
              <a:gdLst>
                <a:gd name="T0" fmla="*/ 4 w 71"/>
                <a:gd name="T1" fmla="*/ 0 h 51"/>
                <a:gd name="T2" fmla="*/ 4 w 71"/>
                <a:gd name="T3" fmla="*/ 3 h 51"/>
                <a:gd name="T4" fmla="*/ 4 w 71"/>
                <a:gd name="T5" fmla="*/ 10 h 51"/>
                <a:gd name="T6" fmla="*/ 4 w 71"/>
                <a:gd name="T7" fmla="*/ 10 h 51"/>
                <a:gd name="T8" fmla="*/ 4 w 71"/>
                <a:gd name="T9" fmla="*/ 17 h 51"/>
                <a:gd name="T10" fmla="*/ 4 w 71"/>
                <a:gd name="T11" fmla="*/ 20 h 51"/>
                <a:gd name="T12" fmla="*/ 4 w 71"/>
                <a:gd name="T13" fmla="*/ 30 h 51"/>
                <a:gd name="T14" fmla="*/ 4 w 71"/>
                <a:gd name="T15" fmla="*/ 40 h 51"/>
                <a:gd name="T16" fmla="*/ 4 w 71"/>
                <a:gd name="T17" fmla="*/ 31 h 51"/>
                <a:gd name="T18" fmla="*/ 4 w 71"/>
                <a:gd name="T19" fmla="*/ 37 h 51"/>
                <a:gd name="T20" fmla="*/ 4 w 71"/>
                <a:gd name="T21" fmla="*/ 31 h 51"/>
                <a:gd name="T22" fmla="*/ 4 w 71"/>
                <a:gd name="T23" fmla="*/ 36 h 51"/>
                <a:gd name="T24" fmla="*/ 4 w 71"/>
                <a:gd name="T25" fmla="*/ 51 h 51"/>
                <a:gd name="T26" fmla="*/ 0 w 71"/>
                <a:gd name="T27" fmla="*/ 40 h 51"/>
                <a:gd name="T28" fmla="*/ 4 w 71"/>
                <a:gd name="T29" fmla="*/ 0 h 5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1"/>
                <a:gd name="T46" fmla="*/ 0 h 51"/>
                <a:gd name="T47" fmla="*/ 71 w 71"/>
                <a:gd name="T48" fmla="*/ 51 h 5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1" h="51">
                  <a:moveTo>
                    <a:pt x="6" y="0"/>
                  </a:moveTo>
                  <a:lnTo>
                    <a:pt x="42" y="3"/>
                  </a:lnTo>
                  <a:lnTo>
                    <a:pt x="45" y="10"/>
                  </a:lnTo>
                  <a:lnTo>
                    <a:pt x="57" y="10"/>
                  </a:lnTo>
                  <a:lnTo>
                    <a:pt x="47" y="17"/>
                  </a:lnTo>
                  <a:lnTo>
                    <a:pt x="64" y="20"/>
                  </a:lnTo>
                  <a:lnTo>
                    <a:pt x="71" y="30"/>
                  </a:lnTo>
                  <a:lnTo>
                    <a:pt x="63" y="40"/>
                  </a:lnTo>
                  <a:lnTo>
                    <a:pt x="58" y="31"/>
                  </a:lnTo>
                  <a:lnTo>
                    <a:pt x="25" y="37"/>
                  </a:lnTo>
                  <a:lnTo>
                    <a:pt x="26" y="31"/>
                  </a:lnTo>
                  <a:lnTo>
                    <a:pt x="15" y="36"/>
                  </a:lnTo>
                  <a:lnTo>
                    <a:pt x="7" y="51"/>
                  </a:lnTo>
                  <a:lnTo>
                    <a:pt x="0" y="4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55" name="Freeform 37"/>
            <p:cNvSpPr>
              <a:spLocks noChangeAspect="1"/>
            </p:cNvSpPr>
            <p:nvPr/>
          </p:nvSpPr>
          <p:spPr bwMode="auto">
            <a:xfrm>
              <a:off x="1782" y="2039"/>
              <a:ext cx="53" cy="44"/>
            </a:xfrm>
            <a:custGeom>
              <a:avLst/>
              <a:gdLst>
                <a:gd name="T0" fmla="*/ 5 w 58"/>
                <a:gd name="T1" fmla="*/ 3 h 44"/>
                <a:gd name="T2" fmla="*/ 5 w 58"/>
                <a:gd name="T3" fmla="*/ 0 h 44"/>
                <a:gd name="T4" fmla="*/ 5 w 58"/>
                <a:gd name="T5" fmla="*/ 6 h 44"/>
                <a:gd name="T6" fmla="*/ 5 w 58"/>
                <a:gd name="T7" fmla="*/ 6 h 44"/>
                <a:gd name="T8" fmla="*/ 5 w 58"/>
                <a:gd name="T9" fmla="*/ 30 h 44"/>
                <a:gd name="T10" fmla="*/ 5 w 58"/>
                <a:gd name="T11" fmla="*/ 37 h 44"/>
                <a:gd name="T12" fmla="*/ 5 w 58"/>
                <a:gd name="T13" fmla="*/ 30 h 44"/>
                <a:gd name="T14" fmla="*/ 0 w 58"/>
                <a:gd name="T15" fmla="*/ 37 h 44"/>
                <a:gd name="T16" fmla="*/ 5 w 58"/>
                <a:gd name="T17" fmla="*/ 44 h 44"/>
                <a:gd name="T18" fmla="*/ 5 w 58"/>
                <a:gd name="T19" fmla="*/ 43 h 44"/>
                <a:gd name="T20" fmla="*/ 5 w 58"/>
                <a:gd name="T21" fmla="*/ 3 h 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8"/>
                <a:gd name="T34" fmla="*/ 0 h 44"/>
                <a:gd name="T35" fmla="*/ 58 w 58"/>
                <a:gd name="T36" fmla="*/ 44 h 4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8" h="44">
                  <a:moveTo>
                    <a:pt x="58" y="3"/>
                  </a:moveTo>
                  <a:lnTo>
                    <a:pt x="31" y="0"/>
                  </a:lnTo>
                  <a:lnTo>
                    <a:pt x="24" y="6"/>
                  </a:lnTo>
                  <a:lnTo>
                    <a:pt x="33" y="6"/>
                  </a:lnTo>
                  <a:lnTo>
                    <a:pt x="43" y="30"/>
                  </a:lnTo>
                  <a:lnTo>
                    <a:pt x="24" y="37"/>
                  </a:lnTo>
                  <a:lnTo>
                    <a:pt x="7" y="30"/>
                  </a:lnTo>
                  <a:lnTo>
                    <a:pt x="0" y="37"/>
                  </a:lnTo>
                  <a:lnTo>
                    <a:pt x="12" y="44"/>
                  </a:lnTo>
                  <a:lnTo>
                    <a:pt x="52" y="43"/>
                  </a:lnTo>
                  <a:lnTo>
                    <a:pt x="58" y="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56" name="Freeform 38"/>
            <p:cNvSpPr>
              <a:spLocks noChangeAspect="1"/>
            </p:cNvSpPr>
            <p:nvPr/>
          </p:nvSpPr>
          <p:spPr bwMode="auto">
            <a:xfrm>
              <a:off x="1712" y="2072"/>
              <a:ext cx="38" cy="17"/>
            </a:xfrm>
            <a:custGeom>
              <a:avLst/>
              <a:gdLst>
                <a:gd name="T0" fmla="*/ 0 w 41"/>
                <a:gd name="T1" fmla="*/ 7 h 17"/>
                <a:gd name="T2" fmla="*/ 6 w 41"/>
                <a:gd name="T3" fmla="*/ 17 h 17"/>
                <a:gd name="T4" fmla="*/ 6 w 41"/>
                <a:gd name="T5" fmla="*/ 14 h 17"/>
                <a:gd name="T6" fmla="*/ 6 w 41"/>
                <a:gd name="T7" fmla="*/ 7 h 17"/>
                <a:gd name="T8" fmla="*/ 6 w 41"/>
                <a:gd name="T9" fmla="*/ 0 h 17"/>
                <a:gd name="T10" fmla="*/ 0 w 4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1"/>
                <a:gd name="T19" fmla="*/ 0 h 17"/>
                <a:gd name="T20" fmla="*/ 41 w 41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1" h="17">
                  <a:moveTo>
                    <a:pt x="0" y="7"/>
                  </a:moveTo>
                  <a:lnTo>
                    <a:pt x="21" y="17"/>
                  </a:lnTo>
                  <a:lnTo>
                    <a:pt x="41" y="14"/>
                  </a:lnTo>
                  <a:lnTo>
                    <a:pt x="39" y="7"/>
                  </a:lnTo>
                  <a:lnTo>
                    <a:pt x="11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57" name="Freeform 39"/>
            <p:cNvSpPr>
              <a:spLocks noChangeAspect="1"/>
            </p:cNvSpPr>
            <p:nvPr/>
          </p:nvSpPr>
          <p:spPr bwMode="auto">
            <a:xfrm>
              <a:off x="1606" y="1965"/>
              <a:ext cx="188" cy="77"/>
            </a:xfrm>
            <a:custGeom>
              <a:avLst/>
              <a:gdLst>
                <a:gd name="T0" fmla="*/ 0 w 208"/>
                <a:gd name="T1" fmla="*/ 30 h 77"/>
                <a:gd name="T2" fmla="*/ 5 w 208"/>
                <a:gd name="T3" fmla="*/ 30 h 77"/>
                <a:gd name="T4" fmla="*/ 5 w 208"/>
                <a:gd name="T5" fmla="*/ 11 h 77"/>
                <a:gd name="T6" fmla="*/ 5 w 208"/>
                <a:gd name="T7" fmla="*/ 15 h 77"/>
                <a:gd name="T8" fmla="*/ 5 w 208"/>
                <a:gd name="T9" fmla="*/ 18 h 77"/>
                <a:gd name="T10" fmla="*/ 5 w 208"/>
                <a:gd name="T11" fmla="*/ 24 h 77"/>
                <a:gd name="T12" fmla="*/ 5 w 208"/>
                <a:gd name="T13" fmla="*/ 37 h 77"/>
                <a:gd name="T14" fmla="*/ 5 w 208"/>
                <a:gd name="T15" fmla="*/ 57 h 77"/>
                <a:gd name="T16" fmla="*/ 5 w 208"/>
                <a:gd name="T17" fmla="*/ 57 h 77"/>
                <a:gd name="T18" fmla="*/ 5 w 208"/>
                <a:gd name="T19" fmla="*/ 64 h 77"/>
                <a:gd name="T20" fmla="*/ 5 w 208"/>
                <a:gd name="T21" fmla="*/ 77 h 77"/>
                <a:gd name="T22" fmla="*/ 5 w 208"/>
                <a:gd name="T23" fmla="*/ 71 h 77"/>
                <a:gd name="T24" fmla="*/ 5 w 208"/>
                <a:gd name="T25" fmla="*/ 58 h 77"/>
                <a:gd name="T26" fmla="*/ 5 w 208"/>
                <a:gd name="T27" fmla="*/ 58 h 77"/>
                <a:gd name="T28" fmla="*/ 5 w 208"/>
                <a:gd name="T29" fmla="*/ 49 h 77"/>
                <a:gd name="T30" fmla="*/ 5 w 208"/>
                <a:gd name="T31" fmla="*/ 45 h 77"/>
                <a:gd name="T32" fmla="*/ 5 w 208"/>
                <a:gd name="T33" fmla="*/ 22 h 77"/>
                <a:gd name="T34" fmla="*/ 5 w 208"/>
                <a:gd name="T35" fmla="*/ 0 h 77"/>
                <a:gd name="T36" fmla="*/ 5 w 208"/>
                <a:gd name="T37" fmla="*/ 7 h 77"/>
                <a:gd name="T38" fmla="*/ 0 w 208"/>
                <a:gd name="T39" fmla="*/ 30 h 7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8"/>
                <a:gd name="T61" fmla="*/ 0 h 77"/>
                <a:gd name="T62" fmla="*/ 208 w 208"/>
                <a:gd name="T63" fmla="*/ 77 h 7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8" h="77">
                  <a:moveTo>
                    <a:pt x="0" y="30"/>
                  </a:moveTo>
                  <a:lnTo>
                    <a:pt x="14" y="30"/>
                  </a:lnTo>
                  <a:lnTo>
                    <a:pt x="45" y="11"/>
                  </a:lnTo>
                  <a:lnTo>
                    <a:pt x="68" y="15"/>
                  </a:lnTo>
                  <a:lnTo>
                    <a:pt x="57" y="18"/>
                  </a:lnTo>
                  <a:lnTo>
                    <a:pt x="62" y="24"/>
                  </a:lnTo>
                  <a:lnTo>
                    <a:pt x="120" y="37"/>
                  </a:lnTo>
                  <a:lnTo>
                    <a:pt x="132" y="57"/>
                  </a:lnTo>
                  <a:lnTo>
                    <a:pt x="147" y="57"/>
                  </a:lnTo>
                  <a:lnTo>
                    <a:pt x="149" y="64"/>
                  </a:lnTo>
                  <a:lnTo>
                    <a:pt x="136" y="77"/>
                  </a:lnTo>
                  <a:lnTo>
                    <a:pt x="208" y="71"/>
                  </a:lnTo>
                  <a:lnTo>
                    <a:pt x="196" y="58"/>
                  </a:lnTo>
                  <a:lnTo>
                    <a:pt x="179" y="58"/>
                  </a:lnTo>
                  <a:lnTo>
                    <a:pt x="182" y="49"/>
                  </a:lnTo>
                  <a:lnTo>
                    <a:pt x="164" y="45"/>
                  </a:lnTo>
                  <a:lnTo>
                    <a:pt x="131" y="22"/>
                  </a:lnTo>
                  <a:lnTo>
                    <a:pt x="72" y="0"/>
                  </a:lnTo>
                  <a:lnTo>
                    <a:pt x="31" y="7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58" name="Freeform 40"/>
            <p:cNvSpPr>
              <a:spLocks noChangeAspect="1"/>
            </p:cNvSpPr>
            <p:nvPr/>
          </p:nvSpPr>
          <p:spPr bwMode="auto">
            <a:xfrm>
              <a:off x="1914" y="2072"/>
              <a:ext cx="27" cy="11"/>
            </a:xfrm>
            <a:custGeom>
              <a:avLst/>
              <a:gdLst>
                <a:gd name="T0" fmla="*/ 0 w 30"/>
                <a:gd name="T1" fmla="*/ 11 h 11"/>
                <a:gd name="T2" fmla="*/ 5 w 30"/>
                <a:gd name="T3" fmla="*/ 11 h 11"/>
                <a:gd name="T4" fmla="*/ 5 w 30"/>
                <a:gd name="T5" fmla="*/ 6 h 11"/>
                <a:gd name="T6" fmla="*/ 5 w 30"/>
                <a:gd name="T7" fmla="*/ 0 h 11"/>
                <a:gd name="T8" fmla="*/ 1 w 30"/>
                <a:gd name="T9" fmla="*/ 0 h 11"/>
                <a:gd name="T10" fmla="*/ 0 w 30"/>
                <a:gd name="T11" fmla="*/ 1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1"/>
                <a:gd name="T20" fmla="*/ 30 w 30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1">
                  <a:moveTo>
                    <a:pt x="0" y="11"/>
                  </a:moveTo>
                  <a:lnTo>
                    <a:pt x="24" y="11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59" name="Freeform 41"/>
            <p:cNvSpPr>
              <a:spLocks noChangeAspect="1"/>
            </p:cNvSpPr>
            <p:nvPr/>
          </p:nvSpPr>
          <p:spPr bwMode="auto">
            <a:xfrm>
              <a:off x="1893" y="1552"/>
              <a:ext cx="38" cy="13"/>
            </a:xfrm>
            <a:custGeom>
              <a:avLst/>
              <a:gdLst>
                <a:gd name="T0" fmla="*/ 0 w 41"/>
                <a:gd name="T1" fmla="*/ 13 h 13"/>
                <a:gd name="T2" fmla="*/ 6 w 41"/>
                <a:gd name="T3" fmla="*/ 3 h 13"/>
                <a:gd name="T4" fmla="*/ 6 w 41"/>
                <a:gd name="T5" fmla="*/ 0 h 13"/>
                <a:gd name="T6" fmla="*/ 0 w 41"/>
                <a:gd name="T7" fmla="*/ 13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1"/>
                <a:gd name="T13" fmla="*/ 0 h 13"/>
                <a:gd name="T14" fmla="*/ 41 w 41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1" h="13">
                  <a:moveTo>
                    <a:pt x="0" y="13"/>
                  </a:moveTo>
                  <a:lnTo>
                    <a:pt x="41" y="3"/>
                  </a:lnTo>
                  <a:lnTo>
                    <a:pt x="37" y="0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60" name="Freeform 42"/>
            <p:cNvSpPr>
              <a:spLocks noChangeAspect="1"/>
            </p:cNvSpPr>
            <p:nvPr/>
          </p:nvSpPr>
          <p:spPr bwMode="auto">
            <a:xfrm>
              <a:off x="2191" y="1316"/>
              <a:ext cx="105" cy="111"/>
            </a:xfrm>
            <a:custGeom>
              <a:avLst/>
              <a:gdLst>
                <a:gd name="T0" fmla="*/ 0 w 118"/>
                <a:gd name="T1" fmla="*/ 83 h 111"/>
                <a:gd name="T2" fmla="*/ 0 w 118"/>
                <a:gd name="T3" fmla="*/ 91 h 111"/>
                <a:gd name="T4" fmla="*/ 4 w 118"/>
                <a:gd name="T5" fmla="*/ 91 h 111"/>
                <a:gd name="T6" fmla="*/ 4 w 118"/>
                <a:gd name="T7" fmla="*/ 105 h 111"/>
                <a:gd name="T8" fmla="*/ 4 w 118"/>
                <a:gd name="T9" fmla="*/ 107 h 111"/>
                <a:gd name="T10" fmla="*/ 4 w 118"/>
                <a:gd name="T11" fmla="*/ 95 h 111"/>
                <a:gd name="T12" fmla="*/ 4 w 118"/>
                <a:gd name="T13" fmla="*/ 95 h 111"/>
                <a:gd name="T14" fmla="*/ 4 w 118"/>
                <a:gd name="T15" fmla="*/ 107 h 111"/>
                <a:gd name="T16" fmla="*/ 4 w 118"/>
                <a:gd name="T17" fmla="*/ 101 h 111"/>
                <a:gd name="T18" fmla="*/ 4 w 118"/>
                <a:gd name="T19" fmla="*/ 111 h 111"/>
                <a:gd name="T20" fmla="*/ 4 w 118"/>
                <a:gd name="T21" fmla="*/ 111 h 111"/>
                <a:gd name="T22" fmla="*/ 4 w 118"/>
                <a:gd name="T23" fmla="*/ 88 h 111"/>
                <a:gd name="T24" fmla="*/ 4 w 118"/>
                <a:gd name="T25" fmla="*/ 90 h 111"/>
                <a:gd name="T26" fmla="*/ 4 w 118"/>
                <a:gd name="T27" fmla="*/ 78 h 111"/>
                <a:gd name="T28" fmla="*/ 4 w 118"/>
                <a:gd name="T29" fmla="*/ 90 h 111"/>
                <a:gd name="T30" fmla="*/ 4 w 118"/>
                <a:gd name="T31" fmla="*/ 87 h 111"/>
                <a:gd name="T32" fmla="*/ 4 w 118"/>
                <a:gd name="T33" fmla="*/ 67 h 111"/>
                <a:gd name="T34" fmla="*/ 4 w 118"/>
                <a:gd name="T35" fmla="*/ 70 h 111"/>
                <a:gd name="T36" fmla="*/ 4 w 118"/>
                <a:gd name="T37" fmla="*/ 62 h 111"/>
                <a:gd name="T38" fmla="*/ 4 w 118"/>
                <a:gd name="T39" fmla="*/ 53 h 111"/>
                <a:gd name="T40" fmla="*/ 4 w 118"/>
                <a:gd name="T41" fmla="*/ 51 h 111"/>
                <a:gd name="T42" fmla="*/ 4 w 118"/>
                <a:gd name="T43" fmla="*/ 43 h 111"/>
                <a:gd name="T44" fmla="*/ 4 w 118"/>
                <a:gd name="T45" fmla="*/ 38 h 111"/>
                <a:gd name="T46" fmla="*/ 4 w 118"/>
                <a:gd name="T47" fmla="*/ 34 h 111"/>
                <a:gd name="T48" fmla="*/ 4 w 118"/>
                <a:gd name="T49" fmla="*/ 42 h 111"/>
                <a:gd name="T50" fmla="*/ 4 w 118"/>
                <a:gd name="T51" fmla="*/ 0 h 111"/>
                <a:gd name="T52" fmla="*/ 4 w 118"/>
                <a:gd name="T53" fmla="*/ 6 h 111"/>
                <a:gd name="T54" fmla="*/ 4 w 118"/>
                <a:gd name="T55" fmla="*/ 67 h 111"/>
                <a:gd name="T56" fmla="*/ 4 w 118"/>
                <a:gd name="T57" fmla="*/ 70 h 111"/>
                <a:gd name="T58" fmla="*/ 0 w 118"/>
                <a:gd name="T59" fmla="*/ 83 h 11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8"/>
                <a:gd name="T91" fmla="*/ 0 h 111"/>
                <a:gd name="T92" fmla="*/ 118 w 118"/>
                <a:gd name="T93" fmla="*/ 111 h 11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8" h="111">
                  <a:moveTo>
                    <a:pt x="0" y="83"/>
                  </a:moveTo>
                  <a:lnTo>
                    <a:pt x="0" y="91"/>
                  </a:lnTo>
                  <a:lnTo>
                    <a:pt x="67" y="91"/>
                  </a:lnTo>
                  <a:lnTo>
                    <a:pt x="53" y="105"/>
                  </a:lnTo>
                  <a:lnTo>
                    <a:pt x="63" y="107"/>
                  </a:lnTo>
                  <a:lnTo>
                    <a:pt x="76" y="95"/>
                  </a:lnTo>
                  <a:lnTo>
                    <a:pt x="92" y="95"/>
                  </a:lnTo>
                  <a:lnTo>
                    <a:pt x="84" y="107"/>
                  </a:lnTo>
                  <a:lnTo>
                    <a:pt x="95" y="101"/>
                  </a:lnTo>
                  <a:lnTo>
                    <a:pt x="92" y="111"/>
                  </a:lnTo>
                  <a:lnTo>
                    <a:pt x="103" y="111"/>
                  </a:lnTo>
                  <a:lnTo>
                    <a:pt x="115" y="88"/>
                  </a:lnTo>
                  <a:lnTo>
                    <a:pt x="107" y="90"/>
                  </a:lnTo>
                  <a:lnTo>
                    <a:pt x="114" y="78"/>
                  </a:lnTo>
                  <a:lnTo>
                    <a:pt x="98" y="90"/>
                  </a:lnTo>
                  <a:lnTo>
                    <a:pt x="96" y="87"/>
                  </a:lnTo>
                  <a:lnTo>
                    <a:pt x="118" y="67"/>
                  </a:lnTo>
                  <a:lnTo>
                    <a:pt x="104" y="70"/>
                  </a:lnTo>
                  <a:lnTo>
                    <a:pt x="102" y="62"/>
                  </a:lnTo>
                  <a:lnTo>
                    <a:pt x="114" y="53"/>
                  </a:lnTo>
                  <a:lnTo>
                    <a:pt x="82" y="51"/>
                  </a:lnTo>
                  <a:lnTo>
                    <a:pt x="75" y="43"/>
                  </a:lnTo>
                  <a:lnTo>
                    <a:pt x="84" y="38"/>
                  </a:lnTo>
                  <a:lnTo>
                    <a:pt x="75" y="34"/>
                  </a:lnTo>
                  <a:lnTo>
                    <a:pt x="59" y="42"/>
                  </a:lnTo>
                  <a:lnTo>
                    <a:pt x="98" y="0"/>
                  </a:lnTo>
                  <a:lnTo>
                    <a:pt x="76" y="6"/>
                  </a:lnTo>
                  <a:lnTo>
                    <a:pt x="16" y="67"/>
                  </a:lnTo>
                  <a:lnTo>
                    <a:pt x="21" y="70"/>
                  </a:lnTo>
                  <a:lnTo>
                    <a:pt x="0" y="8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61" name="Freeform 43"/>
            <p:cNvSpPr>
              <a:spLocks noChangeAspect="1"/>
            </p:cNvSpPr>
            <p:nvPr/>
          </p:nvSpPr>
          <p:spPr bwMode="auto">
            <a:xfrm>
              <a:off x="1940" y="1011"/>
              <a:ext cx="100" cy="58"/>
            </a:xfrm>
            <a:custGeom>
              <a:avLst/>
              <a:gdLst>
                <a:gd name="T0" fmla="*/ 0 w 111"/>
                <a:gd name="T1" fmla="*/ 48 h 58"/>
                <a:gd name="T2" fmla="*/ 5 w 111"/>
                <a:gd name="T3" fmla="*/ 48 h 58"/>
                <a:gd name="T4" fmla="*/ 5 w 111"/>
                <a:gd name="T5" fmla="*/ 58 h 58"/>
                <a:gd name="T6" fmla="*/ 5 w 111"/>
                <a:gd name="T7" fmla="*/ 41 h 58"/>
                <a:gd name="T8" fmla="*/ 5 w 111"/>
                <a:gd name="T9" fmla="*/ 41 h 58"/>
                <a:gd name="T10" fmla="*/ 5 w 111"/>
                <a:gd name="T11" fmla="*/ 53 h 58"/>
                <a:gd name="T12" fmla="*/ 5 w 111"/>
                <a:gd name="T13" fmla="*/ 45 h 58"/>
                <a:gd name="T14" fmla="*/ 5 w 111"/>
                <a:gd name="T15" fmla="*/ 9 h 58"/>
                <a:gd name="T16" fmla="*/ 5 w 111"/>
                <a:gd name="T17" fmla="*/ 0 h 58"/>
                <a:gd name="T18" fmla="*/ 5 w 111"/>
                <a:gd name="T19" fmla="*/ 17 h 58"/>
                <a:gd name="T20" fmla="*/ 5 w 111"/>
                <a:gd name="T21" fmla="*/ 40 h 58"/>
                <a:gd name="T22" fmla="*/ 0 w 111"/>
                <a:gd name="T23" fmla="*/ 48 h 5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"/>
                <a:gd name="T37" fmla="*/ 0 h 58"/>
                <a:gd name="T38" fmla="*/ 111 w 111"/>
                <a:gd name="T39" fmla="*/ 58 h 5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" h="58">
                  <a:moveTo>
                    <a:pt x="0" y="48"/>
                  </a:moveTo>
                  <a:lnTo>
                    <a:pt x="21" y="48"/>
                  </a:lnTo>
                  <a:lnTo>
                    <a:pt x="15" y="58"/>
                  </a:lnTo>
                  <a:lnTo>
                    <a:pt x="61" y="41"/>
                  </a:lnTo>
                  <a:lnTo>
                    <a:pt x="73" y="41"/>
                  </a:lnTo>
                  <a:lnTo>
                    <a:pt x="90" y="53"/>
                  </a:lnTo>
                  <a:lnTo>
                    <a:pt x="111" y="45"/>
                  </a:lnTo>
                  <a:lnTo>
                    <a:pt x="68" y="9"/>
                  </a:lnTo>
                  <a:lnTo>
                    <a:pt x="72" y="0"/>
                  </a:lnTo>
                  <a:lnTo>
                    <a:pt x="39" y="17"/>
                  </a:lnTo>
                  <a:lnTo>
                    <a:pt x="22" y="40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62" name="Freeform 44"/>
            <p:cNvSpPr>
              <a:spLocks noChangeAspect="1"/>
            </p:cNvSpPr>
            <p:nvPr/>
          </p:nvSpPr>
          <p:spPr bwMode="auto">
            <a:xfrm>
              <a:off x="2023" y="862"/>
              <a:ext cx="311" cy="234"/>
            </a:xfrm>
            <a:custGeom>
              <a:avLst/>
              <a:gdLst>
                <a:gd name="T0" fmla="*/ 0 w 345"/>
                <a:gd name="T1" fmla="*/ 38 h 234"/>
                <a:gd name="T2" fmla="*/ 5 w 345"/>
                <a:gd name="T3" fmla="*/ 64 h 234"/>
                <a:gd name="T4" fmla="*/ 5 w 345"/>
                <a:gd name="T5" fmla="*/ 70 h 234"/>
                <a:gd name="T6" fmla="*/ 5 w 345"/>
                <a:gd name="T7" fmla="*/ 71 h 234"/>
                <a:gd name="T8" fmla="*/ 5 w 345"/>
                <a:gd name="T9" fmla="*/ 80 h 234"/>
                <a:gd name="T10" fmla="*/ 5 w 345"/>
                <a:gd name="T11" fmla="*/ 67 h 234"/>
                <a:gd name="T12" fmla="*/ 5 w 345"/>
                <a:gd name="T13" fmla="*/ 75 h 234"/>
                <a:gd name="T14" fmla="*/ 5 w 345"/>
                <a:gd name="T15" fmla="*/ 84 h 234"/>
                <a:gd name="T16" fmla="*/ 5 w 345"/>
                <a:gd name="T17" fmla="*/ 98 h 234"/>
                <a:gd name="T18" fmla="*/ 5 w 345"/>
                <a:gd name="T19" fmla="*/ 91 h 234"/>
                <a:gd name="T20" fmla="*/ 5 w 345"/>
                <a:gd name="T21" fmla="*/ 100 h 234"/>
                <a:gd name="T22" fmla="*/ 5 w 345"/>
                <a:gd name="T23" fmla="*/ 108 h 234"/>
                <a:gd name="T24" fmla="*/ 5 w 345"/>
                <a:gd name="T25" fmla="*/ 126 h 234"/>
                <a:gd name="T26" fmla="*/ 5 w 345"/>
                <a:gd name="T27" fmla="*/ 146 h 234"/>
                <a:gd name="T28" fmla="*/ 5 w 345"/>
                <a:gd name="T29" fmla="*/ 157 h 234"/>
                <a:gd name="T30" fmla="*/ 5 w 345"/>
                <a:gd name="T31" fmla="*/ 163 h 234"/>
                <a:gd name="T32" fmla="*/ 5 w 345"/>
                <a:gd name="T33" fmla="*/ 160 h 234"/>
                <a:gd name="T34" fmla="*/ 5 w 345"/>
                <a:gd name="T35" fmla="*/ 177 h 234"/>
                <a:gd name="T36" fmla="*/ 5 w 345"/>
                <a:gd name="T37" fmla="*/ 185 h 234"/>
                <a:gd name="T38" fmla="*/ 5 w 345"/>
                <a:gd name="T39" fmla="*/ 180 h 234"/>
                <a:gd name="T40" fmla="*/ 5 w 345"/>
                <a:gd name="T41" fmla="*/ 190 h 234"/>
                <a:gd name="T42" fmla="*/ 5 w 345"/>
                <a:gd name="T43" fmla="*/ 196 h 234"/>
                <a:gd name="T44" fmla="*/ 5 w 345"/>
                <a:gd name="T45" fmla="*/ 205 h 234"/>
                <a:gd name="T46" fmla="*/ 5 w 345"/>
                <a:gd name="T47" fmla="*/ 211 h 234"/>
                <a:gd name="T48" fmla="*/ 5 w 345"/>
                <a:gd name="T49" fmla="*/ 229 h 234"/>
                <a:gd name="T50" fmla="*/ 5 w 345"/>
                <a:gd name="T51" fmla="*/ 234 h 234"/>
                <a:gd name="T52" fmla="*/ 5 w 345"/>
                <a:gd name="T53" fmla="*/ 225 h 234"/>
                <a:gd name="T54" fmla="*/ 5 w 345"/>
                <a:gd name="T55" fmla="*/ 202 h 234"/>
                <a:gd name="T56" fmla="*/ 5 w 345"/>
                <a:gd name="T57" fmla="*/ 194 h 234"/>
                <a:gd name="T58" fmla="*/ 5 w 345"/>
                <a:gd name="T59" fmla="*/ 213 h 234"/>
                <a:gd name="T60" fmla="*/ 5 w 345"/>
                <a:gd name="T61" fmla="*/ 213 h 234"/>
                <a:gd name="T62" fmla="*/ 5 w 345"/>
                <a:gd name="T63" fmla="*/ 198 h 234"/>
                <a:gd name="T64" fmla="*/ 5 w 345"/>
                <a:gd name="T65" fmla="*/ 190 h 234"/>
                <a:gd name="T66" fmla="*/ 5 w 345"/>
                <a:gd name="T67" fmla="*/ 180 h 234"/>
                <a:gd name="T68" fmla="*/ 5 w 345"/>
                <a:gd name="T69" fmla="*/ 155 h 234"/>
                <a:gd name="T70" fmla="*/ 5 w 345"/>
                <a:gd name="T71" fmla="*/ 141 h 234"/>
                <a:gd name="T72" fmla="*/ 5 w 345"/>
                <a:gd name="T73" fmla="*/ 152 h 234"/>
                <a:gd name="T74" fmla="*/ 5 w 345"/>
                <a:gd name="T75" fmla="*/ 163 h 234"/>
                <a:gd name="T76" fmla="*/ 5 w 345"/>
                <a:gd name="T77" fmla="*/ 171 h 234"/>
                <a:gd name="T78" fmla="*/ 5 w 345"/>
                <a:gd name="T79" fmla="*/ 137 h 234"/>
                <a:gd name="T80" fmla="*/ 5 w 345"/>
                <a:gd name="T81" fmla="*/ 109 h 234"/>
                <a:gd name="T82" fmla="*/ 5 w 345"/>
                <a:gd name="T83" fmla="*/ 109 h 234"/>
                <a:gd name="T84" fmla="*/ 5 w 345"/>
                <a:gd name="T85" fmla="*/ 100 h 234"/>
                <a:gd name="T86" fmla="*/ 5 w 345"/>
                <a:gd name="T87" fmla="*/ 91 h 234"/>
                <a:gd name="T88" fmla="*/ 5 w 345"/>
                <a:gd name="T89" fmla="*/ 88 h 234"/>
                <a:gd name="T90" fmla="*/ 5 w 345"/>
                <a:gd name="T91" fmla="*/ 80 h 234"/>
                <a:gd name="T92" fmla="*/ 5 w 345"/>
                <a:gd name="T93" fmla="*/ 71 h 234"/>
                <a:gd name="T94" fmla="*/ 5 w 345"/>
                <a:gd name="T95" fmla="*/ 44 h 234"/>
                <a:gd name="T96" fmla="*/ 5 w 345"/>
                <a:gd name="T97" fmla="*/ 38 h 234"/>
                <a:gd name="T98" fmla="*/ 5 w 345"/>
                <a:gd name="T99" fmla="*/ 23 h 234"/>
                <a:gd name="T100" fmla="*/ 5 w 345"/>
                <a:gd name="T101" fmla="*/ 19 h 234"/>
                <a:gd name="T102" fmla="*/ 5 w 345"/>
                <a:gd name="T103" fmla="*/ 31 h 234"/>
                <a:gd name="T104" fmla="*/ 5 w 345"/>
                <a:gd name="T105" fmla="*/ 4 h 234"/>
                <a:gd name="T106" fmla="*/ 5 w 345"/>
                <a:gd name="T107" fmla="*/ 2 h 234"/>
                <a:gd name="T108" fmla="*/ 5 w 345"/>
                <a:gd name="T109" fmla="*/ 15 h 234"/>
                <a:gd name="T110" fmla="*/ 5 w 345"/>
                <a:gd name="T111" fmla="*/ 40 h 234"/>
                <a:gd name="T112" fmla="*/ 5 w 345"/>
                <a:gd name="T113" fmla="*/ 34 h 234"/>
                <a:gd name="T114" fmla="*/ 5 w 345"/>
                <a:gd name="T115" fmla="*/ 19 h 234"/>
                <a:gd name="T116" fmla="*/ 5 w 345"/>
                <a:gd name="T117" fmla="*/ 1 h 234"/>
                <a:gd name="T118" fmla="*/ 5 w 345"/>
                <a:gd name="T119" fmla="*/ 0 h 234"/>
                <a:gd name="T120" fmla="*/ 5 w 345"/>
                <a:gd name="T121" fmla="*/ 13 h 234"/>
                <a:gd name="T122" fmla="*/ 0 w 345"/>
                <a:gd name="T123" fmla="*/ 38 h 2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45"/>
                <a:gd name="T187" fmla="*/ 0 h 234"/>
                <a:gd name="T188" fmla="*/ 345 w 345"/>
                <a:gd name="T189" fmla="*/ 234 h 2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45" h="234">
                  <a:moveTo>
                    <a:pt x="0" y="38"/>
                  </a:moveTo>
                  <a:lnTo>
                    <a:pt x="15" y="64"/>
                  </a:lnTo>
                  <a:lnTo>
                    <a:pt x="33" y="70"/>
                  </a:lnTo>
                  <a:lnTo>
                    <a:pt x="96" y="71"/>
                  </a:lnTo>
                  <a:lnTo>
                    <a:pt x="111" y="80"/>
                  </a:lnTo>
                  <a:lnTo>
                    <a:pt x="147" y="67"/>
                  </a:lnTo>
                  <a:lnTo>
                    <a:pt x="150" y="75"/>
                  </a:lnTo>
                  <a:lnTo>
                    <a:pt x="167" y="84"/>
                  </a:lnTo>
                  <a:lnTo>
                    <a:pt x="151" y="98"/>
                  </a:lnTo>
                  <a:lnTo>
                    <a:pt x="174" y="91"/>
                  </a:lnTo>
                  <a:lnTo>
                    <a:pt x="177" y="100"/>
                  </a:lnTo>
                  <a:lnTo>
                    <a:pt x="191" y="108"/>
                  </a:lnTo>
                  <a:lnTo>
                    <a:pt x="188" y="126"/>
                  </a:lnTo>
                  <a:lnTo>
                    <a:pt x="139" y="146"/>
                  </a:lnTo>
                  <a:lnTo>
                    <a:pt x="146" y="157"/>
                  </a:lnTo>
                  <a:lnTo>
                    <a:pt x="127" y="163"/>
                  </a:lnTo>
                  <a:lnTo>
                    <a:pt x="85" y="160"/>
                  </a:lnTo>
                  <a:lnTo>
                    <a:pt x="56" y="177"/>
                  </a:lnTo>
                  <a:lnTo>
                    <a:pt x="60" y="185"/>
                  </a:lnTo>
                  <a:lnTo>
                    <a:pt x="97" y="180"/>
                  </a:lnTo>
                  <a:lnTo>
                    <a:pt x="137" y="190"/>
                  </a:lnTo>
                  <a:lnTo>
                    <a:pt x="147" y="196"/>
                  </a:lnTo>
                  <a:lnTo>
                    <a:pt x="141" y="205"/>
                  </a:lnTo>
                  <a:lnTo>
                    <a:pt x="151" y="211"/>
                  </a:lnTo>
                  <a:lnTo>
                    <a:pt x="187" y="229"/>
                  </a:lnTo>
                  <a:lnTo>
                    <a:pt x="214" y="234"/>
                  </a:lnTo>
                  <a:lnTo>
                    <a:pt x="220" y="225"/>
                  </a:lnTo>
                  <a:lnTo>
                    <a:pt x="196" y="202"/>
                  </a:lnTo>
                  <a:lnTo>
                    <a:pt x="194" y="194"/>
                  </a:lnTo>
                  <a:lnTo>
                    <a:pt x="233" y="213"/>
                  </a:lnTo>
                  <a:lnTo>
                    <a:pt x="253" y="213"/>
                  </a:lnTo>
                  <a:lnTo>
                    <a:pt x="265" y="198"/>
                  </a:lnTo>
                  <a:lnTo>
                    <a:pt x="258" y="190"/>
                  </a:lnTo>
                  <a:lnTo>
                    <a:pt x="262" y="180"/>
                  </a:lnTo>
                  <a:lnTo>
                    <a:pt x="243" y="155"/>
                  </a:lnTo>
                  <a:lnTo>
                    <a:pt x="255" y="141"/>
                  </a:lnTo>
                  <a:lnTo>
                    <a:pt x="275" y="152"/>
                  </a:lnTo>
                  <a:lnTo>
                    <a:pt x="275" y="163"/>
                  </a:lnTo>
                  <a:lnTo>
                    <a:pt x="289" y="171"/>
                  </a:lnTo>
                  <a:lnTo>
                    <a:pt x="345" y="137"/>
                  </a:lnTo>
                  <a:lnTo>
                    <a:pt x="306" y="109"/>
                  </a:lnTo>
                  <a:lnTo>
                    <a:pt x="283" y="109"/>
                  </a:lnTo>
                  <a:lnTo>
                    <a:pt x="268" y="100"/>
                  </a:lnTo>
                  <a:lnTo>
                    <a:pt x="276" y="91"/>
                  </a:lnTo>
                  <a:lnTo>
                    <a:pt x="298" y="88"/>
                  </a:lnTo>
                  <a:lnTo>
                    <a:pt x="285" y="80"/>
                  </a:lnTo>
                  <a:lnTo>
                    <a:pt x="298" y="71"/>
                  </a:lnTo>
                  <a:lnTo>
                    <a:pt x="264" y="44"/>
                  </a:lnTo>
                  <a:lnTo>
                    <a:pt x="230" y="38"/>
                  </a:lnTo>
                  <a:lnTo>
                    <a:pt x="237" y="23"/>
                  </a:lnTo>
                  <a:lnTo>
                    <a:pt x="192" y="19"/>
                  </a:lnTo>
                  <a:lnTo>
                    <a:pt x="134" y="31"/>
                  </a:lnTo>
                  <a:lnTo>
                    <a:pt x="158" y="4"/>
                  </a:lnTo>
                  <a:lnTo>
                    <a:pt x="136" y="2"/>
                  </a:lnTo>
                  <a:lnTo>
                    <a:pt x="88" y="15"/>
                  </a:lnTo>
                  <a:lnTo>
                    <a:pt x="66" y="40"/>
                  </a:lnTo>
                  <a:lnTo>
                    <a:pt x="57" y="34"/>
                  </a:lnTo>
                  <a:lnTo>
                    <a:pt x="71" y="19"/>
                  </a:lnTo>
                  <a:lnTo>
                    <a:pt x="123" y="1"/>
                  </a:lnTo>
                  <a:lnTo>
                    <a:pt x="82" y="0"/>
                  </a:lnTo>
                  <a:lnTo>
                    <a:pt x="40" y="13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63" name="Freeform 45"/>
            <p:cNvSpPr>
              <a:spLocks noChangeAspect="1"/>
            </p:cNvSpPr>
            <p:nvPr/>
          </p:nvSpPr>
          <p:spPr bwMode="auto">
            <a:xfrm>
              <a:off x="2165" y="864"/>
              <a:ext cx="56" cy="17"/>
            </a:xfrm>
            <a:custGeom>
              <a:avLst/>
              <a:gdLst>
                <a:gd name="T0" fmla="*/ 4 w 63"/>
                <a:gd name="T1" fmla="*/ 0 h 17"/>
                <a:gd name="T2" fmla="*/ 0 w 63"/>
                <a:gd name="T3" fmla="*/ 13 h 17"/>
                <a:gd name="T4" fmla="*/ 4 w 63"/>
                <a:gd name="T5" fmla="*/ 17 h 17"/>
                <a:gd name="T6" fmla="*/ 4 w 63"/>
                <a:gd name="T7" fmla="*/ 16 h 17"/>
                <a:gd name="T8" fmla="*/ 4 w 63"/>
                <a:gd name="T9" fmla="*/ 2 h 17"/>
                <a:gd name="T10" fmla="*/ 4 w 63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3"/>
                <a:gd name="T19" fmla="*/ 0 h 17"/>
                <a:gd name="T20" fmla="*/ 63 w 63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3" h="17">
                  <a:moveTo>
                    <a:pt x="13" y="0"/>
                  </a:moveTo>
                  <a:lnTo>
                    <a:pt x="0" y="13"/>
                  </a:lnTo>
                  <a:lnTo>
                    <a:pt x="17" y="17"/>
                  </a:lnTo>
                  <a:lnTo>
                    <a:pt x="53" y="16"/>
                  </a:lnTo>
                  <a:lnTo>
                    <a:pt x="63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64" name="Freeform 46"/>
            <p:cNvSpPr>
              <a:spLocks noChangeAspect="1"/>
            </p:cNvSpPr>
            <p:nvPr/>
          </p:nvSpPr>
          <p:spPr bwMode="auto">
            <a:xfrm>
              <a:off x="2036" y="806"/>
              <a:ext cx="176" cy="46"/>
            </a:xfrm>
            <a:custGeom>
              <a:avLst/>
              <a:gdLst>
                <a:gd name="T0" fmla="*/ 4 w 196"/>
                <a:gd name="T1" fmla="*/ 0 h 46"/>
                <a:gd name="T2" fmla="*/ 0 w 196"/>
                <a:gd name="T3" fmla="*/ 6 h 46"/>
                <a:gd name="T4" fmla="*/ 4 w 196"/>
                <a:gd name="T5" fmla="*/ 13 h 46"/>
                <a:gd name="T6" fmla="*/ 4 w 196"/>
                <a:gd name="T7" fmla="*/ 16 h 46"/>
                <a:gd name="T8" fmla="*/ 4 w 196"/>
                <a:gd name="T9" fmla="*/ 40 h 46"/>
                <a:gd name="T10" fmla="*/ 4 w 196"/>
                <a:gd name="T11" fmla="*/ 43 h 46"/>
                <a:gd name="T12" fmla="*/ 4 w 196"/>
                <a:gd name="T13" fmla="*/ 46 h 46"/>
                <a:gd name="T14" fmla="*/ 4 w 196"/>
                <a:gd name="T15" fmla="*/ 40 h 46"/>
                <a:gd name="T16" fmla="*/ 4 w 196"/>
                <a:gd name="T17" fmla="*/ 43 h 46"/>
                <a:gd name="T18" fmla="*/ 4 w 196"/>
                <a:gd name="T19" fmla="*/ 41 h 46"/>
                <a:gd name="T20" fmla="*/ 4 w 196"/>
                <a:gd name="T21" fmla="*/ 26 h 46"/>
                <a:gd name="T22" fmla="*/ 4 w 196"/>
                <a:gd name="T23" fmla="*/ 23 h 46"/>
                <a:gd name="T24" fmla="*/ 4 w 196"/>
                <a:gd name="T25" fmla="*/ 18 h 46"/>
                <a:gd name="T26" fmla="*/ 4 w 196"/>
                <a:gd name="T27" fmla="*/ 14 h 46"/>
                <a:gd name="T28" fmla="*/ 4 w 196"/>
                <a:gd name="T29" fmla="*/ 6 h 46"/>
                <a:gd name="T30" fmla="*/ 4 w 196"/>
                <a:gd name="T31" fmla="*/ 0 h 4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6"/>
                <a:gd name="T49" fmla="*/ 0 h 46"/>
                <a:gd name="T50" fmla="*/ 196 w 196"/>
                <a:gd name="T51" fmla="*/ 46 h 4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6" h="46">
                  <a:moveTo>
                    <a:pt x="8" y="0"/>
                  </a:moveTo>
                  <a:lnTo>
                    <a:pt x="0" y="6"/>
                  </a:lnTo>
                  <a:lnTo>
                    <a:pt x="6" y="13"/>
                  </a:lnTo>
                  <a:lnTo>
                    <a:pt x="41" y="16"/>
                  </a:lnTo>
                  <a:lnTo>
                    <a:pt x="17" y="40"/>
                  </a:lnTo>
                  <a:lnTo>
                    <a:pt x="40" y="43"/>
                  </a:lnTo>
                  <a:lnTo>
                    <a:pt x="109" y="46"/>
                  </a:lnTo>
                  <a:lnTo>
                    <a:pt x="131" y="40"/>
                  </a:lnTo>
                  <a:lnTo>
                    <a:pt x="146" y="43"/>
                  </a:lnTo>
                  <a:lnTo>
                    <a:pt x="173" y="41"/>
                  </a:lnTo>
                  <a:lnTo>
                    <a:pt x="196" y="26"/>
                  </a:lnTo>
                  <a:lnTo>
                    <a:pt x="80" y="23"/>
                  </a:lnTo>
                  <a:lnTo>
                    <a:pt x="66" y="18"/>
                  </a:lnTo>
                  <a:lnTo>
                    <a:pt x="76" y="14"/>
                  </a:lnTo>
                  <a:lnTo>
                    <a:pt x="65" y="6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65" name="Freeform 47"/>
            <p:cNvSpPr>
              <a:spLocks noChangeAspect="1"/>
            </p:cNvSpPr>
            <p:nvPr/>
          </p:nvSpPr>
          <p:spPr bwMode="auto">
            <a:xfrm>
              <a:off x="2106" y="738"/>
              <a:ext cx="108" cy="48"/>
            </a:xfrm>
            <a:custGeom>
              <a:avLst/>
              <a:gdLst>
                <a:gd name="T0" fmla="*/ 5 w 120"/>
                <a:gd name="T1" fmla="*/ 18 h 48"/>
                <a:gd name="T2" fmla="*/ 5 w 120"/>
                <a:gd name="T3" fmla="*/ 29 h 48"/>
                <a:gd name="T4" fmla="*/ 0 w 120"/>
                <a:gd name="T5" fmla="*/ 42 h 48"/>
                <a:gd name="T6" fmla="*/ 5 w 120"/>
                <a:gd name="T7" fmla="*/ 48 h 48"/>
                <a:gd name="T8" fmla="*/ 5 w 120"/>
                <a:gd name="T9" fmla="*/ 48 h 48"/>
                <a:gd name="T10" fmla="*/ 5 w 120"/>
                <a:gd name="T11" fmla="*/ 24 h 48"/>
                <a:gd name="T12" fmla="*/ 5 w 120"/>
                <a:gd name="T13" fmla="*/ 22 h 48"/>
                <a:gd name="T14" fmla="*/ 5 w 120"/>
                <a:gd name="T15" fmla="*/ 16 h 48"/>
                <a:gd name="T16" fmla="*/ 5 w 120"/>
                <a:gd name="T17" fmla="*/ 11 h 48"/>
                <a:gd name="T18" fmla="*/ 5 w 120"/>
                <a:gd name="T19" fmla="*/ 0 h 48"/>
                <a:gd name="T20" fmla="*/ 5 w 120"/>
                <a:gd name="T21" fmla="*/ 0 h 48"/>
                <a:gd name="T22" fmla="*/ 5 w 120"/>
                <a:gd name="T23" fmla="*/ 18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0"/>
                <a:gd name="T37" fmla="*/ 0 h 48"/>
                <a:gd name="T38" fmla="*/ 120 w 120"/>
                <a:gd name="T39" fmla="*/ 48 h 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0" h="48">
                  <a:moveTo>
                    <a:pt x="13" y="18"/>
                  </a:moveTo>
                  <a:lnTo>
                    <a:pt x="20" y="29"/>
                  </a:lnTo>
                  <a:lnTo>
                    <a:pt x="0" y="42"/>
                  </a:lnTo>
                  <a:lnTo>
                    <a:pt x="9" y="48"/>
                  </a:lnTo>
                  <a:lnTo>
                    <a:pt x="46" y="48"/>
                  </a:lnTo>
                  <a:lnTo>
                    <a:pt x="120" y="24"/>
                  </a:lnTo>
                  <a:lnTo>
                    <a:pt x="99" y="22"/>
                  </a:lnTo>
                  <a:lnTo>
                    <a:pt x="115" y="16"/>
                  </a:lnTo>
                  <a:lnTo>
                    <a:pt x="83" y="11"/>
                  </a:lnTo>
                  <a:lnTo>
                    <a:pt x="77" y="0"/>
                  </a:lnTo>
                  <a:lnTo>
                    <a:pt x="58" y="0"/>
                  </a:lnTo>
                  <a:lnTo>
                    <a:pt x="13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66" name="Freeform 48"/>
            <p:cNvSpPr>
              <a:spLocks noChangeAspect="1"/>
            </p:cNvSpPr>
            <p:nvPr/>
          </p:nvSpPr>
          <p:spPr bwMode="auto">
            <a:xfrm>
              <a:off x="2110" y="712"/>
              <a:ext cx="424" cy="108"/>
            </a:xfrm>
            <a:custGeom>
              <a:avLst/>
              <a:gdLst>
                <a:gd name="T0" fmla="*/ 5 w 470"/>
                <a:gd name="T1" fmla="*/ 22 h 108"/>
                <a:gd name="T2" fmla="*/ 5 w 470"/>
                <a:gd name="T3" fmla="*/ 29 h 108"/>
                <a:gd name="T4" fmla="*/ 5 w 470"/>
                <a:gd name="T5" fmla="*/ 34 h 108"/>
                <a:gd name="T6" fmla="*/ 5 w 470"/>
                <a:gd name="T7" fmla="*/ 38 h 108"/>
                <a:gd name="T8" fmla="*/ 5 w 470"/>
                <a:gd name="T9" fmla="*/ 46 h 108"/>
                <a:gd name="T10" fmla="*/ 5 w 470"/>
                <a:gd name="T11" fmla="*/ 49 h 108"/>
                <a:gd name="T12" fmla="*/ 5 w 470"/>
                <a:gd name="T13" fmla="*/ 62 h 108"/>
                <a:gd name="T14" fmla="*/ 5 w 470"/>
                <a:gd name="T15" fmla="*/ 74 h 108"/>
                <a:gd name="T16" fmla="*/ 5 w 470"/>
                <a:gd name="T17" fmla="*/ 78 h 108"/>
                <a:gd name="T18" fmla="*/ 5 w 470"/>
                <a:gd name="T19" fmla="*/ 80 h 108"/>
                <a:gd name="T20" fmla="*/ 5 w 470"/>
                <a:gd name="T21" fmla="*/ 86 h 108"/>
                <a:gd name="T22" fmla="*/ 5 w 470"/>
                <a:gd name="T23" fmla="*/ 90 h 108"/>
                <a:gd name="T24" fmla="*/ 5 w 470"/>
                <a:gd name="T25" fmla="*/ 97 h 108"/>
                <a:gd name="T26" fmla="*/ 0 w 470"/>
                <a:gd name="T27" fmla="*/ 105 h 108"/>
                <a:gd name="T28" fmla="*/ 5 w 470"/>
                <a:gd name="T29" fmla="*/ 102 h 108"/>
                <a:gd name="T30" fmla="*/ 5 w 470"/>
                <a:gd name="T31" fmla="*/ 108 h 108"/>
                <a:gd name="T32" fmla="*/ 5 w 470"/>
                <a:gd name="T33" fmla="*/ 97 h 108"/>
                <a:gd name="T34" fmla="*/ 5 w 470"/>
                <a:gd name="T35" fmla="*/ 90 h 108"/>
                <a:gd name="T36" fmla="*/ 5 w 470"/>
                <a:gd name="T37" fmla="*/ 84 h 108"/>
                <a:gd name="T38" fmla="*/ 5 w 470"/>
                <a:gd name="T39" fmla="*/ 78 h 108"/>
                <a:gd name="T40" fmla="*/ 5 w 470"/>
                <a:gd name="T41" fmla="*/ 77 h 108"/>
                <a:gd name="T42" fmla="*/ 5 w 470"/>
                <a:gd name="T43" fmla="*/ 53 h 108"/>
                <a:gd name="T44" fmla="*/ 5 w 470"/>
                <a:gd name="T45" fmla="*/ 9 h 108"/>
                <a:gd name="T46" fmla="*/ 5 w 470"/>
                <a:gd name="T47" fmla="*/ 0 h 108"/>
                <a:gd name="T48" fmla="*/ 5 w 470"/>
                <a:gd name="T49" fmla="*/ 0 h 108"/>
                <a:gd name="T50" fmla="*/ 5 w 470"/>
                <a:gd name="T51" fmla="*/ 22 h 10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70"/>
                <a:gd name="T79" fmla="*/ 0 h 108"/>
                <a:gd name="T80" fmla="*/ 470 w 470"/>
                <a:gd name="T81" fmla="*/ 108 h 10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70" h="108">
                  <a:moveTo>
                    <a:pt x="96" y="22"/>
                  </a:moveTo>
                  <a:lnTo>
                    <a:pt x="93" y="29"/>
                  </a:lnTo>
                  <a:lnTo>
                    <a:pt x="107" y="34"/>
                  </a:lnTo>
                  <a:lnTo>
                    <a:pt x="133" y="38"/>
                  </a:lnTo>
                  <a:lnTo>
                    <a:pt x="111" y="46"/>
                  </a:lnTo>
                  <a:lnTo>
                    <a:pt x="127" y="49"/>
                  </a:lnTo>
                  <a:lnTo>
                    <a:pt x="116" y="62"/>
                  </a:lnTo>
                  <a:lnTo>
                    <a:pt x="62" y="74"/>
                  </a:lnTo>
                  <a:lnTo>
                    <a:pt x="83" y="78"/>
                  </a:lnTo>
                  <a:lnTo>
                    <a:pt x="50" y="80"/>
                  </a:lnTo>
                  <a:lnTo>
                    <a:pt x="42" y="86"/>
                  </a:lnTo>
                  <a:lnTo>
                    <a:pt x="51" y="90"/>
                  </a:lnTo>
                  <a:lnTo>
                    <a:pt x="10" y="97"/>
                  </a:lnTo>
                  <a:lnTo>
                    <a:pt x="0" y="105"/>
                  </a:lnTo>
                  <a:lnTo>
                    <a:pt x="108" y="102"/>
                  </a:lnTo>
                  <a:lnTo>
                    <a:pt x="110" y="108"/>
                  </a:lnTo>
                  <a:lnTo>
                    <a:pt x="165" y="97"/>
                  </a:lnTo>
                  <a:lnTo>
                    <a:pt x="153" y="90"/>
                  </a:lnTo>
                  <a:lnTo>
                    <a:pt x="181" y="84"/>
                  </a:lnTo>
                  <a:lnTo>
                    <a:pt x="182" y="78"/>
                  </a:lnTo>
                  <a:lnTo>
                    <a:pt x="213" y="77"/>
                  </a:lnTo>
                  <a:lnTo>
                    <a:pt x="264" y="53"/>
                  </a:lnTo>
                  <a:lnTo>
                    <a:pt x="470" y="9"/>
                  </a:lnTo>
                  <a:lnTo>
                    <a:pt x="376" y="0"/>
                  </a:lnTo>
                  <a:lnTo>
                    <a:pt x="292" y="0"/>
                  </a:lnTo>
                  <a:lnTo>
                    <a:pt x="96" y="2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67" name="Freeform 49"/>
            <p:cNvSpPr>
              <a:spLocks noChangeAspect="1"/>
            </p:cNvSpPr>
            <p:nvPr/>
          </p:nvSpPr>
          <p:spPr bwMode="auto">
            <a:xfrm>
              <a:off x="1970" y="769"/>
              <a:ext cx="108" cy="25"/>
            </a:xfrm>
            <a:custGeom>
              <a:avLst/>
              <a:gdLst>
                <a:gd name="T0" fmla="*/ 0 w 119"/>
                <a:gd name="T1" fmla="*/ 0 h 25"/>
                <a:gd name="T2" fmla="*/ 5 w 119"/>
                <a:gd name="T3" fmla="*/ 6 h 25"/>
                <a:gd name="T4" fmla="*/ 0 w 119"/>
                <a:gd name="T5" fmla="*/ 11 h 25"/>
                <a:gd name="T6" fmla="*/ 5 w 119"/>
                <a:gd name="T7" fmla="*/ 15 h 25"/>
                <a:gd name="T8" fmla="*/ 5 w 119"/>
                <a:gd name="T9" fmla="*/ 17 h 25"/>
                <a:gd name="T10" fmla="*/ 5 w 119"/>
                <a:gd name="T11" fmla="*/ 25 h 25"/>
                <a:gd name="T12" fmla="*/ 5 w 119"/>
                <a:gd name="T13" fmla="*/ 15 h 25"/>
                <a:gd name="T14" fmla="*/ 5 w 119"/>
                <a:gd name="T15" fmla="*/ 5 h 25"/>
                <a:gd name="T16" fmla="*/ 5 w 119"/>
                <a:gd name="T17" fmla="*/ 19 h 25"/>
                <a:gd name="T18" fmla="*/ 5 w 119"/>
                <a:gd name="T19" fmla="*/ 17 h 25"/>
                <a:gd name="T20" fmla="*/ 5 w 119"/>
                <a:gd name="T21" fmla="*/ 5 h 25"/>
                <a:gd name="T22" fmla="*/ 5 w 119"/>
                <a:gd name="T23" fmla="*/ 0 h 25"/>
                <a:gd name="T24" fmla="*/ 0 w 119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9"/>
                <a:gd name="T40" fmla="*/ 0 h 25"/>
                <a:gd name="T41" fmla="*/ 119 w 119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9" h="25">
                  <a:moveTo>
                    <a:pt x="0" y="0"/>
                  </a:moveTo>
                  <a:lnTo>
                    <a:pt x="18" y="6"/>
                  </a:lnTo>
                  <a:lnTo>
                    <a:pt x="0" y="11"/>
                  </a:lnTo>
                  <a:lnTo>
                    <a:pt x="5" y="15"/>
                  </a:lnTo>
                  <a:lnTo>
                    <a:pt x="45" y="17"/>
                  </a:lnTo>
                  <a:lnTo>
                    <a:pt x="46" y="25"/>
                  </a:lnTo>
                  <a:lnTo>
                    <a:pt x="119" y="15"/>
                  </a:lnTo>
                  <a:lnTo>
                    <a:pt x="100" y="5"/>
                  </a:lnTo>
                  <a:lnTo>
                    <a:pt x="73" y="19"/>
                  </a:lnTo>
                  <a:lnTo>
                    <a:pt x="61" y="17"/>
                  </a:lnTo>
                  <a:lnTo>
                    <a:pt x="73" y="5"/>
                  </a:lnTo>
                  <a:lnTo>
                    <a:pt x="6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68" name="Freeform 50"/>
            <p:cNvSpPr>
              <a:spLocks noChangeAspect="1"/>
            </p:cNvSpPr>
            <p:nvPr/>
          </p:nvSpPr>
          <p:spPr bwMode="auto">
            <a:xfrm>
              <a:off x="1928" y="811"/>
              <a:ext cx="79" cy="29"/>
            </a:xfrm>
            <a:custGeom>
              <a:avLst/>
              <a:gdLst>
                <a:gd name="T0" fmla="*/ 0 w 88"/>
                <a:gd name="T1" fmla="*/ 2 h 29"/>
                <a:gd name="T2" fmla="*/ 0 w 88"/>
                <a:gd name="T3" fmla="*/ 23 h 29"/>
                <a:gd name="T4" fmla="*/ 4 w 88"/>
                <a:gd name="T5" fmla="*/ 19 h 29"/>
                <a:gd name="T6" fmla="*/ 4 w 88"/>
                <a:gd name="T7" fmla="*/ 29 h 29"/>
                <a:gd name="T8" fmla="*/ 4 w 88"/>
                <a:gd name="T9" fmla="*/ 29 h 29"/>
                <a:gd name="T10" fmla="*/ 4 w 88"/>
                <a:gd name="T11" fmla="*/ 6 h 29"/>
                <a:gd name="T12" fmla="*/ 4 w 88"/>
                <a:gd name="T13" fmla="*/ 0 h 29"/>
                <a:gd name="T14" fmla="*/ 4 w 88"/>
                <a:gd name="T15" fmla="*/ 12 h 29"/>
                <a:gd name="T16" fmla="*/ 4 w 88"/>
                <a:gd name="T17" fmla="*/ 1 h 29"/>
                <a:gd name="T18" fmla="*/ 0 w 88"/>
                <a:gd name="T19" fmla="*/ 2 h 2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8"/>
                <a:gd name="T31" fmla="*/ 0 h 29"/>
                <a:gd name="T32" fmla="*/ 88 w 88"/>
                <a:gd name="T33" fmla="*/ 29 h 2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8" h="29">
                  <a:moveTo>
                    <a:pt x="0" y="2"/>
                  </a:moveTo>
                  <a:lnTo>
                    <a:pt x="0" y="23"/>
                  </a:lnTo>
                  <a:lnTo>
                    <a:pt x="24" y="19"/>
                  </a:lnTo>
                  <a:lnTo>
                    <a:pt x="24" y="29"/>
                  </a:lnTo>
                  <a:lnTo>
                    <a:pt x="56" y="29"/>
                  </a:lnTo>
                  <a:lnTo>
                    <a:pt x="88" y="6"/>
                  </a:lnTo>
                  <a:lnTo>
                    <a:pt x="52" y="0"/>
                  </a:lnTo>
                  <a:lnTo>
                    <a:pt x="27" y="12"/>
                  </a:lnTo>
                  <a:lnTo>
                    <a:pt x="14" y="1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69" name="Freeform 51"/>
            <p:cNvSpPr>
              <a:spLocks noChangeAspect="1"/>
            </p:cNvSpPr>
            <p:nvPr/>
          </p:nvSpPr>
          <p:spPr bwMode="auto">
            <a:xfrm>
              <a:off x="1879" y="857"/>
              <a:ext cx="89" cy="52"/>
            </a:xfrm>
            <a:custGeom>
              <a:avLst/>
              <a:gdLst>
                <a:gd name="T0" fmla="*/ 1 w 99"/>
                <a:gd name="T1" fmla="*/ 22 h 52"/>
                <a:gd name="T2" fmla="*/ 0 w 99"/>
                <a:gd name="T3" fmla="*/ 35 h 52"/>
                <a:gd name="T4" fmla="*/ 4 w 99"/>
                <a:gd name="T5" fmla="*/ 35 h 52"/>
                <a:gd name="T6" fmla="*/ 4 w 99"/>
                <a:gd name="T7" fmla="*/ 52 h 52"/>
                <a:gd name="T8" fmla="*/ 4 w 99"/>
                <a:gd name="T9" fmla="*/ 42 h 52"/>
                <a:gd name="T10" fmla="*/ 4 w 99"/>
                <a:gd name="T11" fmla="*/ 20 h 52"/>
                <a:gd name="T12" fmla="*/ 4 w 99"/>
                <a:gd name="T13" fmla="*/ 18 h 52"/>
                <a:gd name="T14" fmla="*/ 4 w 99"/>
                <a:gd name="T15" fmla="*/ 8 h 52"/>
                <a:gd name="T16" fmla="*/ 4 w 99"/>
                <a:gd name="T17" fmla="*/ 0 h 52"/>
                <a:gd name="T18" fmla="*/ 4 w 99"/>
                <a:gd name="T19" fmla="*/ 5 h 52"/>
                <a:gd name="T20" fmla="*/ 4 w 99"/>
                <a:gd name="T21" fmla="*/ 11 h 52"/>
                <a:gd name="T22" fmla="*/ 4 w 99"/>
                <a:gd name="T23" fmla="*/ 20 h 52"/>
                <a:gd name="T24" fmla="*/ 1 w 99"/>
                <a:gd name="T25" fmla="*/ 22 h 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9"/>
                <a:gd name="T40" fmla="*/ 0 h 52"/>
                <a:gd name="T41" fmla="*/ 99 w 99"/>
                <a:gd name="T42" fmla="*/ 52 h 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9" h="52">
                  <a:moveTo>
                    <a:pt x="1" y="22"/>
                  </a:moveTo>
                  <a:lnTo>
                    <a:pt x="0" y="35"/>
                  </a:lnTo>
                  <a:lnTo>
                    <a:pt x="16" y="35"/>
                  </a:lnTo>
                  <a:lnTo>
                    <a:pt x="25" y="52"/>
                  </a:lnTo>
                  <a:lnTo>
                    <a:pt x="71" y="42"/>
                  </a:lnTo>
                  <a:lnTo>
                    <a:pt x="90" y="20"/>
                  </a:lnTo>
                  <a:lnTo>
                    <a:pt x="74" y="18"/>
                  </a:lnTo>
                  <a:lnTo>
                    <a:pt x="97" y="8"/>
                  </a:lnTo>
                  <a:lnTo>
                    <a:pt x="99" y="0"/>
                  </a:lnTo>
                  <a:lnTo>
                    <a:pt x="44" y="5"/>
                  </a:lnTo>
                  <a:lnTo>
                    <a:pt x="34" y="11"/>
                  </a:lnTo>
                  <a:lnTo>
                    <a:pt x="38" y="20"/>
                  </a:lnTo>
                  <a:lnTo>
                    <a:pt x="1" y="2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70" name="Freeform 52"/>
            <p:cNvSpPr>
              <a:spLocks noChangeAspect="1"/>
            </p:cNvSpPr>
            <p:nvPr/>
          </p:nvSpPr>
          <p:spPr bwMode="auto">
            <a:xfrm>
              <a:off x="1833" y="788"/>
              <a:ext cx="20" cy="6"/>
            </a:xfrm>
            <a:custGeom>
              <a:avLst/>
              <a:gdLst>
                <a:gd name="T0" fmla="*/ 0 w 22"/>
                <a:gd name="T1" fmla="*/ 2 h 6"/>
                <a:gd name="T2" fmla="*/ 5 w 22"/>
                <a:gd name="T3" fmla="*/ 6 h 6"/>
                <a:gd name="T4" fmla="*/ 5 w 22"/>
                <a:gd name="T5" fmla="*/ 0 h 6"/>
                <a:gd name="T6" fmla="*/ 0 w 22"/>
                <a:gd name="T7" fmla="*/ 2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6"/>
                <a:gd name="T14" fmla="*/ 22 w 2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6">
                  <a:moveTo>
                    <a:pt x="0" y="2"/>
                  </a:moveTo>
                  <a:lnTo>
                    <a:pt x="15" y="6"/>
                  </a:lnTo>
                  <a:lnTo>
                    <a:pt x="2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71" name="Freeform 53"/>
            <p:cNvSpPr>
              <a:spLocks noChangeAspect="1"/>
            </p:cNvSpPr>
            <p:nvPr/>
          </p:nvSpPr>
          <p:spPr bwMode="auto">
            <a:xfrm>
              <a:off x="1729" y="822"/>
              <a:ext cx="35" cy="10"/>
            </a:xfrm>
            <a:custGeom>
              <a:avLst/>
              <a:gdLst>
                <a:gd name="T0" fmla="*/ 0 w 38"/>
                <a:gd name="T1" fmla="*/ 9 h 10"/>
                <a:gd name="T2" fmla="*/ 6 w 38"/>
                <a:gd name="T3" fmla="*/ 10 h 10"/>
                <a:gd name="T4" fmla="*/ 6 w 38"/>
                <a:gd name="T5" fmla="*/ 0 h 10"/>
                <a:gd name="T6" fmla="*/ 0 w 38"/>
                <a:gd name="T7" fmla="*/ 9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8"/>
                <a:gd name="T13" fmla="*/ 0 h 10"/>
                <a:gd name="T14" fmla="*/ 38 w 38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" h="10">
                  <a:moveTo>
                    <a:pt x="0" y="9"/>
                  </a:moveTo>
                  <a:lnTo>
                    <a:pt x="11" y="10"/>
                  </a:lnTo>
                  <a:lnTo>
                    <a:pt x="38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72" name="Freeform 54"/>
            <p:cNvSpPr>
              <a:spLocks noChangeAspect="1"/>
            </p:cNvSpPr>
            <p:nvPr/>
          </p:nvSpPr>
          <p:spPr bwMode="auto">
            <a:xfrm>
              <a:off x="1690" y="800"/>
              <a:ext cx="130" cy="26"/>
            </a:xfrm>
            <a:custGeom>
              <a:avLst/>
              <a:gdLst>
                <a:gd name="T0" fmla="*/ 0 w 145"/>
                <a:gd name="T1" fmla="*/ 19 h 26"/>
                <a:gd name="T2" fmla="*/ 4 w 145"/>
                <a:gd name="T3" fmla="*/ 25 h 26"/>
                <a:gd name="T4" fmla="*/ 4 w 145"/>
                <a:gd name="T5" fmla="*/ 26 h 26"/>
                <a:gd name="T6" fmla="*/ 4 w 145"/>
                <a:gd name="T7" fmla="*/ 14 h 26"/>
                <a:gd name="T8" fmla="*/ 4 w 145"/>
                <a:gd name="T9" fmla="*/ 18 h 26"/>
                <a:gd name="T10" fmla="*/ 4 w 145"/>
                <a:gd name="T11" fmla="*/ 0 h 26"/>
                <a:gd name="T12" fmla="*/ 4 w 145"/>
                <a:gd name="T13" fmla="*/ 0 h 26"/>
                <a:gd name="T14" fmla="*/ 0 w 145"/>
                <a:gd name="T15" fmla="*/ 19 h 2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5"/>
                <a:gd name="T25" fmla="*/ 0 h 26"/>
                <a:gd name="T26" fmla="*/ 145 w 145"/>
                <a:gd name="T27" fmla="*/ 26 h 2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5" h="26">
                  <a:moveTo>
                    <a:pt x="0" y="19"/>
                  </a:moveTo>
                  <a:lnTo>
                    <a:pt x="4" y="25"/>
                  </a:lnTo>
                  <a:lnTo>
                    <a:pt x="37" y="26"/>
                  </a:lnTo>
                  <a:lnTo>
                    <a:pt x="77" y="14"/>
                  </a:lnTo>
                  <a:lnTo>
                    <a:pt x="90" y="18"/>
                  </a:lnTo>
                  <a:lnTo>
                    <a:pt x="145" y="0"/>
                  </a:lnTo>
                  <a:lnTo>
                    <a:pt x="94" y="0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73" name="Freeform 55"/>
            <p:cNvSpPr>
              <a:spLocks noChangeAspect="1"/>
            </p:cNvSpPr>
            <p:nvPr/>
          </p:nvSpPr>
          <p:spPr bwMode="auto">
            <a:xfrm>
              <a:off x="1744" y="809"/>
              <a:ext cx="161" cy="43"/>
            </a:xfrm>
            <a:custGeom>
              <a:avLst/>
              <a:gdLst>
                <a:gd name="T0" fmla="*/ 0 w 178"/>
                <a:gd name="T1" fmla="*/ 27 h 43"/>
                <a:gd name="T2" fmla="*/ 5 w 178"/>
                <a:gd name="T3" fmla="*/ 32 h 43"/>
                <a:gd name="T4" fmla="*/ 5 w 178"/>
                <a:gd name="T5" fmla="*/ 27 h 43"/>
                <a:gd name="T6" fmla="*/ 5 w 178"/>
                <a:gd name="T7" fmla="*/ 33 h 43"/>
                <a:gd name="T8" fmla="*/ 5 w 178"/>
                <a:gd name="T9" fmla="*/ 37 h 43"/>
                <a:gd name="T10" fmla="*/ 5 w 178"/>
                <a:gd name="T11" fmla="*/ 43 h 43"/>
                <a:gd name="T12" fmla="*/ 5 w 178"/>
                <a:gd name="T13" fmla="*/ 32 h 43"/>
                <a:gd name="T14" fmla="*/ 5 w 178"/>
                <a:gd name="T15" fmla="*/ 16 h 43"/>
                <a:gd name="T16" fmla="*/ 5 w 178"/>
                <a:gd name="T17" fmla="*/ 9 h 43"/>
                <a:gd name="T18" fmla="*/ 5 w 178"/>
                <a:gd name="T19" fmla="*/ 0 h 43"/>
                <a:gd name="T20" fmla="*/ 5 w 178"/>
                <a:gd name="T21" fmla="*/ 10 h 43"/>
                <a:gd name="T22" fmla="*/ 5 w 178"/>
                <a:gd name="T23" fmla="*/ 13 h 43"/>
                <a:gd name="T24" fmla="*/ 5 w 178"/>
                <a:gd name="T25" fmla="*/ 17 h 43"/>
                <a:gd name="T26" fmla="*/ 5 w 178"/>
                <a:gd name="T27" fmla="*/ 23 h 43"/>
                <a:gd name="T28" fmla="*/ 5 w 178"/>
                <a:gd name="T29" fmla="*/ 22 h 43"/>
                <a:gd name="T30" fmla="*/ 5 w 178"/>
                <a:gd name="T31" fmla="*/ 11 h 43"/>
                <a:gd name="T32" fmla="*/ 5 w 178"/>
                <a:gd name="T33" fmla="*/ 6 h 43"/>
                <a:gd name="T34" fmla="*/ 0 w 178"/>
                <a:gd name="T35" fmla="*/ 2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8"/>
                <a:gd name="T55" fmla="*/ 0 h 43"/>
                <a:gd name="T56" fmla="*/ 178 w 178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8" h="43">
                  <a:moveTo>
                    <a:pt x="0" y="27"/>
                  </a:moveTo>
                  <a:lnTo>
                    <a:pt x="27" y="32"/>
                  </a:lnTo>
                  <a:lnTo>
                    <a:pt x="47" y="27"/>
                  </a:lnTo>
                  <a:lnTo>
                    <a:pt x="53" y="33"/>
                  </a:lnTo>
                  <a:lnTo>
                    <a:pt x="31" y="37"/>
                  </a:lnTo>
                  <a:lnTo>
                    <a:pt x="48" y="43"/>
                  </a:lnTo>
                  <a:lnTo>
                    <a:pt x="153" y="32"/>
                  </a:lnTo>
                  <a:lnTo>
                    <a:pt x="178" y="16"/>
                  </a:lnTo>
                  <a:lnTo>
                    <a:pt x="150" y="9"/>
                  </a:lnTo>
                  <a:lnTo>
                    <a:pt x="154" y="0"/>
                  </a:lnTo>
                  <a:lnTo>
                    <a:pt x="120" y="10"/>
                  </a:lnTo>
                  <a:lnTo>
                    <a:pt x="128" y="13"/>
                  </a:lnTo>
                  <a:lnTo>
                    <a:pt x="119" y="17"/>
                  </a:lnTo>
                  <a:lnTo>
                    <a:pt x="119" y="23"/>
                  </a:lnTo>
                  <a:lnTo>
                    <a:pt x="93" y="22"/>
                  </a:lnTo>
                  <a:lnTo>
                    <a:pt x="91" y="11"/>
                  </a:lnTo>
                  <a:lnTo>
                    <a:pt x="58" y="6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74" name="Freeform 56"/>
            <p:cNvSpPr>
              <a:spLocks noChangeAspect="1"/>
            </p:cNvSpPr>
            <p:nvPr/>
          </p:nvSpPr>
          <p:spPr bwMode="auto">
            <a:xfrm>
              <a:off x="1638" y="865"/>
              <a:ext cx="235" cy="96"/>
            </a:xfrm>
            <a:custGeom>
              <a:avLst/>
              <a:gdLst>
                <a:gd name="T0" fmla="*/ 5 w 261"/>
                <a:gd name="T1" fmla="*/ 39 h 96"/>
                <a:gd name="T2" fmla="*/ 5 w 261"/>
                <a:gd name="T3" fmla="*/ 43 h 96"/>
                <a:gd name="T4" fmla="*/ 5 w 261"/>
                <a:gd name="T5" fmla="*/ 49 h 96"/>
                <a:gd name="T6" fmla="*/ 5 w 261"/>
                <a:gd name="T7" fmla="*/ 55 h 96"/>
                <a:gd name="T8" fmla="*/ 5 w 261"/>
                <a:gd name="T9" fmla="*/ 61 h 96"/>
                <a:gd name="T10" fmla="*/ 5 w 261"/>
                <a:gd name="T11" fmla="*/ 67 h 96"/>
                <a:gd name="T12" fmla="*/ 0 w 261"/>
                <a:gd name="T13" fmla="*/ 78 h 96"/>
                <a:gd name="T14" fmla="*/ 5 w 261"/>
                <a:gd name="T15" fmla="*/ 83 h 96"/>
                <a:gd name="T16" fmla="*/ 5 w 261"/>
                <a:gd name="T17" fmla="*/ 96 h 96"/>
                <a:gd name="T18" fmla="*/ 5 w 261"/>
                <a:gd name="T19" fmla="*/ 78 h 96"/>
                <a:gd name="T20" fmla="*/ 5 w 261"/>
                <a:gd name="T21" fmla="*/ 90 h 96"/>
                <a:gd name="T22" fmla="*/ 5 w 261"/>
                <a:gd name="T23" fmla="*/ 88 h 96"/>
                <a:gd name="T24" fmla="*/ 5 w 261"/>
                <a:gd name="T25" fmla="*/ 64 h 96"/>
                <a:gd name="T26" fmla="*/ 5 w 261"/>
                <a:gd name="T27" fmla="*/ 56 h 96"/>
                <a:gd name="T28" fmla="*/ 5 w 261"/>
                <a:gd name="T29" fmla="*/ 49 h 96"/>
                <a:gd name="T30" fmla="*/ 5 w 261"/>
                <a:gd name="T31" fmla="*/ 38 h 96"/>
                <a:gd name="T32" fmla="*/ 5 w 261"/>
                <a:gd name="T33" fmla="*/ 20 h 96"/>
                <a:gd name="T34" fmla="*/ 5 w 261"/>
                <a:gd name="T35" fmla="*/ 5 h 96"/>
                <a:gd name="T36" fmla="*/ 5 w 261"/>
                <a:gd name="T37" fmla="*/ 0 h 96"/>
                <a:gd name="T38" fmla="*/ 5 w 261"/>
                <a:gd name="T39" fmla="*/ 18 h 96"/>
                <a:gd name="T40" fmla="*/ 5 w 261"/>
                <a:gd name="T41" fmla="*/ 11 h 96"/>
                <a:gd name="T42" fmla="*/ 5 w 261"/>
                <a:gd name="T43" fmla="*/ 17 h 96"/>
                <a:gd name="T44" fmla="*/ 5 w 261"/>
                <a:gd name="T45" fmla="*/ 6 h 96"/>
                <a:gd name="T46" fmla="*/ 5 w 261"/>
                <a:gd name="T47" fmla="*/ 6 h 96"/>
                <a:gd name="T48" fmla="*/ 5 w 261"/>
                <a:gd name="T49" fmla="*/ 20 h 96"/>
                <a:gd name="T50" fmla="*/ 5 w 261"/>
                <a:gd name="T51" fmla="*/ 39 h 9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61"/>
                <a:gd name="T79" fmla="*/ 0 h 96"/>
                <a:gd name="T80" fmla="*/ 261 w 261"/>
                <a:gd name="T81" fmla="*/ 96 h 9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61" h="96">
                  <a:moveTo>
                    <a:pt x="11" y="39"/>
                  </a:moveTo>
                  <a:lnTo>
                    <a:pt x="23" y="43"/>
                  </a:lnTo>
                  <a:lnTo>
                    <a:pt x="11" y="49"/>
                  </a:lnTo>
                  <a:lnTo>
                    <a:pt x="19" y="55"/>
                  </a:lnTo>
                  <a:lnTo>
                    <a:pt x="76" y="61"/>
                  </a:lnTo>
                  <a:lnTo>
                    <a:pt x="9" y="67"/>
                  </a:lnTo>
                  <a:lnTo>
                    <a:pt x="0" y="78"/>
                  </a:lnTo>
                  <a:lnTo>
                    <a:pt x="34" y="83"/>
                  </a:lnTo>
                  <a:lnTo>
                    <a:pt x="31" y="96"/>
                  </a:lnTo>
                  <a:lnTo>
                    <a:pt x="153" y="78"/>
                  </a:lnTo>
                  <a:lnTo>
                    <a:pt x="173" y="90"/>
                  </a:lnTo>
                  <a:lnTo>
                    <a:pt x="193" y="88"/>
                  </a:lnTo>
                  <a:lnTo>
                    <a:pt x="245" y="64"/>
                  </a:lnTo>
                  <a:lnTo>
                    <a:pt x="209" y="56"/>
                  </a:lnTo>
                  <a:lnTo>
                    <a:pt x="203" y="49"/>
                  </a:lnTo>
                  <a:lnTo>
                    <a:pt x="218" y="38"/>
                  </a:lnTo>
                  <a:lnTo>
                    <a:pt x="225" y="20"/>
                  </a:lnTo>
                  <a:lnTo>
                    <a:pt x="261" y="5"/>
                  </a:lnTo>
                  <a:lnTo>
                    <a:pt x="233" y="0"/>
                  </a:lnTo>
                  <a:lnTo>
                    <a:pt x="191" y="18"/>
                  </a:lnTo>
                  <a:lnTo>
                    <a:pt x="146" y="11"/>
                  </a:lnTo>
                  <a:lnTo>
                    <a:pt x="118" y="17"/>
                  </a:lnTo>
                  <a:lnTo>
                    <a:pt x="127" y="6"/>
                  </a:lnTo>
                  <a:lnTo>
                    <a:pt x="110" y="6"/>
                  </a:lnTo>
                  <a:lnTo>
                    <a:pt x="49" y="20"/>
                  </a:lnTo>
                  <a:lnTo>
                    <a:pt x="11" y="3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75" name="Freeform 57"/>
            <p:cNvSpPr>
              <a:spLocks noChangeAspect="1"/>
            </p:cNvSpPr>
            <p:nvPr/>
          </p:nvSpPr>
          <p:spPr bwMode="auto">
            <a:xfrm>
              <a:off x="1578" y="849"/>
              <a:ext cx="160" cy="65"/>
            </a:xfrm>
            <a:custGeom>
              <a:avLst/>
              <a:gdLst>
                <a:gd name="T0" fmla="*/ 0 w 177"/>
                <a:gd name="T1" fmla="*/ 45 h 65"/>
                <a:gd name="T2" fmla="*/ 5 w 177"/>
                <a:gd name="T3" fmla="*/ 53 h 65"/>
                <a:gd name="T4" fmla="*/ 5 w 177"/>
                <a:gd name="T5" fmla="*/ 65 h 65"/>
                <a:gd name="T6" fmla="*/ 5 w 177"/>
                <a:gd name="T7" fmla="*/ 57 h 65"/>
                <a:gd name="T8" fmla="*/ 5 w 177"/>
                <a:gd name="T9" fmla="*/ 36 h 65"/>
                <a:gd name="T10" fmla="*/ 5 w 177"/>
                <a:gd name="T11" fmla="*/ 19 h 65"/>
                <a:gd name="T12" fmla="*/ 5 w 177"/>
                <a:gd name="T13" fmla="*/ 5 h 65"/>
                <a:gd name="T14" fmla="*/ 5 w 177"/>
                <a:gd name="T15" fmla="*/ 0 h 65"/>
                <a:gd name="T16" fmla="*/ 5 w 177"/>
                <a:gd name="T17" fmla="*/ 9 h 65"/>
                <a:gd name="T18" fmla="*/ 5 w 177"/>
                <a:gd name="T19" fmla="*/ 19 h 65"/>
                <a:gd name="T20" fmla="*/ 0 w 177"/>
                <a:gd name="T21" fmla="*/ 45 h 6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7"/>
                <a:gd name="T34" fmla="*/ 0 h 65"/>
                <a:gd name="T35" fmla="*/ 177 w 177"/>
                <a:gd name="T36" fmla="*/ 65 h 6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7" h="65">
                  <a:moveTo>
                    <a:pt x="0" y="45"/>
                  </a:moveTo>
                  <a:lnTo>
                    <a:pt x="9" y="53"/>
                  </a:lnTo>
                  <a:lnTo>
                    <a:pt x="6" y="65"/>
                  </a:lnTo>
                  <a:lnTo>
                    <a:pt x="49" y="57"/>
                  </a:lnTo>
                  <a:lnTo>
                    <a:pt x="97" y="36"/>
                  </a:lnTo>
                  <a:lnTo>
                    <a:pt x="177" y="19"/>
                  </a:lnTo>
                  <a:lnTo>
                    <a:pt x="161" y="5"/>
                  </a:lnTo>
                  <a:lnTo>
                    <a:pt x="117" y="0"/>
                  </a:lnTo>
                  <a:lnTo>
                    <a:pt x="62" y="9"/>
                  </a:lnTo>
                  <a:lnTo>
                    <a:pt x="57" y="19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76" name="Freeform 58"/>
            <p:cNvSpPr>
              <a:spLocks noChangeAspect="1"/>
            </p:cNvSpPr>
            <p:nvPr/>
          </p:nvSpPr>
          <p:spPr bwMode="auto">
            <a:xfrm>
              <a:off x="1095" y="1261"/>
              <a:ext cx="32" cy="47"/>
            </a:xfrm>
            <a:custGeom>
              <a:avLst/>
              <a:gdLst>
                <a:gd name="T0" fmla="*/ 5 w 35"/>
                <a:gd name="T1" fmla="*/ 0 h 47"/>
                <a:gd name="T2" fmla="*/ 2 w 35"/>
                <a:gd name="T3" fmla="*/ 12 h 47"/>
                <a:gd name="T4" fmla="*/ 0 w 35"/>
                <a:gd name="T5" fmla="*/ 37 h 47"/>
                <a:gd name="T6" fmla="*/ 5 w 35"/>
                <a:gd name="T7" fmla="*/ 47 h 47"/>
                <a:gd name="T8" fmla="*/ 5 w 35"/>
                <a:gd name="T9" fmla="*/ 30 h 47"/>
                <a:gd name="T10" fmla="*/ 5 w 35"/>
                <a:gd name="T11" fmla="*/ 1 h 47"/>
                <a:gd name="T12" fmla="*/ 5 w 35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7"/>
                <a:gd name="T23" fmla="*/ 35 w 35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7">
                  <a:moveTo>
                    <a:pt x="12" y="0"/>
                  </a:moveTo>
                  <a:lnTo>
                    <a:pt x="2" y="12"/>
                  </a:lnTo>
                  <a:lnTo>
                    <a:pt x="0" y="37"/>
                  </a:lnTo>
                  <a:lnTo>
                    <a:pt x="6" y="47"/>
                  </a:lnTo>
                  <a:lnTo>
                    <a:pt x="6" y="30"/>
                  </a:lnTo>
                  <a:lnTo>
                    <a:pt x="35" y="1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77" name="Freeform 59"/>
            <p:cNvSpPr>
              <a:spLocks noChangeAspect="1"/>
            </p:cNvSpPr>
            <p:nvPr/>
          </p:nvSpPr>
          <p:spPr bwMode="auto">
            <a:xfrm>
              <a:off x="1121" y="1333"/>
              <a:ext cx="49" cy="56"/>
            </a:xfrm>
            <a:custGeom>
              <a:avLst/>
              <a:gdLst>
                <a:gd name="T0" fmla="*/ 0 w 54"/>
                <a:gd name="T1" fmla="*/ 4 h 56"/>
                <a:gd name="T2" fmla="*/ 1 w 54"/>
                <a:gd name="T3" fmla="*/ 15 h 56"/>
                <a:gd name="T4" fmla="*/ 5 w 54"/>
                <a:gd name="T5" fmla="*/ 26 h 56"/>
                <a:gd name="T6" fmla="*/ 5 w 54"/>
                <a:gd name="T7" fmla="*/ 32 h 56"/>
                <a:gd name="T8" fmla="*/ 5 w 54"/>
                <a:gd name="T9" fmla="*/ 42 h 56"/>
                <a:gd name="T10" fmla="*/ 5 w 54"/>
                <a:gd name="T11" fmla="*/ 46 h 56"/>
                <a:gd name="T12" fmla="*/ 5 w 54"/>
                <a:gd name="T13" fmla="*/ 56 h 56"/>
                <a:gd name="T14" fmla="*/ 5 w 54"/>
                <a:gd name="T15" fmla="*/ 53 h 56"/>
                <a:gd name="T16" fmla="*/ 5 w 54"/>
                <a:gd name="T17" fmla="*/ 14 h 56"/>
                <a:gd name="T18" fmla="*/ 5 w 54"/>
                <a:gd name="T19" fmla="*/ 0 h 56"/>
                <a:gd name="T20" fmla="*/ 0 w 54"/>
                <a:gd name="T21" fmla="*/ 4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4"/>
                <a:gd name="T34" fmla="*/ 0 h 56"/>
                <a:gd name="T35" fmla="*/ 54 w 54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4" h="56">
                  <a:moveTo>
                    <a:pt x="0" y="4"/>
                  </a:moveTo>
                  <a:lnTo>
                    <a:pt x="1" y="15"/>
                  </a:lnTo>
                  <a:lnTo>
                    <a:pt x="16" y="26"/>
                  </a:lnTo>
                  <a:lnTo>
                    <a:pt x="11" y="32"/>
                  </a:lnTo>
                  <a:lnTo>
                    <a:pt x="30" y="42"/>
                  </a:lnTo>
                  <a:lnTo>
                    <a:pt x="27" y="46"/>
                  </a:lnTo>
                  <a:lnTo>
                    <a:pt x="44" y="56"/>
                  </a:lnTo>
                  <a:lnTo>
                    <a:pt x="54" y="53"/>
                  </a:lnTo>
                  <a:lnTo>
                    <a:pt x="42" y="14"/>
                  </a:lnTo>
                  <a:lnTo>
                    <a:pt x="1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78" name="Freeform 60"/>
            <p:cNvSpPr>
              <a:spLocks noChangeAspect="1"/>
            </p:cNvSpPr>
            <p:nvPr/>
          </p:nvSpPr>
          <p:spPr bwMode="auto">
            <a:xfrm>
              <a:off x="2284" y="727"/>
              <a:ext cx="588" cy="433"/>
            </a:xfrm>
            <a:custGeom>
              <a:avLst/>
              <a:gdLst>
                <a:gd name="T0" fmla="*/ 1 w 812"/>
                <a:gd name="T1" fmla="*/ 84 h 433"/>
                <a:gd name="T2" fmla="*/ 1 w 812"/>
                <a:gd name="T3" fmla="*/ 94 h 433"/>
                <a:gd name="T4" fmla="*/ 1 w 812"/>
                <a:gd name="T5" fmla="*/ 107 h 433"/>
                <a:gd name="T6" fmla="*/ 1 w 812"/>
                <a:gd name="T7" fmla="*/ 116 h 433"/>
                <a:gd name="T8" fmla="*/ 1 w 812"/>
                <a:gd name="T9" fmla="*/ 123 h 433"/>
                <a:gd name="T10" fmla="*/ 1 w 812"/>
                <a:gd name="T11" fmla="*/ 143 h 433"/>
                <a:gd name="T12" fmla="*/ 1 w 812"/>
                <a:gd name="T13" fmla="*/ 160 h 433"/>
                <a:gd name="T14" fmla="*/ 1 w 812"/>
                <a:gd name="T15" fmla="*/ 187 h 433"/>
                <a:gd name="T16" fmla="*/ 1 w 812"/>
                <a:gd name="T17" fmla="*/ 200 h 433"/>
                <a:gd name="T18" fmla="*/ 1 w 812"/>
                <a:gd name="T19" fmla="*/ 205 h 433"/>
                <a:gd name="T20" fmla="*/ 1 w 812"/>
                <a:gd name="T21" fmla="*/ 219 h 433"/>
                <a:gd name="T22" fmla="*/ 1 w 812"/>
                <a:gd name="T23" fmla="*/ 234 h 433"/>
                <a:gd name="T24" fmla="*/ 1 w 812"/>
                <a:gd name="T25" fmla="*/ 230 h 433"/>
                <a:gd name="T26" fmla="*/ 1 w 812"/>
                <a:gd name="T27" fmla="*/ 255 h 433"/>
                <a:gd name="T28" fmla="*/ 1 w 812"/>
                <a:gd name="T29" fmla="*/ 264 h 433"/>
                <a:gd name="T30" fmla="*/ 1 w 812"/>
                <a:gd name="T31" fmla="*/ 316 h 433"/>
                <a:gd name="T32" fmla="*/ 1 w 812"/>
                <a:gd name="T33" fmla="*/ 346 h 433"/>
                <a:gd name="T34" fmla="*/ 1 w 812"/>
                <a:gd name="T35" fmla="*/ 399 h 433"/>
                <a:gd name="T36" fmla="*/ 1 w 812"/>
                <a:gd name="T37" fmla="*/ 418 h 433"/>
                <a:gd name="T38" fmla="*/ 1 w 812"/>
                <a:gd name="T39" fmla="*/ 430 h 433"/>
                <a:gd name="T40" fmla="*/ 1 w 812"/>
                <a:gd name="T41" fmla="*/ 374 h 433"/>
                <a:gd name="T42" fmla="*/ 1 w 812"/>
                <a:gd name="T43" fmla="*/ 336 h 433"/>
                <a:gd name="T44" fmla="*/ 1 w 812"/>
                <a:gd name="T45" fmla="*/ 324 h 433"/>
                <a:gd name="T46" fmla="*/ 1 w 812"/>
                <a:gd name="T47" fmla="*/ 306 h 433"/>
                <a:gd name="T48" fmla="*/ 1 w 812"/>
                <a:gd name="T49" fmla="*/ 250 h 433"/>
                <a:gd name="T50" fmla="*/ 1 w 812"/>
                <a:gd name="T51" fmla="*/ 226 h 433"/>
                <a:gd name="T52" fmla="*/ 1 w 812"/>
                <a:gd name="T53" fmla="*/ 225 h 433"/>
                <a:gd name="T54" fmla="*/ 1 w 812"/>
                <a:gd name="T55" fmla="*/ 205 h 433"/>
                <a:gd name="T56" fmla="*/ 1 w 812"/>
                <a:gd name="T57" fmla="*/ 216 h 433"/>
                <a:gd name="T58" fmla="*/ 1 w 812"/>
                <a:gd name="T59" fmla="*/ 200 h 433"/>
                <a:gd name="T60" fmla="*/ 1 w 812"/>
                <a:gd name="T61" fmla="*/ 188 h 433"/>
                <a:gd name="T62" fmla="*/ 1 w 812"/>
                <a:gd name="T63" fmla="*/ 170 h 433"/>
                <a:gd name="T64" fmla="*/ 1 w 812"/>
                <a:gd name="T65" fmla="*/ 156 h 433"/>
                <a:gd name="T66" fmla="*/ 1 w 812"/>
                <a:gd name="T67" fmla="*/ 148 h 433"/>
                <a:gd name="T68" fmla="*/ 1 w 812"/>
                <a:gd name="T69" fmla="*/ 141 h 433"/>
                <a:gd name="T70" fmla="*/ 1 w 812"/>
                <a:gd name="T71" fmla="*/ 114 h 433"/>
                <a:gd name="T72" fmla="*/ 1 w 812"/>
                <a:gd name="T73" fmla="*/ 106 h 433"/>
                <a:gd name="T74" fmla="*/ 1 w 812"/>
                <a:gd name="T75" fmla="*/ 99 h 433"/>
                <a:gd name="T76" fmla="*/ 1 w 812"/>
                <a:gd name="T77" fmla="*/ 77 h 433"/>
                <a:gd name="T78" fmla="*/ 1 w 812"/>
                <a:gd name="T79" fmla="*/ 44 h 433"/>
                <a:gd name="T80" fmla="*/ 1 w 812"/>
                <a:gd name="T81" fmla="*/ 23 h 433"/>
                <a:gd name="T82" fmla="*/ 1 w 812"/>
                <a:gd name="T83" fmla="*/ 23 h 433"/>
                <a:gd name="T84" fmla="*/ 1 w 812"/>
                <a:gd name="T85" fmla="*/ 26 h 433"/>
                <a:gd name="T86" fmla="*/ 1 w 812"/>
                <a:gd name="T87" fmla="*/ 14 h 433"/>
                <a:gd name="T88" fmla="*/ 1 w 812"/>
                <a:gd name="T89" fmla="*/ 5 h 433"/>
                <a:gd name="T90" fmla="*/ 1 w 812"/>
                <a:gd name="T91" fmla="*/ 16 h 433"/>
                <a:gd name="T92" fmla="*/ 1 w 812"/>
                <a:gd name="T93" fmla="*/ 29 h 433"/>
                <a:gd name="T94" fmla="*/ 1 w 812"/>
                <a:gd name="T95" fmla="*/ 33 h 433"/>
                <a:gd name="T96" fmla="*/ 1 w 812"/>
                <a:gd name="T97" fmla="*/ 49 h 433"/>
                <a:gd name="T98" fmla="*/ 1 w 812"/>
                <a:gd name="T99" fmla="*/ 63 h 433"/>
                <a:gd name="T100" fmla="*/ 0 w 812"/>
                <a:gd name="T101" fmla="*/ 80 h 43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12"/>
                <a:gd name="T154" fmla="*/ 0 h 433"/>
                <a:gd name="T155" fmla="*/ 812 w 812"/>
                <a:gd name="T156" fmla="*/ 433 h 43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12" h="433">
                  <a:moveTo>
                    <a:pt x="0" y="80"/>
                  </a:moveTo>
                  <a:lnTo>
                    <a:pt x="30" y="84"/>
                  </a:lnTo>
                  <a:lnTo>
                    <a:pt x="29" y="90"/>
                  </a:lnTo>
                  <a:lnTo>
                    <a:pt x="45" y="94"/>
                  </a:lnTo>
                  <a:lnTo>
                    <a:pt x="3" y="100"/>
                  </a:lnTo>
                  <a:lnTo>
                    <a:pt x="29" y="107"/>
                  </a:lnTo>
                  <a:lnTo>
                    <a:pt x="14" y="111"/>
                  </a:lnTo>
                  <a:lnTo>
                    <a:pt x="24" y="116"/>
                  </a:lnTo>
                  <a:lnTo>
                    <a:pt x="116" y="114"/>
                  </a:lnTo>
                  <a:lnTo>
                    <a:pt x="154" y="123"/>
                  </a:lnTo>
                  <a:lnTo>
                    <a:pt x="149" y="129"/>
                  </a:lnTo>
                  <a:lnTo>
                    <a:pt x="163" y="143"/>
                  </a:lnTo>
                  <a:lnTo>
                    <a:pt x="157" y="153"/>
                  </a:lnTo>
                  <a:lnTo>
                    <a:pt x="163" y="160"/>
                  </a:lnTo>
                  <a:lnTo>
                    <a:pt x="149" y="179"/>
                  </a:lnTo>
                  <a:lnTo>
                    <a:pt x="150" y="187"/>
                  </a:lnTo>
                  <a:lnTo>
                    <a:pt x="138" y="196"/>
                  </a:lnTo>
                  <a:lnTo>
                    <a:pt x="161" y="200"/>
                  </a:lnTo>
                  <a:lnTo>
                    <a:pt x="174" y="194"/>
                  </a:lnTo>
                  <a:lnTo>
                    <a:pt x="176" y="205"/>
                  </a:lnTo>
                  <a:lnTo>
                    <a:pt x="190" y="209"/>
                  </a:lnTo>
                  <a:lnTo>
                    <a:pt x="190" y="219"/>
                  </a:lnTo>
                  <a:lnTo>
                    <a:pt x="150" y="211"/>
                  </a:lnTo>
                  <a:lnTo>
                    <a:pt x="128" y="234"/>
                  </a:lnTo>
                  <a:lnTo>
                    <a:pt x="142" y="242"/>
                  </a:lnTo>
                  <a:lnTo>
                    <a:pt x="183" y="230"/>
                  </a:lnTo>
                  <a:lnTo>
                    <a:pt x="184" y="240"/>
                  </a:lnTo>
                  <a:lnTo>
                    <a:pt x="173" y="255"/>
                  </a:lnTo>
                  <a:lnTo>
                    <a:pt x="149" y="255"/>
                  </a:lnTo>
                  <a:lnTo>
                    <a:pt x="134" y="264"/>
                  </a:lnTo>
                  <a:lnTo>
                    <a:pt x="108" y="306"/>
                  </a:lnTo>
                  <a:lnTo>
                    <a:pt x="120" y="316"/>
                  </a:lnTo>
                  <a:lnTo>
                    <a:pt x="114" y="340"/>
                  </a:lnTo>
                  <a:lnTo>
                    <a:pt x="121" y="346"/>
                  </a:lnTo>
                  <a:lnTo>
                    <a:pt x="119" y="354"/>
                  </a:lnTo>
                  <a:lnTo>
                    <a:pt x="133" y="399"/>
                  </a:lnTo>
                  <a:lnTo>
                    <a:pt x="143" y="411"/>
                  </a:lnTo>
                  <a:lnTo>
                    <a:pt x="177" y="418"/>
                  </a:lnTo>
                  <a:lnTo>
                    <a:pt x="201" y="433"/>
                  </a:lnTo>
                  <a:lnTo>
                    <a:pt x="213" y="430"/>
                  </a:lnTo>
                  <a:lnTo>
                    <a:pt x="250" y="387"/>
                  </a:lnTo>
                  <a:lnTo>
                    <a:pt x="248" y="374"/>
                  </a:lnTo>
                  <a:lnTo>
                    <a:pt x="281" y="357"/>
                  </a:lnTo>
                  <a:lnTo>
                    <a:pt x="296" y="336"/>
                  </a:lnTo>
                  <a:lnTo>
                    <a:pt x="292" y="323"/>
                  </a:lnTo>
                  <a:lnTo>
                    <a:pt x="307" y="324"/>
                  </a:lnTo>
                  <a:lnTo>
                    <a:pt x="315" y="316"/>
                  </a:lnTo>
                  <a:lnTo>
                    <a:pt x="381" y="306"/>
                  </a:lnTo>
                  <a:lnTo>
                    <a:pt x="448" y="268"/>
                  </a:lnTo>
                  <a:lnTo>
                    <a:pt x="542" y="250"/>
                  </a:lnTo>
                  <a:lnTo>
                    <a:pt x="593" y="232"/>
                  </a:lnTo>
                  <a:lnTo>
                    <a:pt x="605" y="226"/>
                  </a:lnTo>
                  <a:lnTo>
                    <a:pt x="570" y="220"/>
                  </a:lnTo>
                  <a:lnTo>
                    <a:pt x="549" y="225"/>
                  </a:lnTo>
                  <a:lnTo>
                    <a:pt x="568" y="215"/>
                  </a:lnTo>
                  <a:lnTo>
                    <a:pt x="568" y="205"/>
                  </a:lnTo>
                  <a:lnTo>
                    <a:pt x="583" y="203"/>
                  </a:lnTo>
                  <a:lnTo>
                    <a:pt x="585" y="216"/>
                  </a:lnTo>
                  <a:lnTo>
                    <a:pt x="617" y="219"/>
                  </a:lnTo>
                  <a:lnTo>
                    <a:pt x="623" y="200"/>
                  </a:lnTo>
                  <a:lnTo>
                    <a:pt x="590" y="181"/>
                  </a:lnTo>
                  <a:lnTo>
                    <a:pt x="624" y="188"/>
                  </a:lnTo>
                  <a:lnTo>
                    <a:pt x="629" y="173"/>
                  </a:lnTo>
                  <a:lnTo>
                    <a:pt x="616" y="170"/>
                  </a:lnTo>
                  <a:lnTo>
                    <a:pt x="656" y="163"/>
                  </a:lnTo>
                  <a:lnTo>
                    <a:pt x="658" y="156"/>
                  </a:lnTo>
                  <a:lnTo>
                    <a:pt x="642" y="153"/>
                  </a:lnTo>
                  <a:lnTo>
                    <a:pt x="675" y="148"/>
                  </a:lnTo>
                  <a:lnTo>
                    <a:pt x="684" y="141"/>
                  </a:lnTo>
                  <a:lnTo>
                    <a:pt x="665" y="141"/>
                  </a:lnTo>
                  <a:lnTo>
                    <a:pt x="681" y="123"/>
                  </a:lnTo>
                  <a:lnTo>
                    <a:pt x="676" y="114"/>
                  </a:lnTo>
                  <a:lnTo>
                    <a:pt x="657" y="112"/>
                  </a:lnTo>
                  <a:lnTo>
                    <a:pt x="661" y="106"/>
                  </a:lnTo>
                  <a:lnTo>
                    <a:pt x="702" y="105"/>
                  </a:lnTo>
                  <a:lnTo>
                    <a:pt x="707" y="99"/>
                  </a:lnTo>
                  <a:lnTo>
                    <a:pt x="692" y="84"/>
                  </a:lnTo>
                  <a:lnTo>
                    <a:pt x="702" y="77"/>
                  </a:lnTo>
                  <a:lnTo>
                    <a:pt x="701" y="69"/>
                  </a:lnTo>
                  <a:lnTo>
                    <a:pt x="756" y="44"/>
                  </a:lnTo>
                  <a:lnTo>
                    <a:pt x="812" y="31"/>
                  </a:lnTo>
                  <a:lnTo>
                    <a:pt x="758" y="23"/>
                  </a:lnTo>
                  <a:lnTo>
                    <a:pt x="647" y="37"/>
                  </a:lnTo>
                  <a:lnTo>
                    <a:pt x="697" y="23"/>
                  </a:lnTo>
                  <a:lnTo>
                    <a:pt x="695" y="20"/>
                  </a:lnTo>
                  <a:lnTo>
                    <a:pt x="647" y="26"/>
                  </a:lnTo>
                  <a:lnTo>
                    <a:pt x="650" y="20"/>
                  </a:lnTo>
                  <a:lnTo>
                    <a:pt x="718" y="14"/>
                  </a:lnTo>
                  <a:lnTo>
                    <a:pt x="636" y="0"/>
                  </a:lnTo>
                  <a:lnTo>
                    <a:pt x="435" y="5"/>
                  </a:lnTo>
                  <a:lnTo>
                    <a:pt x="332" y="21"/>
                  </a:lnTo>
                  <a:lnTo>
                    <a:pt x="297" y="16"/>
                  </a:lnTo>
                  <a:lnTo>
                    <a:pt x="197" y="25"/>
                  </a:lnTo>
                  <a:lnTo>
                    <a:pt x="202" y="29"/>
                  </a:lnTo>
                  <a:lnTo>
                    <a:pt x="190" y="33"/>
                  </a:lnTo>
                  <a:lnTo>
                    <a:pt x="167" y="33"/>
                  </a:lnTo>
                  <a:lnTo>
                    <a:pt x="102" y="49"/>
                  </a:lnTo>
                  <a:lnTo>
                    <a:pt x="136" y="49"/>
                  </a:lnTo>
                  <a:lnTo>
                    <a:pt x="136" y="54"/>
                  </a:lnTo>
                  <a:lnTo>
                    <a:pt x="111" y="63"/>
                  </a:lnTo>
                  <a:lnTo>
                    <a:pt x="15" y="73"/>
                  </a:lnTo>
                  <a:lnTo>
                    <a:pt x="0" y="8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79" name="Freeform 61"/>
            <p:cNvSpPr>
              <a:spLocks noChangeAspect="1"/>
            </p:cNvSpPr>
            <p:nvPr/>
          </p:nvSpPr>
          <p:spPr bwMode="auto">
            <a:xfrm>
              <a:off x="1823" y="1679"/>
              <a:ext cx="12" cy="12"/>
            </a:xfrm>
            <a:custGeom>
              <a:avLst/>
              <a:gdLst>
                <a:gd name="T0" fmla="*/ 0 w 15"/>
                <a:gd name="T1" fmla="*/ 12 h 12"/>
                <a:gd name="T2" fmla="*/ 2 w 15"/>
                <a:gd name="T3" fmla="*/ 0 h 12"/>
                <a:gd name="T4" fmla="*/ 0 w 15"/>
                <a:gd name="T5" fmla="*/ 12 h 12"/>
                <a:gd name="T6" fmla="*/ 0 60000 65536"/>
                <a:gd name="T7" fmla="*/ 0 60000 65536"/>
                <a:gd name="T8" fmla="*/ 0 60000 65536"/>
                <a:gd name="T9" fmla="*/ 0 w 15"/>
                <a:gd name="T10" fmla="*/ 0 h 12"/>
                <a:gd name="T11" fmla="*/ 15 w 15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2">
                  <a:moveTo>
                    <a:pt x="0" y="12"/>
                  </a:moveTo>
                  <a:lnTo>
                    <a:pt x="15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80" name="Freeform 62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1040" y="1365"/>
              <a:ext cx="1008" cy="555"/>
            </a:xfrm>
            <a:custGeom>
              <a:avLst/>
              <a:gdLst>
                <a:gd name="T0" fmla="*/ 5 w 1116"/>
                <a:gd name="T1" fmla="*/ 450 h 555"/>
                <a:gd name="T2" fmla="*/ 5 w 1116"/>
                <a:gd name="T3" fmla="*/ 449 h 555"/>
                <a:gd name="T4" fmla="*/ 5 w 1116"/>
                <a:gd name="T5" fmla="*/ 462 h 555"/>
                <a:gd name="T6" fmla="*/ 5 w 1116"/>
                <a:gd name="T7" fmla="*/ 462 h 555"/>
                <a:gd name="T8" fmla="*/ 5 w 1116"/>
                <a:gd name="T9" fmla="*/ 441 h 555"/>
                <a:gd name="T10" fmla="*/ 5 w 1116"/>
                <a:gd name="T11" fmla="*/ 428 h 555"/>
                <a:gd name="T12" fmla="*/ 5 w 1116"/>
                <a:gd name="T13" fmla="*/ 441 h 555"/>
                <a:gd name="T14" fmla="*/ 5 w 1116"/>
                <a:gd name="T15" fmla="*/ 464 h 555"/>
                <a:gd name="T16" fmla="*/ 5 w 1116"/>
                <a:gd name="T17" fmla="*/ 554 h 555"/>
                <a:gd name="T18" fmla="*/ 5 w 1116"/>
                <a:gd name="T19" fmla="*/ 419 h 555"/>
                <a:gd name="T20" fmla="*/ 5 w 1116"/>
                <a:gd name="T21" fmla="*/ 307 h 555"/>
                <a:gd name="T22" fmla="*/ 5 w 1116"/>
                <a:gd name="T23" fmla="*/ 310 h 555"/>
                <a:gd name="T24" fmla="*/ 5 w 1116"/>
                <a:gd name="T25" fmla="*/ 253 h 555"/>
                <a:gd name="T26" fmla="*/ 5 w 1116"/>
                <a:gd name="T27" fmla="*/ 225 h 555"/>
                <a:gd name="T28" fmla="*/ 5 w 1116"/>
                <a:gd name="T29" fmla="*/ 259 h 555"/>
                <a:gd name="T30" fmla="*/ 5 w 1116"/>
                <a:gd name="T31" fmla="*/ 250 h 555"/>
                <a:gd name="T32" fmla="*/ 5 w 1116"/>
                <a:gd name="T33" fmla="*/ 229 h 555"/>
                <a:gd name="T34" fmla="*/ 5 w 1116"/>
                <a:gd name="T35" fmla="*/ 173 h 555"/>
                <a:gd name="T36" fmla="*/ 5 w 1116"/>
                <a:gd name="T37" fmla="*/ 168 h 555"/>
                <a:gd name="T38" fmla="*/ 5 w 1116"/>
                <a:gd name="T39" fmla="*/ 130 h 555"/>
                <a:gd name="T40" fmla="*/ 5 w 1116"/>
                <a:gd name="T41" fmla="*/ 95 h 555"/>
                <a:gd name="T42" fmla="*/ 5 w 1116"/>
                <a:gd name="T43" fmla="*/ 52 h 555"/>
                <a:gd name="T44" fmla="*/ 5 w 1116"/>
                <a:gd name="T45" fmla="*/ 99 h 555"/>
                <a:gd name="T46" fmla="*/ 5 w 1116"/>
                <a:gd name="T47" fmla="*/ 134 h 555"/>
                <a:gd name="T48" fmla="*/ 5 w 1116"/>
                <a:gd name="T49" fmla="*/ 178 h 555"/>
                <a:gd name="T50" fmla="*/ 5 w 1116"/>
                <a:gd name="T51" fmla="*/ 172 h 555"/>
                <a:gd name="T52" fmla="*/ 5 w 1116"/>
                <a:gd name="T53" fmla="*/ 121 h 555"/>
                <a:gd name="T54" fmla="*/ 5 w 1116"/>
                <a:gd name="T55" fmla="*/ 91 h 555"/>
                <a:gd name="T56" fmla="*/ 5 w 1116"/>
                <a:gd name="T57" fmla="*/ 121 h 555"/>
                <a:gd name="T58" fmla="*/ 5 w 1116"/>
                <a:gd name="T59" fmla="*/ 176 h 555"/>
                <a:gd name="T60" fmla="*/ 5 w 1116"/>
                <a:gd name="T61" fmla="*/ 101 h 555"/>
                <a:gd name="T62" fmla="*/ 5 w 1116"/>
                <a:gd name="T63" fmla="*/ 79 h 555"/>
                <a:gd name="T64" fmla="*/ 5 w 1116"/>
                <a:gd name="T65" fmla="*/ 65 h 555"/>
                <a:gd name="T66" fmla="*/ 5 w 1116"/>
                <a:gd name="T67" fmla="*/ 67 h 555"/>
                <a:gd name="T68" fmla="*/ 5 w 1116"/>
                <a:gd name="T69" fmla="*/ 45 h 555"/>
                <a:gd name="T70" fmla="*/ 5 w 1116"/>
                <a:gd name="T71" fmla="*/ 62 h 555"/>
                <a:gd name="T72" fmla="*/ 5 w 1116"/>
                <a:gd name="T73" fmla="*/ 16 h 555"/>
                <a:gd name="T74" fmla="*/ 5 w 1116"/>
                <a:gd name="T75" fmla="*/ 10 h 555"/>
                <a:gd name="T76" fmla="*/ 5 w 1116"/>
                <a:gd name="T77" fmla="*/ 42 h 555"/>
                <a:gd name="T78" fmla="*/ 5 w 1116"/>
                <a:gd name="T79" fmla="*/ 22 h 555"/>
                <a:gd name="T80" fmla="*/ 5 w 1116"/>
                <a:gd name="T81" fmla="*/ 149 h 555"/>
                <a:gd name="T82" fmla="*/ 5 w 1116"/>
                <a:gd name="T83" fmla="*/ 222 h 555"/>
                <a:gd name="T84" fmla="*/ 1 w 1116"/>
                <a:gd name="T85" fmla="*/ 259 h 555"/>
                <a:gd name="T86" fmla="*/ 5 w 1116"/>
                <a:gd name="T87" fmla="*/ 282 h 555"/>
                <a:gd name="T88" fmla="*/ 5 w 1116"/>
                <a:gd name="T89" fmla="*/ 326 h 555"/>
                <a:gd name="T90" fmla="*/ 5 w 1116"/>
                <a:gd name="T91" fmla="*/ 356 h 555"/>
                <a:gd name="T92" fmla="*/ 5 w 1116"/>
                <a:gd name="T93" fmla="*/ 382 h 555"/>
                <a:gd name="T94" fmla="*/ 5 w 1116"/>
                <a:gd name="T95" fmla="*/ 428 h 555"/>
                <a:gd name="T96" fmla="*/ 5 w 1116"/>
                <a:gd name="T97" fmla="*/ 464 h 555"/>
                <a:gd name="T98" fmla="*/ 5 w 1116"/>
                <a:gd name="T99" fmla="*/ 525 h 55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116"/>
                <a:gd name="T151" fmla="*/ 0 h 555"/>
                <a:gd name="T152" fmla="*/ 1116 w 1116"/>
                <a:gd name="T153" fmla="*/ 555 h 55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116" h="555">
                  <a:moveTo>
                    <a:pt x="407" y="496"/>
                  </a:moveTo>
                  <a:lnTo>
                    <a:pt x="466" y="459"/>
                  </a:lnTo>
                  <a:lnTo>
                    <a:pt x="464" y="450"/>
                  </a:lnTo>
                  <a:lnTo>
                    <a:pt x="472" y="446"/>
                  </a:lnTo>
                  <a:lnTo>
                    <a:pt x="469" y="456"/>
                  </a:lnTo>
                  <a:lnTo>
                    <a:pt x="489" y="449"/>
                  </a:lnTo>
                  <a:lnTo>
                    <a:pt x="519" y="452"/>
                  </a:lnTo>
                  <a:lnTo>
                    <a:pt x="529" y="446"/>
                  </a:lnTo>
                  <a:lnTo>
                    <a:pt x="536" y="462"/>
                  </a:lnTo>
                  <a:lnTo>
                    <a:pt x="564" y="458"/>
                  </a:lnTo>
                  <a:lnTo>
                    <a:pt x="574" y="466"/>
                  </a:lnTo>
                  <a:lnTo>
                    <a:pt x="579" y="462"/>
                  </a:lnTo>
                  <a:lnTo>
                    <a:pt x="570" y="455"/>
                  </a:lnTo>
                  <a:lnTo>
                    <a:pt x="580" y="441"/>
                  </a:lnTo>
                  <a:lnTo>
                    <a:pt x="558" y="441"/>
                  </a:lnTo>
                  <a:lnTo>
                    <a:pt x="565" y="432"/>
                  </a:lnTo>
                  <a:lnTo>
                    <a:pt x="574" y="436"/>
                  </a:lnTo>
                  <a:lnTo>
                    <a:pt x="608" y="428"/>
                  </a:lnTo>
                  <a:lnTo>
                    <a:pt x="609" y="435"/>
                  </a:lnTo>
                  <a:lnTo>
                    <a:pt x="639" y="432"/>
                  </a:lnTo>
                  <a:lnTo>
                    <a:pt x="654" y="441"/>
                  </a:lnTo>
                  <a:lnTo>
                    <a:pt x="654" y="450"/>
                  </a:lnTo>
                  <a:lnTo>
                    <a:pt x="684" y="441"/>
                  </a:lnTo>
                  <a:lnTo>
                    <a:pt x="700" y="464"/>
                  </a:lnTo>
                  <a:lnTo>
                    <a:pt x="696" y="509"/>
                  </a:lnTo>
                  <a:lnTo>
                    <a:pt x="714" y="555"/>
                  </a:lnTo>
                  <a:lnTo>
                    <a:pt x="723" y="554"/>
                  </a:lnTo>
                  <a:lnTo>
                    <a:pt x="736" y="538"/>
                  </a:lnTo>
                  <a:lnTo>
                    <a:pt x="743" y="512"/>
                  </a:lnTo>
                  <a:lnTo>
                    <a:pt x="736" y="419"/>
                  </a:lnTo>
                  <a:lnTo>
                    <a:pt x="764" y="387"/>
                  </a:lnTo>
                  <a:lnTo>
                    <a:pt x="871" y="320"/>
                  </a:lnTo>
                  <a:lnTo>
                    <a:pt x="878" y="307"/>
                  </a:lnTo>
                  <a:lnTo>
                    <a:pt x="860" y="307"/>
                  </a:lnTo>
                  <a:lnTo>
                    <a:pt x="876" y="302"/>
                  </a:lnTo>
                  <a:lnTo>
                    <a:pt x="883" y="310"/>
                  </a:lnTo>
                  <a:lnTo>
                    <a:pt x="876" y="279"/>
                  </a:lnTo>
                  <a:lnTo>
                    <a:pt x="883" y="261"/>
                  </a:lnTo>
                  <a:lnTo>
                    <a:pt x="874" y="253"/>
                  </a:lnTo>
                  <a:lnTo>
                    <a:pt x="883" y="256"/>
                  </a:lnTo>
                  <a:lnTo>
                    <a:pt x="893" y="229"/>
                  </a:lnTo>
                  <a:lnTo>
                    <a:pt x="901" y="225"/>
                  </a:lnTo>
                  <a:lnTo>
                    <a:pt x="887" y="250"/>
                  </a:lnTo>
                  <a:lnTo>
                    <a:pt x="893" y="253"/>
                  </a:lnTo>
                  <a:lnTo>
                    <a:pt x="890" y="259"/>
                  </a:lnTo>
                  <a:lnTo>
                    <a:pt x="896" y="259"/>
                  </a:lnTo>
                  <a:lnTo>
                    <a:pt x="889" y="276"/>
                  </a:lnTo>
                  <a:lnTo>
                    <a:pt x="912" y="250"/>
                  </a:lnTo>
                  <a:lnTo>
                    <a:pt x="910" y="225"/>
                  </a:lnTo>
                  <a:lnTo>
                    <a:pt x="916" y="236"/>
                  </a:lnTo>
                  <a:lnTo>
                    <a:pt x="928" y="229"/>
                  </a:lnTo>
                  <a:lnTo>
                    <a:pt x="950" y="195"/>
                  </a:lnTo>
                  <a:lnTo>
                    <a:pt x="1001" y="182"/>
                  </a:lnTo>
                  <a:lnTo>
                    <a:pt x="1007" y="173"/>
                  </a:lnTo>
                  <a:lnTo>
                    <a:pt x="1009" y="179"/>
                  </a:lnTo>
                  <a:lnTo>
                    <a:pt x="1031" y="176"/>
                  </a:lnTo>
                  <a:lnTo>
                    <a:pt x="1033" y="168"/>
                  </a:lnTo>
                  <a:lnTo>
                    <a:pt x="1022" y="173"/>
                  </a:lnTo>
                  <a:lnTo>
                    <a:pt x="1018" y="160"/>
                  </a:lnTo>
                  <a:lnTo>
                    <a:pt x="1043" y="130"/>
                  </a:lnTo>
                  <a:lnTo>
                    <a:pt x="1076" y="113"/>
                  </a:lnTo>
                  <a:lnTo>
                    <a:pt x="1101" y="109"/>
                  </a:lnTo>
                  <a:lnTo>
                    <a:pt x="1115" y="95"/>
                  </a:lnTo>
                  <a:lnTo>
                    <a:pt x="1116" y="95"/>
                  </a:lnTo>
                  <a:lnTo>
                    <a:pt x="1107" y="84"/>
                  </a:lnTo>
                  <a:lnTo>
                    <a:pt x="1116" y="52"/>
                  </a:lnTo>
                  <a:lnTo>
                    <a:pt x="1090" y="45"/>
                  </a:lnTo>
                  <a:lnTo>
                    <a:pt x="1050" y="92"/>
                  </a:lnTo>
                  <a:lnTo>
                    <a:pt x="1027" y="99"/>
                  </a:lnTo>
                  <a:lnTo>
                    <a:pt x="970" y="99"/>
                  </a:lnTo>
                  <a:lnTo>
                    <a:pt x="942" y="115"/>
                  </a:lnTo>
                  <a:lnTo>
                    <a:pt x="933" y="134"/>
                  </a:lnTo>
                  <a:lnTo>
                    <a:pt x="877" y="138"/>
                  </a:lnTo>
                  <a:lnTo>
                    <a:pt x="878" y="149"/>
                  </a:lnTo>
                  <a:lnTo>
                    <a:pt x="814" y="178"/>
                  </a:lnTo>
                  <a:lnTo>
                    <a:pt x="791" y="179"/>
                  </a:lnTo>
                  <a:lnTo>
                    <a:pt x="781" y="173"/>
                  </a:lnTo>
                  <a:lnTo>
                    <a:pt x="786" y="172"/>
                  </a:lnTo>
                  <a:lnTo>
                    <a:pt x="815" y="143"/>
                  </a:lnTo>
                  <a:lnTo>
                    <a:pt x="814" y="143"/>
                  </a:lnTo>
                  <a:lnTo>
                    <a:pt x="815" y="121"/>
                  </a:lnTo>
                  <a:lnTo>
                    <a:pt x="793" y="132"/>
                  </a:lnTo>
                  <a:lnTo>
                    <a:pt x="811" y="113"/>
                  </a:lnTo>
                  <a:lnTo>
                    <a:pt x="816" y="91"/>
                  </a:lnTo>
                  <a:lnTo>
                    <a:pt x="793" y="84"/>
                  </a:lnTo>
                  <a:lnTo>
                    <a:pt x="767" y="101"/>
                  </a:lnTo>
                  <a:lnTo>
                    <a:pt x="750" y="121"/>
                  </a:lnTo>
                  <a:lnTo>
                    <a:pt x="731" y="165"/>
                  </a:lnTo>
                  <a:lnTo>
                    <a:pt x="714" y="176"/>
                  </a:lnTo>
                  <a:lnTo>
                    <a:pt x="706" y="176"/>
                  </a:lnTo>
                  <a:lnTo>
                    <a:pt x="705" y="165"/>
                  </a:lnTo>
                  <a:lnTo>
                    <a:pt x="714" y="142"/>
                  </a:lnTo>
                  <a:lnTo>
                    <a:pt x="745" y="101"/>
                  </a:lnTo>
                  <a:lnTo>
                    <a:pt x="728" y="109"/>
                  </a:lnTo>
                  <a:lnTo>
                    <a:pt x="758" y="82"/>
                  </a:lnTo>
                  <a:lnTo>
                    <a:pt x="814" y="79"/>
                  </a:lnTo>
                  <a:lnTo>
                    <a:pt x="815" y="70"/>
                  </a:lnTo>
                  <a:lnTo>
                    <a:pt x="816" y="70"/>
                  </a:lnTo>
                  <a:lnTo>
                    <a:pt x="811" y="65"/>
                  </a:lnTo>
                  <a:lnTo>
                    <a:pt x="803" y="65"/>
                  </a:lnTo>
                  <a:lnTo>
                    <a:pt x="805" y="59"/>
                  </a:lnTo>
                  <a:lnTo>
                    <a:pt x="759" y="67"/>
                  </a:lnTo>
                  <a:lnTo>
                    <a:pt x="757" y="58"/>
                  </a:lnTo>
                  <a:lnTo>
                    <a:pt x="743" y="59"/>
                  </a:lnTo>
                  <a:lnTo>
                    <a:pt x="763" y="45"/>
                  </a:lnTo>
                  <a:lnTo>
                    <a:pt x="703" y="65"/>
                  </a:lnTo>
                  <a:lnTo>
                    <a:pt x="701" y="56"/>
                  </a:lnTo>
                  <a:lnTo>
                    <a:pt x="677" y="62"/>
                  </a:lnTo>
                  <a:lnTo>
                    <a:pt x="731" y="33"/>
                  </a:lnTo>
                  <a:lnTo>
                    <a:pt x="733" y="31"/>
                  </a:lnTo>
                  <a:lnTo>
                    <a:pt x="661" y="16"/>
                  </a:lnTo>
                  <a:lnTo>
                    <a:pt x="657" y="0"/>
                  </a:lnTo>
                  <a:lnTo>
                    <a:pt x="645" y="10"/>
                  </a:lnTo>
                  <a:lnTo>
                    <a:pt x="160" y="10"/>
                  </a:lnTo>
                  <a:lnTo>
                    <a:pt x="160" y="18"/>
                  </a:lnTo>
                  <a:lnTo>
                    <a:pt x="141" y="42"/>
                  </a:lnTo>
                  <a:lnTo>
                    <a:pt x="132" y="42"/>
                  </a:lnTo>
                  <a:lnTo>
                    <a:pt x="146" y="34"/>
                  </a:lnTo>
                  <a:lnTo>
                    <a:pt x="140" y="28"/>
                  </a:lnTo>
                  <a:lnTo>
                    <a:pt x="117" y="22"/>
                  </a:lnTo>
                  <a:lnTo>
                    <a:pt x="112" y="28"/>
                  </a:lnTo>
                  <a:lnTo>
                    <a:pt x="96" y="73"/>
                  </a:lnTo>
                  <a:lnTo>
                    <a:pt x="37" y="149"/>
                  </a:lnTo>
                  <a:lnTo>
                    <a:pt x="27" y="179"/>
                  </a:lnTo>
                  <a:lnTo>
                    <a:pt x="4" y="207"/>
                  </a:lnTo>
                  <a:lnTo>
                    <a:pt x="7" y="222"/>
                  </a:lnTo>
                  <a:lnTo>
                    <a:pt x="0" y="239"/>
                  </a:lnTo>
                  <a:lnTo>
                    <a:pt x="7" y="252"/>
                  </a:lnTo>
                  <a:lnTo>
                    <a:pt x="1" y="259"/>
                  </a:lnTo>
                  <a:lnTo>
                    <a:pt x="18" y="257"/>
                  </a:lnTo>
                  <a:lnTo>
                    <a:pt x="5" y="275"/>
                  </a:lnTo>
                  <a:lnTo>
                    <a:pt x="6" y="282"/>
                  </a:lnTo>
                  <a:lnTo>
                    <a:pt x="12" y="282"/>
                  </a:lnTo>
                  <a:lnTo>
                    <a:pt x="4" y="297"/>
                  </a:lnTo>
                  <a:lnTo>
                    <a:pt x="16" y="326"/>
                  </a:lnTo>
                  <a:lnTo>
                    <a:pt x="10" y="337"/>
                  </a:lnTo>
                  <a:lnTo>
                    <a:pt x="47" y="349"/>
                  </a:lnTo>
                  <a:lnTo>
                    <a:pt x="45" y="356"/>
                  </a:lnTo>
                  <a:lnTo>
                    <a:pt x="58" y="365"/>
                  </a:lnTo>
                  <a:lnTo>
                    <a:pt x="60" y="387"/>
                  </a:lnTo>
                  <a:lnTo>
                    <a:pt x="101" y="382"/>
                  </a:lnTo>
                  <a:lnTo>
                    <a:pt x="165" y="413"/>
                  </a:lnTo>
                  <a:lnTo>
                    <a:pt x="258" y="404"/>
                  </a:lnTo>
                  <a:lnTo>
                    <a:pt x="277" y="428"/>
                  </a:lnTo>
                  <a:lnTo>
                    <a:pt x="277" y="447"/>
                  </a:lnTo>
                  <a:lnTo>
                    <a:pt x="290" y="463"/>
                  </a:lnTo>
                  <a:lnTo>
                    <a:pt x="301" y="464"/>
                  </a:lnTo>
                  <a:lnTo>
                    <a:pt x="318" y="447"/>
                  </a:lnTo>
                  <a:lnTo>
                    <a:pt x="341" y="449"/>
                  </a:lnTo>
                  <a:lnTo>
                    <a:pt x="367" y="525"/>
                  </a:lnTo>
                  <a:lnTo>
                    <a:pt x="403" y="537"/>
                  </a:lnTo>
                  <a:lnTo>
                    <a:pt x="407" y="49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81" name="Freeform 63"/>
            <p:cNvSpPr>
              <a:spLocks noChangeAspect="1"/>
            </p:cNvSpPr>
            <p:nvPr/>
          </p:nvSpPr>
          <p:spPr bwMode="auto">
            <a:xfrm>
              <a:off x="3262" y="1458"/>
              <a:ext cx="58" cy="57"/>
            </a:xfrm>
            <a:custGeom>
              <a:avLst/>
              <a:gdLst>
                <a:gd name="T0" fmla="*/ 4 w 66"/>
                <a:gd name="T1" fmla="*/ 8 h 57"/>
                <a:gd name="T2" fmla="*/ 4 w 66"/>
                <a:gd name="T3" fmla="*/ 12 h 57"/>
                <a:gd name="T4" fmla="*/ 4 w 66"/>
                <a:gd name="T5" fmla="*/ 25 h 57"/>
                <a:gd name="T6" fmla="*/ 4 w 66"/>
                <a:gd name="T7" fmla="*/ 27 h 57"/>
                <a:gd name="T8" fmla="*/ 4 w 66"/>
                <a:gd name="T9" fmla="*/ 38 h 57"/>
                <a:gd name="T10" fmla="*/ 4 w 66"/>
                <a:gd name="T11" fmla="*/ 39 h 57"/>
                <a:gd name="T12" fmla="*/ 4 w 66"/>
                <a:gd name="T13" fmla="*/ 57 h 57"/>
                <a:gd name="T14" fmla="*/ 4 w 66"/>
                <a:gd name="T15" fmla="*/ 25 h 57"/>
                <a:gd name="T16" fmla="*/ 0 w 66"/>
                <a:gd name="T17" fmla="*/ 10 h 57"/>
                <a:gd name="T18" fmla="*/ 3 w 66"/>
                <a:gd name="T19" fmla="*/ 0 h 57"/>
                <a:gd name="T20" fmla="*/ 4 w 66"/>
                <a:gd name="T21" fmla="*/ 5 h 57"/>
                <a:gd name="T22" fmla="*/ 4 w 66"/>
                <a:gd name="T23" fmla="*/ 8 h 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6"/>
                <a:gd name="T37" fmla="*/ 0 h 57"/>
                <a:gd name="T38" fmla="*/ 66 w 66"/>
                <a:gd name="T39" fmla="*/ 57 h 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6" h="57">
                  <a:moveTo>
                    <a:pt x="56" y="8"/>
                  </a:moveTo>
                  <a:lnTo>
                    <a:pt x="62" y="12"/>
                  </a:lnTo>
                  <a:lnTo>
                    <a:pt x="59" y="25"/>
                  </a:lnTo>
                  <a:lnTo>
                    <a:pt x="66" y="27"/>
                  </a:lnTo>
                  <a:lnTo>
                    <a:pt x="61" y="38"/>
                  </a:lnTo>
                  <a:lnTo>
                    <a:pt x="48" y="39"/>
                  </a:lnTo>
                  <a:lnTo>
                    <a:pt x="43" y="57"/>
                  </a:lnTo>
                  <a:lnTo>
                    <a:pt x="7" y="25"/>
                  </a:lnTo>
                  <a:lnTo>
                    <a:pt x="0" y="10"/>
                  </a:lnTo>
                  <a:lnTo>
                    <a:pt x="3" y="0"/>
                  </a:lnTo>
                  <a:lnTo>
                    <a:pt x="44" y="5"/>
                  </a:lnTo>
                  <a:lnTo>
                    <a:pt x="56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82" name="Freeform 64"/>
            <p:cNvSpPr>
              <a:spLocks noChangeAspect="1"/>
            </p:cNvSpPr>
            <p:nvPr/>
          </p:nvSpPr>
          <p:spPr bwMode="auto">
            <a:xfrm>
              <a:off x="3297" y="1496"/>
              <a:ext cx="32" cy="40"/>
            </a:xfrm>
            <a:custGeom>
              <a:avLst/>
              <a:gdLst>
                <a:gd name="T0" fmla="*/ 0 w 36"/>
                <a:gd name="T1" fmla="*/ 25 h 40"/>
                <a:gd name="T2" fmla="*/ 4 w 36"/>
                <a:gd name="T3" fmla="*/ 40 h 40"/>
                <a:gd name="T4" fmla="*/ 4 w 36"/>
                <a:gd name="T5" fmla="*/ 22 h 40"/>
                <a:gd name="T6" fmla="*/ 4 w 36"/>
                <a:gd name="T7" fmla="*/ 14 h 40"/>
                <a:gd name="T8" fmla="*/ 4 w 36"/>
                <a:gd name="T9" fmla="*/ 0 h 40"/>
                <a:gd name="T10" fmla="*/ 4 w 36"/>
                <a:gd name="T11" fmla="*/ 1 h 40"/>
                <a:gd name="T12" fmla="*/ 4 w 36"/>
                <a:gd name="T13" fmla="*/ 19 h 40"/>
                <a:gd name="T14" fmla="*/ 0 w 36"/>
                <a:gd name="T15" fmla="*/ 25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6"/>
                <a:gd name="T25" fmla="*/ 0 h 40"/>
                <a:gd name="T26" fmla="*/ 36 w 36"/>
                <a:gd name="T27" fmla="*/ 40 h 4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6" h="40">
                  <a:moveTo>
                    <a:pt x="0" y="25"/>
                  </a:moveTo>
                  <a:lnTo>
                    <a:pt x="24" y="40"/>
                  </a:lnTo>
                  <a:lnTo>
                    <a:pt x="30" y="22"/>
                  </a:lnTo>
                  <a:lnTo>
                    <a:pt x="36" y="14"/>
                  </a:lnTo>
                  <a:lnTo>
                    <a:pt x="22" y="0"/>
                  </a:lnTo>
                  <a:lnTo>
                    <a:pt x="9" y="1"/>
                  </a:lnTo>
                  <a:lnTo>
                    <a:pt x="4" y="19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83" name="Freeform 65"/>
            <p:cNvSpPr>
              <a:spLocks noChangeAspect="1"/>
            </p:cNvSpPr>
            <p:nvPr/>
          </p:nvSpPr>
          <p:spPr bwMode="auto">
            <a:xfrm>
              <a:off x="3306" y="1438"/>
              <a:ext cx="68" cy="102"/>
            </a:xfrm>
            <a:custGeom>
              <a:avLst/>
              <a:gdLst>
                <a:gd name="T0" fmla="*/ 5 w 75"/>
                <a:gd name="T1" fmla="*/ 102 h 102"/>
                <a:gd name="T2" fmla="*/ 5 w 75"/>
                <a:gd name="T3" fmla="*/ 83 h 102"/>
                <a:gd name="T4" fmla="*/ 5 w 75"/>
                <a:gd name="T5" fmla="*/ 80 h 102"/>
                <a:gd name="T6" fmla="*/ 5 w 75"/>
                <a:gd name="T7" fmla="*/ 72 h 102"/>
                <a:gd name="T8" fmla="*/ 5 w 75"/>
                <a:gd name="T9" fmla="*/ 58 h 102"/>
                <a:gd name="T10" fmla="*/ 5 w 75"/>
                <a:gd name="T11" fmla="*/ 47 h 102"/>
                <a:gd name="T12" fmla="*/ 5 w 75"/>
                <a:gd name="T13" fmla="*/ 45 h 102"/>
                <a:gd name="T14" fmla="*/ 5 w 75"/>
                <a:gd name="T15" fmla="*/ 32 h 102"/>
                <a:gd name="T16" fmla="*/ 5 w 75"/>
                <a:gd name="T17" fmla="*/ 28 h 102"/>
                <a:gd name="T18" fmla="*/ 5 w 75"/>
                <a:gd name="T19" fmla="*/ 22 h 102"/>
                <a:gd name="T20" fmla="*/ 4 w 75"/>
                <a:gd name="T21" fmla="*/ 17 h 102"/>
                <a:gd name="T22" fmla="*/ 0 w 75"/>
                <a:gd name="T23" fmla="*/ 5 h 102"/>
                <a:gd name="T24" fmla="*/ 5 w 75"/>
                <a:gd name="T25" fmla="*/ 0 h 102"/>
                <a:gd name="T26" fmla="*/ 5 w 75"/>
                <a:gd name="T27" fmla="*/ 29 h 102"/>
                <a:gd name="T28" fmla="*/ 5 w 75"/>
                <a:gd name="T29" fmla="*/ 32 h 102"/>
                <a:gd name="T30" fmla="*/ 5 w 75"/>
                <a:gd name="T31" fmla="*/ 46 h 102"/>
                <a:gd name="T32" fmla="*/ 5 w 75"/>
                <a:gd name="T33" fmla="*/ 54 h 102"/>
                <a:gd name="T34" fmla="*/ 5 w 75"/>
                <a:gd name="T35" fmla="*/ 74 h 102"/>
                <a:gd name="T36" fmla="*/ 5 w 75"/>
                <a:gd name="T37" fmla="*/ 88 h 102"/>
                <a:gd name="T38" fmla="*/ 5 w 75"/>
                <a:gd name="T39" fmla="*/ 90 h 102"/>
                <a:gd name="T40" fmla="*/ 5 w 75"/>
                <a:gd name="T41" fmla="*/ 102 h 10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5"/>
                <a:gd name="T64" fmla="*/ 0 h 102"/>
                <a:gd name="T65" fmla="*/ 75 w 75"/>
                <a:gd name="T66" fmla="*/ 102 h 10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5" h="102">
                  <a:moveTo>
                    <a:pt x="38" y="102"/>
                  </a:moveTo>
                  <a:lnTo>
                    <a:pt x="28" y="83"/>
                  </a:lnTo>
                  <a:lnTo>
                    <a:pt x="20" y="80"/>
                  </a:lnTo>
                  <a:lnTo>
                    <a:pt x="26" y="72"/>
                  </a:lnTo>
                  <a:lnTo>
                    <a:pt x="12" y="58"/>
                  </a:lnTo>
                  <a:lnTo>
                    <a:pt x="17" y="47"/>
                  </a:lnTo>
                  <a:lnTo>
                    <a:pt x="10" y="45"/>
                  </a:lnTo>
                  <a:lnTo>
                    <a:pt x="13" y="32"/>
                  </a:lnTo>
                  <a:lnTo>
                    <a:pt x="7" y="28"/>
                  </a:lnTo>
                  <a:lnTo>
                    <a:pt x="12" y="22"/>
                  </a:lnTo>
                  <a:lnTo>
                    <a:pt x="4" y="17"/>
                  </a:lnTo>
                  <a:lnTo>
                    <a:pt x="0" y="5"/>
                  </a:lnTo>
                  <a:lnTo>
                    <a:pt x="25" y="0"/>
                  </a:lnTo>
                  <a:lnTo>
                    <a:pt x="51" y="29"/>
                  </a:lnTo>
                  <a:lnTo>
                    <a:pt x="69" y="32"/>
                  </a:lnTo>
                  <a:lnTo>
                    <a:pt x="75" y="46"/>
                  </a:lnTo>
                  <a:lnTo>
                    <a:pt x="69" y="54"/>
                  </a:lnTo>
                  <a:lnTo>
                    <a:pt x="74" y="74"/>
                  </a:lnTo>
                  <a:lnTo>
                    <a:pt x="71" y="88"/>
                  </a:lnTo>
                  <a:lnTo>
                    <a:pt x="52" y="90"/>
                  </a:lnTo>
                  <a:lnTo>
                    <a:pt x="38" y="10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84" name="Freeform 66"/>
            <p:cNvSpPr>
              <a:spLocks noChangeAspect="1"/>
            </p:cNvSpPr>
            <p:nvPr/>
          </p:nvSpPr>
          <p:spPr bwMode="auto">
            <a:xfrm>
              <a:off x="3340" y="1526"/>
              <a:ext cx="39" cy="33"/>
            </a:xfrm>
            <a:custGeom>
              <a:avLst/>
              <a:gdLst>
                <a:gd name="T0" fmla="*/ 4 w 44"/>
                <a:gd name="T1" fmla="*/ 21 h 33"/>
                <a:gd name="T2" fmla="*/ 4 w 44"/>
                <a:gd name="T3" fmla="*/ 0 h 33"/>
                <a:gd name="T4" fmla="*/ 4 w 44"/>
                <a:gd name="T5" fmla="*/ 2 h 33"/>
                <a:gd name="T6" fmla="*/ 0 w 44"/>
                <a:gd name="T7" fmla="*/ 14 h 33"/>
                <a:gd name="T8" fmla="*/ 4 w 44"/>
                <a:gd name="T9" fmla="*/ 33 h 33"/>
                <a:gd name="T10" fmla="*/ 4 w 44"/>
                <a:gd name="T11" fmla="*/ 21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4"/>
                <a:gd name="T19" fmla="*/ 0 h 33"/>
                <a:gd name="T20" fmla="*/ 44 w 44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4" h="33">
                  <a:moveTo>
                    <a:pt x="44" y="21"/>
                  </a:moveTo>
                  <a:lnTo>
                    <a:pt x="33" y="0"/>
                  </a:lnTo>
                  <a:lnTo>
                    <a:pt x="14" y="2"/>
                  </a:lnTo>
                  <a:lnTo>
                    <a:pt x="0" y="14"/>
                  </a:lnTo>
                  <a:lnTo>
                    <a:pt x="9" y="33"/>
                  </a:lnTo>
                  <a:lnTo>
                    <a:pt x="44" y="2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85" name="Freeform 67"/>
            <p:cNvSpPr>
              <a:spLocks noChangeAspect="1"/>
            </p:cNvSpPr>
            <p:nvPr/>
          </p:nvSpPr>
          <p:spPr bwMode="auto">
            <a:xfrm>
              <a:off x="3154" y="1408"/>
              <a:ext cx="7" cy="12"/>
            </a:xfrm>
            <a:custGeom>
              <a:avLst/>
              <a:gdLst>
                <a:gd name="T0" fmla="*/ 0 w 8"/>
                <a:gd name="T1" fmla="*/ 0 h 12"/>
                <a:gd name="T2" fmla="*/ 4 w 8"/>
                <a:gd name="T3" fmla="*/ 12 h 12"/>
                <a:gd name="T4" fmla="*/ 4 w 8"/>
                <a:gd name="T5" fmla="*/ 7 h 12"/>
                <a:gd name="T6" fmla="*/ 4 w 8"/>
                <a:gd name="T7" fmla="*/ 2 h 12"/>
                <a:gd name="T8" fmla="*/ 0 w 8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2"/>
                <a:gd name="T17" fmla="*/ 8 w 8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2">
                  <a:moveTo>
                    <a:pt x="0" y="0"/>
                  </a:moveTo>
                  <a:lnTo>
                    <a:pt x="7" y="12"/>
                  </a:lnTo>
                  <a:lnTo>
                    <a:pt x="8" y="7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86" name="Freeform 68"/>
            <p:cNvSpPr>
              <a:spLocks noChangeAspect="1"/>
            </p:cNvSpPr>
            <p:nvPr/>
          </p:nvSpPr>
          <p:spPr bwMode="auto">
            <a:xfrm>
              <a:off x="3747" y="1233"/>
              <a:ext cx="648" cy="321"/>
            </a:xfrm>
            <a:custGeom>
              <a:avLst/>
              <a:gdLst>
                <a:gd name="T0" fmla="*/ 5 w 718"/>
                <a:gd name="T1" fmla="*/ 138 h 321"/>
                <a:gd name="T2" fmla="*/ 5 w 718"/>
                <a:gd name="T3" fmla="*/ 131 h 321"/>
                <a:gd name="T4" fmla="*/ 5 w 718"/>
                <a:gd name="T5" fmla="*/ 98 h 321"/>
                <a:gd name="T6" fmla="*/ 5 w 718"/>
                <a:gd name="T7" fmla="*/ 91 h 321"/>
                <a:gd name="T8" fmla="*/ 5 w 718"/>
                <a:gd name="T9" fmla="*/ 47 h 321"/>
                <a:gd name="T10" fmla="*/ 5 w 718"/>
                <a:gd name="T11" fmla="*/ 22 h 321"/>
                <a:gd name="T12" fmla="*/ 5 w 718"/>
                <a:gd name="T13" fmla="*/ 41 h 321"/>
                <a:gd name="T14" fmla="*/ 5 w 718"/>
                <a:gd name="T15" fmla="*/ 30 h 321"/>
                <a:gd name="T16" fmla="*/ 5 w 718"/>
                <a:gd name="T17" fmla="*/ 23 h 321"/>
                <a:gd name="T18" fmla="*/ 5 w 718"/>
                <a:gd name="T19" fmla="*/ 15 h 321"/>
                <a:gd name="T20" fmla="*/ 5 w 718"/>
                <a:gd name="T21" fmla="*/ 0 h 321"/>
                <a:gd name="T22" fmla="*/ 5 w 718"/>
                <a:gd name="T23" fmla="*/ 15 h 321"/>
                <a:gd name="T24" fmla="*/ 5 w 718"/>
                <a:gd name="T25" fmla="*/ 31 h 321"/>
                <a:gd name="T26" fmla="*/ 5 w 718"/>
                <a:gd name="T27" fmla="*/ 40 h 321"/>
                <a:gd name="T28" fmla="*/ 5 w 718"/>
                <a:gd name="T29" fmla="*/ 58 h 321"/>
                <a:gd name="T30" fmla="*/ 5 w 718"/>
                <a:gd name="T31" fmla="*/ 77 h 321"/>
                <a:gd name="T32" fmla="*/ 5 w 718"/>
                <a:gd name="T33" fmla="*/ 104 h 321"/>
                <a:gd name="T34" fmla="*/ 5 w 718"/>
                <a:gd name="T35" fmla="*/ 94 h 321"/>
                <a:gd name="T36" fmla="*/ 5 w 718"/>
                <a:gd name="T37" fmla="*/ 105 h 321"/>
                <a:gd name="T38" fmla="*/ 5 w 718"/>
                <a:gd name="T39" fmla="*/ 106 h 321"/>
                <a:gd name="T40" fmla="*/ 5 w 718"/>
                <a:gd name="T41" fmla="*/ 80 h 321"/>
                <a:gd name="T42" fmla="*/ 5 w 718"/>
                <a:gd name="T43" fmla="*/ 82 h 321"/>
                <a:gd name="T44" fmla="*/ 5 w 718"/>
                <a:gd name="T45" fmla="*/ 105 h 321"/>
                <a:gd name="T46" fmla="*/ 5 w 718"/>
                <a:gd name="T47" fmla="*/ 123 h 321"/>
                <a:gd name="T48" fmla="*/ 0 w 718"/>
                <a:gd name="T49" fmla="*/ 154 h 321"/>
                <a:gd name="T50" fmla="*/ 5 w 718"/>
                <a:gd name="T51" fmla="*/ 170 h 321"/>
                <a:gd name="T52" fmla="*/ 5 w 718"/>
                <a:gd name="T53" fmla="*/ 191 h 321"/>
                <a:gd name="T54" fmla="*/ 5 w 718"/>
                <a:gd name="T55" fmla="*/ 201 h 321"/>
                <a:gd name="T56" fmla="*/ 5 w 718"/>
                <a:gd name="T57" fmla="*/ 180 h 321"/>
                <a:gd name="T58" fmla="*/ 5 w 718"/>
                <a:gd name="T59" fmla="*/ 199 h 321"/>
                <a:gd name="T60" fmla="*/ 5 w 718"/>
                <a:gd name="T61" fmla="*/ 223 h 321"/>
                <a:gd name="T62" fmla="*/ 5 w 718"/>
                <a:gd name="T63" fmla="*/ 243 h 321"/>
                <a:gd name="T64" fmla="*/ 5 w 718"/>
                <a:gd name="T65" fmla="*/ 247 h 321"/>
                <a:gd name="T66" fmla="*/ 5 w 718"/>
                <a:gd name="T67" fmla="*/ 281 h 321"/>
                <a:gd name="T68" fmla="*/ 5 w 718"/>
                <a:gd name="T69" fmla="*/ 297 h 321"/>
                <a:gd name="T70" fmla="*/ 5 w 718"/>
                <a:gd name="T71" fmla="*/ 293 h 321"/>
                <a:gd name="T72" fmla="*/ 5 w 718"/>
                <a:gd name="T73" fmla="*/ 316 h 321"/>
                <a:gd name="T74" fmla="*/ 5 w 718"/>
                <a:gd name="T75" fmla="*/ 230 h 321"/>
                <a:gd name="T76" fmla="*/ 5 w 718"/>
                <a:gd name="T77" fmla="*/ 265 h 321"/>
                <a:gd name="T78" fmla="*/ 5 w 718"/>
                <a:gd name="T79" fmla="*/ 279 h 321"/>
                <a:gd name="T80" fmla="*/ 5 w 718"/>
                <a:gd name="T81" fmla="*/ 303 h 321"/>
                <a:gd name="T82" fmla="*/ 5 w 718"/>
                <a:gd name="T83" fmla="*/ 321 h 321"/>
                <a:gd name="T84" fmla="*/ 5 w 718"/>
                <a:gd name="T85" fmla="*/ 292 h 321"/>
                <a:gd name="T86" fmla="*/ 5 w 718"/>
                <a:gd name="T87" fmla="*/ 289 h 321"/>
                <a:gd name="T88" fmla="*/ 5 w 718"/>
                <a:gd name="T89" fmla="*/ 272 h 321"/>
                <a:gd name="T90" fmla="*/ 5 w 718"/>
                <a:gd name="T91" fmla="*/ 282 h 321"/>
                <a:gd name="T92" fmla="*/ 5 w 718"/>
                <a:gd name="T93" fmla="*/ 274 h 321"/>
                <a:gd name="T94" fmla="*/ 5 w 718"/>
                <a:gd name="T95" fmla="*/ 229 h 321"/>
                <a:gd name="T96" fmla="*/ 5 w 718"/>
                <a:gd name="T97" fmla="*/ 182 h 321"/>
                <a:gd name="T98" fmla="*/ 5 w 718"/>
                <a:gd name="T99" fmla="*/ 184 h 321"/>
                <a:gd name="T100" fmla="*/ 5 w 718"/>
                <a:gd name="T101" fmla="*/ 149 h 32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18"/>
                <a:gd name="T154" fmla="*/ 0 h 321"/>
                <a:gd name="T155" fmla="*/ 718 w 718"/>
                <a:gd name="T156" fmla="*/ 321 h 32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18" h="321">
                  <a:moveTo>
                    <a:pt x="716" y="149"/>
                  </a:moveTo>
                  <a:lnTo>
                    <a:pt x="718" y="138"/>
                  </a:lnTo>
                  <a:lnTo>
                    <a:pt x="703" y="126"/>
                  </a:lnTo>
                  <a:lnTo>
                    <a:pt x="699" y="131"/>
                  </a:lnTo>
                  <a:lnTo>
                    <a:pt x="679" y="127"/>
                  </a:lnTo>
                  <a:lnTo>
                    <a:pt x="637" y="98"/>
                  </a:lnTo>
                  <a:lnTo>
                    <a:pt x="603" y="103"/>
                  </a:lnTo>
                  <a:lnTo>
                    <a:pt x="586" y="91"/>
                  </a:lnTo>
                  <a:lnTo>
                    <a:pt x="578" y="102"/>
                  </a:lnTo>
                  <a:lnTo>
                    <a:pt x="519" y="47"/>
                  </a:lnTo>
                  <a:lnTo>
                    <a:pt x="489" y="31"/>
                  </a:lnTo>
                  <a:lnTo>
                    <a:pt x="489" y="22"/>
                  </a:lnTo>
                  <a:lnTo>
                    <a:pt x="471" y="28"/>
                  </a:lnTo>
                  <a:lnTo>
                    <a:pt x="457" y="41"/>
                  </a:lnTo>
                  <a:lnTo>
                    <a:pt x="440" y="42"/>
                  </a:lnTo>
                  <a:lnTo>
                    <a:pt x="439" y="30"/>
                  </a:lnTo>
                  <a:lnTo>
                    <a:pt x="418" y="31"/>
                  </a:lnTo>
                  <a:lnTo>
                    <a:pt x="410" y="23"/>
                  </a:lnTo>
                  <a:lnTo>
                    <a:pt x="395" y="28"/>
                  </a:lnTo>
                  <a:lnTo>
                    <a:pt x="393" y="15"/>
                  </a:lnTo>
                  <a:lnTo>
                    <a:pt x="378" y="3"/>
                  </a:lnTo>
                  <a:lnTo>
                    <a:pt x="348" y="0"/>
                  </a:lnTo>
                  <a:lnTo>
                    <a:pt x="338" y="9"/>
                  </a:lnTo>
                  <a:lnTo>
                    <a:pt x="303" y="15"/>
                  </a:lnTo>
                  <a:lnTo>
                    <a:pt x="250" y="32"/>
                  </a:lnTo>
                  <a:lnTo>
                    <a:pt x="222" y="31"/>
                  </a:lnTo>
                  <a:lnTo>
                    <a:pt x="226" y="40"/>
                  </a:lnTo>
                  <a:lnTo>
                    <a:pt x="235" y="40"/>
                  </a:lnTo>
                  <a:lnTo>
                    <a:pt x="232" y="53"/>
                  </a:lnTo>
                  <a:lnTo>
                    <a:pt x="226" y="58"/>
                  </a:lnTo>
                  <a:lnTo>
                    <a:pt x="234" y="69"/>
                  </a:lnTo>
                  <a:lnTo>
                    <a:pt x="220" y="77"/>
                  </a:lnTo>
                  <a:lnTo>
                    <a:pt x="252" y="89"/>
                  </a:lnTo>
                  <a:lnTo>
                    <a:pt x="245" y="104"/>
                  </a:lnTo>
                  <a:lnTo>
                    <a:pt x="216" y="104"/>
                  </a:lnTo>
                  <a:lnTo>
                    <a:pt x="193" y="94"/>
                  </a:lnTo>
                  <a:lnTo>
                    <a:pt x="168" y="96"/>
                  </a:lnTo>
                  <a:lnTo>
                    <a:pt x="152" y="105"/>
                  </a:lnTo>
                  <a:lnTo>
                    <a:pt x="131" y="96"/>
                  </a:lnTo>
                  <a:lnTo>
                    <a:pt x="131" y="106"/>
                  </a:lnTo>
                  <a:lnTo>
                    <a:pt x="108" y="86"/>
                  </a:lnTo>
                  <a:lnTo>
                    <a:pt x="84" y="80"/>
                  </a:lnTo>
                  <a:lnTo>
                    <a:pt x="77" y="86"/>
                  </a:lnTo>
                  <a:lnTo>
                    <a:pt x="58" y="82"/>
                  </a:lnTo>
                  <a:lnTo>
                    <a:pt x="39" y="94"/>
                  </a:lnTo>
                  <a:lnTo>
                    <a:pt x="26" y="105"/>
                  </a:lnTo>
                  <a:lnTo>
                    <a:pt x="34" y="119"/>
                  </a:lnTo>
                  <a:lnTo>
                    <a:pt x="27" y="123"/>
                  </a:lnTo>
                  <a:lnTo>
                    <a:pt x="9" y="108"/>
                  </a:lnTo>
                  <a:lnTo>
                    <a:pt x="0" y="154"/>
                  </a:lnTo>
                  <a:lnTo>
                    <a:pt x="10" y="156"/>
                  </a:lnTo>
                  <a:lnTo>
                    <a:pt x="18" y="170"/>
                  </a:lnTo>
                  <a:lnTo>
                    <a:pt x="33" y="170"/>
                  </a:lnTo>
                  <a:lnTo>
                    <a:pt x="50" y="191"/>
                  </a:lnTo>
                  <a:lnTo>
                    <a:pt x="40" y="195"/>
                  </a:lnTo>
                  <a:lnTo>
                    <a:pt x="55" y="201"/>
                  </a:lnTo>
                  <a:lnTo>
                    <a:pt x="52" y="195"/>
                  </a:lnTo>
                  <a:lnTo>
                    <a:pt x="85" y="180"/>
                  </a:lnTo>
                  <a:lnTo>
                    <a:pt x="115" y="183"/>
                  </a:lnTo>
                  <a:lnTo>
                    <a:pt x="138" y="199"/>
                  </a:lnTo>
                  <a:lnTo>
                    <a:pt x="154" y="225"/>
                  </a:lnTo>
                  <a:lnTo>
                    <a:pt x="108" y="223"/>
                  </a:lnTo>
                  <a:lnTo>
                    <a:pt x="100" y="231"/>
                  </a:lnTo>
                  <a:lnTo>
                    <a:pt x="107" y="243"/>
                  </a:lnTo>
                  <a:lnTo>
                    <a:pt x="85" y="241"/>
                  </a:lnTo>
                  <a:lnTo>
                    <a:pt x="84" y="247"/>
                  </a:lnTo>
                  <a:lnTo>
                    <a:pt x="96" y="251"/>
                  </a:lnTo>
                  <a:lnTo>
                    <a:pt x="121" y="281"/>
                  </a:lnTo>
                  <a:lnTo>
                    <a:pt x="134" y="281"/>
                  </a:lnTo>
                  <a:lnTo>
                    <a:pt x="134" y="297"/>
                  </a:lnTo>
                  <a:lnTo>
                    <a:pt x="136" y="302"/>
                  </a:lnTo>
                  <a:lnTo>
                    <a:pt x="146" y="293"/>
                  </a:lnTo>
                  <a:lnTo>
                    <a:pt x="164" y="291"/>
                  </a:lnTo>
                  <a:lnTo>
                    <a:pt x="193" y="316"/>
                  </a:lnTo>
                  <a:lnTo>
                    <a:pt x="204" y="316"/>
                  </a:lnTo>
                  <a:lnTo>
                    <a:pt x="184" y="230"/>
                  </a:lnTo>
                  <a:lnTo>
                    <a:pt x="230" y="217"/>
                  </a:lnTo>
                  <a:lnTo>
                    <a:pt x="304" y="265"/>
                  </a:lnTo>
                  <a:lnTo>
                    <a:pt x="358" y="260"/>
                  </a:lnTo>
                  <a:lnTo>
                    <a:pt x="384" y="279"/>
                  </a:lnTo>
                  <a:lnTo>
                    <a:pt x="388" y="302"/>
                  </a:lnTo>
                  <a:lnTo>
                    <a:pt x="400" y="303"/>
                  </a:lnTo>
                  <a:lnTo>
                    <a:pt x="406" y="317"/>
                  </a:lnTo>
                  <a:lnTo>
                    <a:pt x="443" y="321"/>
                  </a:lnTo>
                  <a:lnTo>
                    <a:pt x="472" y="298"/>
                  </a:lnTo>
                  <a:lnTo>
                    <a:pt x="473" y="292"/>
                  </a:lnTo>
                  <a:lnTo>
                    <a:pt x="475" y="283"/>
                  </a:lnTo>
                  <a:lnTo>
                    <a:pt x="518" y="289"/>
                  </a:lnTo>
                  <a:lnTo>
                    <a:pt x="519" y="277"/>
                  </a:lnTo>
                  <a:lnTo>
                    <a:pt x="529" y="272"/>
                  </a:lnTo>
                  <a:lnTo>
                    <a:pt x="553" y="280"/>
                  </a:lnTo>
                  <a:lnTo>
                    <a:pt x="626" y="282"/>
                  </a:lnTo>
                  <a:lnTo>
                    <a:pt x="648" y="293"/>
                  </a:lnTo>
                  <a:lnTo>
                    <a:pt x="651" y="274"/>
                  </a:lnTo>
                  <a:lnTo>
                    <a:pt x="628" y="236"/>
                  </a:lnTo>
                  <a:lnTo>
                    <a:pt x="633" y="229"/>
                  </a:lnTo>
                  <a:lnTo>
                    <a:pt x="663" y="227"/>
                  </a:lnTo>
                  <a:lnTo>
                    <a:pt x="661" y="182"/>
                  </a:lnTo>
                  <a:lnTo>
                    <a:pt x="697" y="189"/>
                  </a:lnTo>
                  <a:lnTo>
                    <a:pt x="708" y="184"/>
                  </a:lnTo>
                  <a:lnTo>
                    <a:pt x="702" y="155"/>
                  </a:lnTo>
                  <a:lnTo>
                    <a:pt x="716" y="14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87" name="Freeform 69"/>
            <p:cNvSpPr>
              <a:spLocks noChangeAspect="1"/>
            </p:cNvSpPr>
            <p:nvPr/>
          </p:nvSpPr>
          <p:spPr bwMode="auto">
            <a:xfrm>
              <a:off x="3913" y="1450"/>
              <a:ext cx="308" cy="195"/>
            </a:xfrm>
            <a:custGeom>
              <a:avLst/>
              <a:gdLst>
                <a:gd name="T0" fmla="*/ 5 w 341"/>
                <a:gd name="T1" fmla="*/ 189 h 195"/>
                <a:gd name="T2" fmla="*/ 5 w 341"/>
                <a:gd name="T3" fmla="*/ 195 h 195"/>
                <a:gd name="T4" fmla="*/ 5 w 341"/>
                <a:gd name="T5" fmla="*/ 171 h 195"/>
                <a:gd name="T6" fmla="*/ 5 w 341"/>
                <a:gd name="T7" fmla="*/ 151 h 195"/>
                <a:gd name="T8" fmla="*/ 5 w 341"/>
                <a:gd name="T9" fmla="*/ 144 h 195"/>
                <a:gd name="T10" fmla="*/ 5 w 341"/>
                <a:gd name="T11" fmla="*/ 138 h 195"/>
                <a:gd name="T12" fmla="*/ 5 w 341"/>
                <a:gd name="T13" fmla="*/ 137 h 195"/>
                <a:gd name="T14" fmla="*/ 5 w 341"/>
                <a:gd name="T15" fmla="*/ 127 h 195"/>
                <a:gd name="T16" fmla="*/ 5 w 341"/>
                <a:gd name="T17" fmla="*/ 123 h 195"/>
                <a:gd name="T18" fmla="*/ 5 w 341"/>
                <a:gd name="T19" fmla="*/ 112 h 195"/>
                <a:gd name="T20" fmla="*/ 5 w 341"/>
                <a:gd name="T21" fmla="*/ 104 h 195"/>
                <a:gd name="T22" fmla="*/ 5 w 341"/>
                <a:gd name="T23" fmla="*/ 123 h 195"/>
                <a:gd name="T24" fmla="*/ 5 w 341"/>
                <a:gd name="T25" fmla="*/ 123 h 195"/>
                <a:gd name="T26" fmla="*/ 5 w 341"/>
                <a:gd name="T27" fmla="*/ 122 h 195"/>
                <a:gd name="T28" fmla="*/ 5 w 341"/>
                <a:gd name="T29" fmla="*/ 109 h 195"/>
                <a:gd name="T30" fmla="*/ 5 w 341"/>
                <a:gd name="T31" fmla="*/ 93 h 195"/>
                <a:gd name="T32" fmla="*/ 5 w 341"/>
                <a:gd name="T33" fmla="*/ 103 h 195"/>
                <a:gd name="T34" fmla="*/ 5 w 341"/>
                <a:gd name="T35" fmla="*/ 94 h 195"/>
                <a:gd name="T36" fmla="*/ 5 w 341"/>
                <a:gd name="T37" fmla="*/ 78 h 195"/>
                <a:gd name="T38" fmla="*/ 5 w 341"/>
                <a:gd name="T39" fmla="*/ 75 h 195"/>
                <a:gd name="T40" fmla="*/ 5 w 341"/>
                <a:gd name="T41" fmla="*/ 81 h 195"/>
                <a:gd name="T42" fmla="*/ 5 w 341"/>
                <a:gd name="T43" fmla="*/ 104 h 195"/>
                <a:gd name="T44" fmla="*/ 5 w 341"/>
                <a:gd name="T45" fmla="*/ 100 h 195"/>
                <a:gd name="T46" fmla="*/ 5 w 341"/>
                <a:gd name="T47" fmla="*/ 86 h 195"/>
                <a:gd name="T48" fmla="*/ 5 w 341"/>
                <a:gd name="T49" fmla="*/ 85 h 195"/>
                <a:gd name="T50" fmla="*/ 5 w 341"/>
                <a:gd name="T51" fmla="*/ 62 h 195"/>
                <a:gd name="T52" fmla="*/ 5 w 341"/>
                <a:gd name="T53" fmla="*/ 43 h 195"/>
                <a:gd name="T54" fmla="*/ 5 w 341"/>
                <a:gd name="T55" fmla="*/ 48 h 195"/>
                <a:gd name="T56" fmla="*/ 5 w 341"/>
                <a:gd name="T57" fmla="*/ 0 h 195"/>
                <a:gd name="T58" fmla="*/ 0 w 341"/>
                <a:gd name="T59" fmla="*/ 13 h 195"/>
                <a:gd name="T60" fmla="*/ 5 w 341"/>
                <a:gd name="T61" fmla="*/ 99 h 195"/>
                <a:gd name="T62" fmla="*/ 5 w 341"/>
                <a:gd name="T63" fmla="*/ 100 h 195"/>
                <a:gd name="T64" fmla="*/ 5 w 341"/>
                <a:gd name="T65" fmla="*/ 85 h 195"/>
                <a:gd name="T66" fmla="*/ 5 w 341"/>
                <a:gd name="T67" fmla="*/ 71 h 195"/>
                <a:gd name="T68" fmla="*/ 5 w 341"/>
                <a:gd name="T69" fmla="*/ 69 h 195"/>
                <a:gd name="T70" fmla="*/ 5 w 341"/>
                <a:gd name="T71" fmla="*/ 64 h 195"/>
                <a:gd name="T72" fmla="*/ 5 w 341"/>
                <a:gd name="T73" fmla="*/ 77 h 195"/>
                <a:gd name="T74" fmla="*/ 5 w 341"/>
                <a:gd name="T75" fmla="*/ 97 h 195"/>
                <a:gd name="T76" fmla="*/ 5 w 341"/>
                <a:gd name="T77" fmla="*/ 103 h 195"/>
                <a:gd name="T78" fmla="*/ 5 w 341"/>
                <a:gd name="T79" fmla="*/ 132 h 195"/>
                <a:gd name="T80" fmla="*/ 5 w 341"/>
                <a:gd name="T81" fmla="*/ 168 h 195"/>
                <a:gd name="T82" fmla="*/ 5 w 341"/>
                <a:gd name="T83" fmla="*/ 172 h 195"/>
                <a:gd name="T84" fmla="*/ 5 w 341"/>
                <a:gd name="T85" fmla="*/ 189 h 1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1"/>
                <a:gd name="T130" fmla="*/ 0 h 195"/>
                <a:gd name="T131" fmla="*/ 341 w 341"/>
                <a:gd name="T132" fmla="*/ 195 h 1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1" h="195">
                  <a:moveTo>
                    <a:pt x="236" y="189"/>
                  </a:moveTo>
                  <a:lnTo>
                    <a:pt x="259" y="195"/>
                  </a:lnTo>
                  <a:lnTo>
                    <a:pt x="266" y="171"/>
                  </a:lnTo>
                  <a:lnTo>
                    <a:pt x="257" y="151"/>
                  </a:lnTo>
                  <a:lnTo>
                    <a:pt x="242" y="144"/>
                  </a:lnTo>
                  <a:lnTo>
                    <a:pt x="244" y="138"/>
                  </a:lnTo>
                  <a:lnTo>
                    <a:pt x="262" y="137"/>
                  </a:lnTo>
                  <a:lnTo>
                    <a:pt x="263" y="127"/>
                  </a:lnTo>
                  <a:lnTo>
                    <a:pt x="273" y="123"/>
                  </a:lnTo>
                  <a:lnTo>
                    <a:pt x="272" y="112"/>
                  </a:lnTo>
                  <a:lnTo>
                    <a:pt x="290" y="104"/>
                  </a:lnTo>
                  <a:lnTo>
                    <a:pt x="297" y="123"/>
                  </a:lnTo>
                  <a:lnTo>
                    <a:pt x="304" y="123"/>
                  </a:lnTo>
                  <a:lnTo>
                    <a:pt x="322" y="122"/>
                  </a:lnTo>
                  <a:lnTo>
                    <a:pt x="341" y="109"/>
                  </a:lnTo>
                  <a:lnTo>
                    <a:pt x="310" y="93"/>
                  </a:lnTo>
                  <a:lnTo>
                    <a:pt x="307" y="103"/>
                  </a:lnTo>
                  <a:lnTo>
                    <a:pt x="284" y="94"/>
                  </a:lnTo>
                  <a:lnTo>
                    <a:pt x="297" y="78"/>
                  </a:lnTo>
                  <a:lnTo>
                    <a:pt x="289" y="75"/>
                  </a:lnTo>
                  <a:lnTo>
                    <a:pt x="288" y="81"/>
                  </a:lnTo>
                  <a:lnTo>
                    <a:pt x="259" y="104"/>
                  </a:lnTo>
                  <a:lnTo>
                    <a:pt x="222" y="100"/>
                  </a:lnTo>
                  <a:lnTo>
                    <a:pt x="216" y="86"/>
                  </a:lnTo>
                  <a:lnTo>
                    <a:pt x="204" y="85"/>
                  </a:lnTo>
                  <a:lnTo>
                    <a:pt x="200" y="62"/>
                  </a:lnTo>
                  <a:lnTo>
                    <a:pt x="174" y="43"/>
                  </a:lnTo>
                  <a:lnTo>
                    <a:pt x="120" y="48"/>
                  </a:lnTo>
                  <a:lnTo>
                    <a:pt x="46" y="0"/>
                  </a:lnTo>
                  <a:lnTo>
                    <a:pt x="0" y="13"/>
                  </a:lnTo>
                  <a:lnTo>
                    <a:pt x="20" y="99"/>
                  </a:lnTo>
                  <a:lnTo>
                    <a:pt x="37" y="100"/>
                  </a:lnTo>
                  <a:lnTo>
                    <a:pt x="36" y="85"/>
                  </a:lnTo>
                  <a:lnTo>
                    <a:pt x="52" y="71"/>
                  </a:lnTo>
                  <a:lnTo>
                    <a:pt x="55" y="69"/>
                  </a:lnTo>
                  <a:lnTo>
                    <a:pt x="61" y="64"/>
                  </a:lnTo>
                  <a:lnTo>
                    <a:pt x="89" y="77"/>
                  </a:lnTo>
                  <a:lnTo>
                    <a:pt x="96" y="97"/>
                  </a:lnTo>
                  <a:lnTo>
                    <a:pt x="131" y="103"/>
                  </a:lnTo>
                  <a:lnTo>
                    <a:pt x="151" y="132"/>
                  </a:lnTo>
                  <a:lnTo>
                    <a:pt x="213" y="168"/>
                  </a:lnTo>
                  <a:lnTo>
                    <a:pt x="232" y="172"/>
                  </a:lnTo>
                  <a:lnTo>
                    <a:pt x="236" y="18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88" name="Freeform 70"/>
            <p:cNvSpPr>
              <a:spLocks noChangeAspect="1"/>
            </p:cNvSpPr>
            <p:nvPr/>
          </p:nvSpPr>
          <p:spPr bwMode="auto">
            <a:xfrm>
              <a:off x="4132" y="1554"/>
              <a:ext cx="139" cy="98"/>
            </a:xfrm>
            <a:custGeom>
              <a:avLst/>
              <a:gdLst>
                <a:gd name="T0" fmla="*/ 5 w 152"/>
                <a:gd name="T1" fmla="*/ 92 h 98"/>
                <a:gd name="T2" fmla="*/ 5 w 152"/>
                <a:gd name="T3" fmla="*/ 89 h 98"/>
                <a:gd name="T4" fmla="*/ 5 w 152"/>
                <a:gd name="T5" fmla="*/ 79 h 98"/>
                <a:gd name="T6" fmla="*/ 5 w 152"/>
                <a:gd name="T7" fmla="*/ 80 h 98"/>
                <a:gd name="T8" fmla="*/ 5 w 152"/>
                <a:gd name="T9" fmla="*/ 59 h 98"/>
                <a:gd name="T10" fmla="*/ 5 w 152"/>
                <a:gd name="T11" fmla="*/ 72 h 98"/>
                <a:gd name="T12" fmla="*/ 5 w 152"/>
                <a:gd name="T13" fmla="*/ 98 h 98"/>
                <a:gd name="T14" fmla="*/ 5 w 152"/>
                <a:gd name="T15" fmla="*/ 82 h 98"/>
                <a:gd name="T16" fmla="*/ 5 w 152"/>
                <a:gd name="T17" fmla="*/ 87 h 98"/>
                <a:gd name="T18" fmla="*/ 5 w 152"/>
                <a:gd name="T19" fmla="*/ 61 h 98"/>
                <a:gd name="T20" fmla="*/ 5 w 152"/>
                <a:gd name="T21" fmla="*/ 59 h 98"/>
                <a:gd name="T22" fmla="*/ 5 w 152"/>
                <a:gd name="T23" fmla="*/ 51 h 98"/>
                <a:gd name="T24" fmla="*/ 5 w 152"/>
                <a:gd name="T25" fmla="*/ 36 h 98"/>
                <a:gd name="T26" fmla="*/ 5 w 152"/>
                <a:gd name="T27" fmla="*/ 41 h 98"/>
                <a:gd name="T28" fmla="*/ 5 w 152"/>
                <a:gd name="T29" fmla="*/ 34 h 98"/>
                <a:gd name="T30" fmla="*/ 5 w 152"/>
                <a:gd name="T31" fmla="*/ 34 h 98"/>
                <a:gd name="T32" fmla="*/ 5 w 152"/>
                <a:gd name="T33" fmla="*/ 24 h 98"/>
                <a:gd name="T34" fmla="*/ 5 w 152"/>
                <a:gd name="T35" fmla="*/ 24 h 98"/>
                <a:gd name="T36" fmla="*/ 5 w 152"/>
                <a:gd name="T37" fmla="*/ 19 h 98"/>
                <a:gd name="T38" fmla="*/ 5 w 152"/>
                <a:gd name="T39" fmla="*/ 19 h 98"/>
                <a:gd name="T40" fmla="*/ 5 w 152"/>
                <a:gd name="T41" fmla="*/ 0 h 98"/>
                <a:gd name="T42" fmla="*/ 5 w 152"/>
                <a:gd name="T43" fmla="*/ 8 h 98"/>
                <a:gd name="T44" fmla="*/ 5 w 152"/>
                <a:gd name="T45" fmla="*/ 19 h 98"/>
                <a:gd name="T46" fmla="*/ 5 w 152"/>
                <a:gd name="T47" fmla="*/ 23 h 98"/>
                <a:gd name="T48" fmla="*/ 5 w 152"/>
                <a:gd name="T49" fmla="*/ 33 h 98"/>
                <a:gd name="T50" fmla="*/ 2 w 152"/>
                <a:gd name="T51" fmla="*/ 34 h 98"/>
                <a:gd name="T52" fmla="*/ 0 w 152"/>
                <a:gd name="T53" fmla="*/ 40 h 98"/>
                <a:gd name="T54" fmla="*/ 5 w 152"/>
                <a:gd name="T55" fmla="*/ 47 h 98"/>
                <a:gd name="T56" fmla="*/ 5 w 152"/>
                <a:gd name="T57" fmla="*/ 67 h 98"/>
                <a:gd name="T58" fmla="*/ 5 w 152"/>
                <a:gd name="T59" fmla="*/ 91 h 98"/>
                <a:gd name="T60" fmla="*/ 5 w 152"/>
                <a:gd name="T61" fmla="*/ 92 h 9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52"/>
                <a:gd name="T94" fmla="*/ 0 h 98"/>
                <a:gd name="T95" fmla="*/ 152 w 152"/>
                <a:gd name="T96" fmla="*/ 98 h 9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52" h="98">
                  <a:moveTo>
                    <a:pt x="25" y="92"/>
                  </a:moveTo>
                  <a:lnTo>
                    <a:pt x="46" y="89"/>
                  </a:lnTo>
                  <a:lnTo>
                    <a:pt x="51" y="79"/>
                  </a:lnTo>
                  <a:lnTo>
                    <a:pt x="63" y="80"/>
                  </a:lnTo>
                  <a:lnTo>
                    <a:pt x="71" y="59"/>
                  </a:lnTo>
                  <a:lnTo>
                    <a:pt x="87" y="72"/>
                  </a:lnTo>
                  <a:lnTo>
                    <a:pt x="94" y="98"/>
                  </a:lnTo>
                  <a:lnTo>
                    <a:pt x="125" y="82"/>
                  </a:lnTo>
                  <a:lnTo>
                    <a:pt x="152" y="87"/>
                  </a:lnTo>
                  <a:lnTo>
                    <a:pt x="146" y="61"/>
                  </a:lnTo>
                  <a:lnTo>
                    <a:pt x="129" y="59"/>
                  </a:lnTo>
                  <a:lnTo>
                    <a:pt x="122" y="51"/>
                  </a:lnTo>
                  <a:lnTo>
                    <a:pt x="122" y="36"/>
                  </a:lnTo>
                  <a:lnTo>
                    <a:pt x="92" y="41"/>
                  </a:lnTo>
                  <a:lnTo>
                    <a:pt x="75" y="34"/>
                  </a:lnTo>
                  <a:lnTo>
                    <a:pt x="36" y="34"/>
                  </a:lnTo>
                  <a:lnTo>
                    <a:pt x="32" y="24"/>
                  </a:lnTo>
                  <a:lnTo>
                    <a:pt x="55" y="24"/>
                  </a:lnTo>
                  <a:lnTo>
                    <a:pt x="62" y="19"/>
                  </a:lnTo>
                  <a:lnTo>
                    <a:pt x="55" y="19"/>
                  </a:lnTo>
                  <a:lnTo>
                    <a:pt x="48" y="0"/>
                  </a:lnTo>
                  <a:lnTo>
                    <a:pt x="30" y="8"/>
                  </a:lnTo>
                  <a:lnTo>
                    <a:pt x="31" y="19"/>
                  </a:lnTo>
                  <a:lnTo>
                    <a:pt x="21" y="23"/>
                  </a:lnTo>
                  <a:lnTo>
                    <a:pt x="20" y="33"/>
                  </a:lnTo>
                  <a:lnTo>
                    <a:pt x="2" y="34"/>
                  </a:lnTo>
                  <a:lnTo>
                    <a:pt x="0" y="40"/>
                  </a:lnTo>
                  <a:lnTo>
                    <a:pt x="15" y="47"/>
                  </a:lnTo>
                  <a:lnTo>
                    <a:pt x="24" y="67"/>
                  </a:lnTo>
                  <a:lnTo>
                    <a:pt x="17" y="91"/>
                  </a:lnTo>
                  <a:lnTo>
                    <a:pt x="25" y="9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89" name="Freeform 71"/>
            <p:cNvSpPr>
              <a:spLocks noChangeAspect="1"/>
            </p:cNvSpPr>
            <p:nvPr/>
          </p:nvSpPr>
          <p:spPr bwMode="auto">
            <a:xfrm>
              <a:off x="4161" y="1505"/>
              <a:ext cx="171" cy="90"/>
            </a:xfrm>
            <a:custGeom>
              <a:avLst/>
              <a:gdLst>
                <a:gd name="T0" fmla="*/ 5 w 190"/>
                <a:gd name="T1" fmla="*/ 68 h 90"/>
                <a:gd name="T2" fmla="*/ 5 w 190"/>
                <a:gd name="T3" fmla="*/ 73 h 90"/>
                <a:gd name="T4" fmla="*/ 0 w 190"/>
                <a:gd name="T5" fmla="*/ 73 h 90"/>
                <a:gd name="T6" fmla="*/ 4 w 190"/>
                <a:gd name="T7" fmla="*/ 83 h 90"/>
                <a:gd name="T8" fmla="*/ 5 w 190"/>
                <a:gd name="T9" fmla="*/ 83 h 90"/>
                <a:gd name="T10" fmla="*/ 5 w 190"/>
                <a:gd name="T11" fmla="*/ 90 h 90"/>
                <a:gd name="T12" fmla="*/ 5 w 190"/>
                <a:gd name="T13" fmla="*/ 85 h 90"/>
                <a:gd name="T14" fmla="*/ 5 w 190"/>
                <a:gd name="T15" fmla="*/ 73 h 90"/>
                <a:gd name="T16" fmla="*/ 5 w 190"/>
                <a:gd name="T17" fmla="*/ 62 h 90"/>
                <a:gd name="T18" fmla="*/ 5 w 190"/>
                <a:gd name="T19" fmla="*/ 62 h 90"/>
                <a:gd name="T20" fmla="*/ 5 w 190"/>
                <a:gd name="T21" fmla="*/ 53 h 90"/>
                <a:gd name="T22" fmla="*/ 5 w 190"/>
                <a:gd name="T23" fmla="*/ 50 h 90"/>
                <a:gd name="T24" fmla="*/ 5 w 190"/>
                <a:gd name="T25" fmla="*/ 30 h 90"/>
                <a:gd name="T26" fmla="*/ 5 w 190"/>
                <a:gd name="T27" fmla="*/ 21 h 90"/>
                <a:gd name="T28" fmla="*/ 5 w 190"/>
                <a:gd name="T29" fmla="*/ 10 h 90"/>
                <a:gd name="T30" fmla="*/ 5 w 190"/>
                <a:gd name="T31" fmla="*/ 8 h 90"/>
                <a:gd name="T32" fmla="*/ 5 w 190"/>
                <a:gd name="T33" fmla="*/ 0 h 90"/>
                <a:gd name="T34" fmla="*/ 5 w 190"/>
                <a:gd name="T35" fmla="*/ 5 h 90"/>
                <a:gd name="T36" fmla="*/ 5 w 190"/>
                <a:gd name="T37" fmla="*/ 17 h 90"/>
                <a:gd name="T38" fmla="*/ 5 w 190"/>
                <a:gd name="T39" fmla="*/ 11 h 90"/>
                <a:gd name="T40" fmla="*/ 5 w 190"/>
                <a:gd name="T41" fmla="*/ 20 h 90"/>
                <a:gd name="T42" fmla="*/ 5 w 190"/>
                <a:gd name="T43" fmla="*/ 23 h 90"/>
                <a:gd name="T44" fmla="*/ 5 w 190"/>
                <a:gd name="T45" fmla="*/ 39 h 90"/>
                <a:gd name="T46" fmla="*/ 5 w 190"/>
                <a:gd name="T47" fmla="*/ 48 h 90"/>
                <a:gd name="T48" fmla="*/ 5 w 190"/>
                <a:gd name="T49" fmla="*/ 38 h 90"/>
                <a:gd name="T50" fmla="*/ 5 w 190"/>
                <a:gd name="T51" fmla="*/ 54 h 90"/>
                <a:gd name="T52" fmla="*/ 5 w 190"/>
                <a:gd name="T53" fmla="*/ 67 h 90"/>
                <a:gd name="T54" fmla="*/ 5 w 190"/>
                <a:gd name="T55" fmla="*/ 68 h 9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0"/>
                <a:gd name="T85" fmla="*/ 0 h 90"/>
                <a:gd name="T86" fmla="*/ 190 w 190"/>
                <a:gd name="T87" fmla="*/ 90 h 9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0" h="90">
                  <a:moveTo>
                    <a:pt x="30" y="68"/>
                  </a:moveTo>
                  <a:lnTo>
                    <a:pt x="23" y="73"/>
                  </a:lnTo>
                  <a:lnTo>
                    <a:pt x="0" y="73"/>
                  </a:lnTo>
                  <a:lnTo>
                    <a:pt x="4" y="83"/>
                  </a:lnTo>
                  <a:lnTo>
                    <a:pt x="43" y="83"/>
                  </a:lnTo>
                  <a:lnTo>
                    <a:pt x="60" y="90"/>
                  </a:lnTo>
                  <a:lnTo>
                    <a:pt x="90" y="85"/>
                  </a:lnTo>
                  <a:lnTo>
                    <a:pt x="90" y="73"/>
                  </a:lnTo>
                  <a:lnTo>
                    <a:pt x="104" y="62"/>
                  </a:lnTo>
                  <a:lnTo>
                    <a:pt x="135" y="62"/>
                  </a:lnTo>
                  <a:lnTo>
                    <a:pt x="137" y="53"/>
                  </a:lnTo>
                  <a:lnTo>
                    <a:pt x="158" y="50"/>
                  </a:lnTo>
                  <a:lnTo>
                    <a:pt x="188" y="30"/>
                  </a:lnTo>
                  <a:lnTo>
                    <a:pt x="190" y="21"/>
                  </a:lnTo>
                  <a:lnTo>
                    <a:pt x="168" y="10"/>
                  </a:lnTo>
                  <a:lnTo>
                    <a:pt x="95" y="8"/>
                  </a:lnTo>
                  <a:lnTo>
                    <a:pt x="71" y="0"/>
                  </a:lnTo>
                  <a:lnTo>
                    <a:pt x="61" y="5"/>
                  </a:lnTo>
                  <a:lnTo>
                    <a:pt x="60" y="17"/>
                  </a:lnTo>
                  <a:lnTo>
                    <a:pt x="17" y="11"/>
                  </a:lnTo>
                  <a:lnTo>
                    <a:pt x="15" y="20"/>
                  </a:lnTo>
                  <a:lnTo>
                    <a:pt x="23" y="23"/>
                  </a:lnTo>
                  <a:lnTo>
                    <a:pt x="10" y="39"/>
                  </a:lnTo>
                  <a:lnTo>
                    <a:pt x="33" y="48"/>
                  </a:lnTo>
                  <a:lnTo>
                    <a:pt x="36" y="38"/>
                  </a:lnTo>
                  <a:lnTo>
                    <a:pt x="67" y="54"/>
                  </a:lnTo>
                  <a:lnTo>
                    <a:pt x="48" y="67"/>
                  </a:lnTo>
                  <a:lnTo>
                    <a:pt x="30" y="6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90" name="Freeform 72"/>
            <p:cNvSpPr>
              <a:spLocks noChangeAspect="1"/>
            </p:cNvSpPr>
            <p:nvPr/>
          </p:nvSpPr>
          <p:spPr bwMode="auto">
            <a:xfrm>
              <a:off x="3871" y="1514"/>
              <a:ext cx="255" cy="167"/>
            </a:xfrm>
            <a:custGeom>
              <a:avLst/>
              <a:gdLst>
                <a:gd name="T0" fmla="*/ 4 w 284"/>
                <a:gd name="T1" fmla="*/ 35 h 167"/>
                <a:gd name="T2" fmla="*/ 4 w 284"/>
                <a:gd name="T3" fmla="*/ 36 h 167"/>
                <a:gd name="T4" fmla="*/ 4 w 284"/>
                <a:gd name="T5" fmla="*/ 21 h 167"/>
                <a:gd name="T6" fmla="*/ 4 w 284"/>
                <a:gd name="T7" fmla="*/ 7 h 167"/>
                <a:gd name="T8" fmla="*/ 4 w 284"/>
                <a:gd name="T9" fmla="*/ 5 h 167"/>
                <a:gd name="T10" fmla="*/ 4 w 284"/>
                <a:gd name="T11" fmla="*/ 0 h 167"/>
                <a:gd name="T12" fmla="*/ 4 w 284"/>
                <a:gd name="T13" fmla="*/ 13 h 167"/>
                <a:gd name="T14" fmla="*/ 4 w 284"/>
                <a:gd name="T15" fmla="*/ 33 h 167"/>
                <a:gd name="T16" fmla="*/ 4 w 284"/>
                <a:gd name="T17" fmla="*/ 39 h 167"/>
                <a:gd name="T18" fmla="*/ 4 w 284"/>
                <a:gd name="T19" fmla="*/ 68 h 167"/>
                <a:gd name="T20" fmla="*/ 4 w 284"/>
                <a:gd name="T21" fmla="*/ 104 h 167"/>
                <a:gd name="T22" fmla="*/ 4 w 284"/>
                <a:gd name="T23" fmla="*/ 108 h 167"/>
                <a:gd name="T24" fmla="*/ 4 w 284"/>
                <a:gd name="T25" fmla="*/ 125 h 167"/>
                <a:gd name="T26" fmla="*/ 4 w 284"/>
                <a:gd name="T27" fmla="*/ 120 h 167"/>
                <a:gd name="T28" fmla="*/ 4 w 284"/>
                <a:gd name="T29" fmla="*/ 126 h 167"/>
                <a:gd name="T30" fmla="*/ 4 w 284"/>
                <a:gd name="T31" fmla="*/ 127 h 167"/>
                <a:gd name="T32" fmla="*/ 4 w 284"/>
                <a:gd name="T33" fmla="*/ 149 h 167"/>
                <a:gd name="T34" fmla="*/ 4 w 284"/>
                <a:gd name="T35" fmla="*/ 159 h 167"/>
                <a:gd name="T36" fmla="*/ 4 w 284"/>
                <a:gd name="T37" fmla="*/ 167 h 167"/>
                <a:gd name="T38" fmla="*/ 4 w 284"/>
                <a:gd name="T39" fmla="*/ 159 h 167"/>
                <a:gd name="T40" fmla="*/ 4 w 284"/>
                <a:gd name="T41" fmla="*/ 147 h 167"/>
                <a:gd name="T42" fmla="*/ 4 w 284"/>
                <a:gd name="T43" fmla="*/ 103 h 167"/>
                <a:gd name="T44" fmla="*/ 4 w 284"/>
                <a:gd name="T45" fmla="*/ 107 h 167"/>
                <a:gd name="T46" fmla="*/ 4 w 284"/>
                <a:gd name="T47" fmla="*/ 122 h 167"/>
                <a:gd name="T48" fmla="*/ 4 w 284"/>
                <a:gd name="T49" fmla="*/ 85 h 167"/>
                <a:gd name="T50" fmla="*/ 4 w 284"/>
                <a:gd name="T51" fmla="*/ 84 h 167"/>
                <a:gd name="T52" fmla="*/ 4 w 284"/>
                <a:gd name="T53" fmla="*/ 64 h 167"/>
                <a:gd name="T54" fmla="*/ 4 w 284"/>
                <a:gd name="T55" fmla="*/ 64 h 167"/>
                <a:gd name="T56" fmla="*/ 4 w 284"/>
                <a:gd name="T57" fmla="*/ 57 h 167"/>
                <a:gd name="T58" fmla="*/ 4 w 284"/>
                <a:gd name="T59" fmla="*/ 46 h 167"/>
                <a:gd name="T60" fmla="*/ 4 w 284"/>
                <a:gd name="T61" fmla="*/ 50 h 167"/>
                <a:gd name="T62" fmla="*/ 4 w 284"/>
                <a:gd name="T63" fmla="*/ 41 h 167"/>
                <a:gd name="T64" fmla="*/ 4 w 284"/>
                <a:gd name="T65" fmla="*/ 17 h 167"/>
                <a:gd name="T66" fmla="*/ 4 w 284"/>
                <a:gd name="T67" fmla="*/ 19 h 167"/>
                <a:gd name="T68" fmla="*/ 4 w 284"/>
                <a:gd name="T69" fmla="*/ 36 h 167"/>
                <a:gd name="T70" fmla="*/ 0 w 284"/>
                <a:gd name="T71" fmla="*/ 21 h 167"/>
                <a:gd name="T72" fmla="*/ 4 w 284"/>
                <a:gd name="T73" fmla="*/ 12 h 167"/>
                <a:gd name="T74" fmla="*/ 4 w 284"/>
                <a:gd name="T75" fmla="*/ 10 h 167"/>
                <a:gd name="T76" fmla="*/ 4 w 284"/>
                <a:gd name="T77" fmla="*/ 35 h 167"/>
                <a:gd name="T78" fmla="*/ 4 w 284"/>
                <a:gd name="T79" fmla="*/ 35 h 16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84"/>
                <a:gd name="T121" fmla="*/ 0 h 167"/>
                <a:gd name="T122" fmla="*/ 284 w 284"/>
                <a:gd name="T123" fmla="*/ 167 h 16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84" h="167">
                  <a:moveTo>
                    <a:pt x="68" y="35"/>
                  </a:moveTo>
                  <a:lnTo>
                    <a:pt x="85" y="36"/>
                  </a:lnTo>
                  <a:lnTo>
                    <a:pt x="84" y="21"/>
                  </a:lnTo>
                  <a:lnTo>
                    <a:pt x="100" y="7"/>
                  </a:lnTo>
                  <a:lnTo>
                    <a:pt x="103" y="5"/>
                  </a:lnTo>
                  <a:lnTo>
                    <a:pt x="109" y="0"/>
                  </a:lnTo>
                  <a:lnTo>
                    <a:pt x="137" y="13"/>
                  </a:lnTo>
                  <a:lnTo>
                    <a:pt x="144" y="33"/>
                  </a:lnTo>
                  <a:lnTo>
                    <a:pt x="179" y="39"/>
                  </a:lnTo>
                  <a:lnTo>
                    <a:pt x="199" y="68"/>
                  </a:lnTo>
                  <a:lnTo>
                    <a:pt x="261" y="104"/>
                  </a:lnTo>
                  <a:lnTo>
                    <a:pt x="280" y="108"/>
                  </a:lnTo>
                  <a:lnTo>
                    <a:pt x="284" y="125"/>
                  </a:lnTo>
                  <a:lnTo>
                    <a:pt x="268" y="120"/>
                  </a:lnTo>
                  <a:lnTo>
                    <a:pt x="267" y="126"/>
                  </a:lnTo>
                  <a:lnTo>
                    <a:pt x="256" y="127"/>
                  </a:lnTo>
                  <a:lnTo>
                    <a:pt x="252" y="149"/>
                  </a:lnTo>
                  <a:lnTo>
                    <a:pt x="231" y="159"/>
                  </a:lnTo>
                  <a:lnTo>
                    <a:pt x="222" y="167"/>
                  </a:lnTo>
                  <a:lnTo>
                    <a:pt x="193" y="159"/>
                  </a:lnTo>
                  <a:lnTo>
                    <a:pt x="190" y="147"/>
                  </a:lnTo>
                  <a:lnTo>
                    <a:pt x="103" y="103"/>
                  </a:lnTo>
                  <a:lnTo>
                    <a:pt x="72" y="107"/>
                  </a:lnTo>
                  <a:lnTo>
                    <a:pt x="46" y="122"/>
                  </a:lnTo>
                  <a:lnTo>
                    <a:pt x="41" y="85"/>
                  </a:lnTo>
                  <a:lnTo>
                    <a:pt x="33" y="84"/>
                  </a:lnTo>
                  <a:lnTo>
                    <a:pt x="28" y="64"/>
                  </a:lnTo>
                  <a:lnTo>
                    <a:pt x="13" y="64"/>
                  </a:lnTo>
                  <a:lnTo>
                    <a:pt x="11" y="57"/>
                  </a:lnTo>
                  <a:lnTo>
                    <a:pt x="13" y="46"/>
                  </a:lnTo>
                  <a:lnTo>
                    <a:pt x="38" y="50"/>
                  </a:lnTo>
                  <a:lnTo>
                    <a:pt x="47" y="41"/>
                  </a:lnTo>
                  <a:lnTo>
                    <a:pt x="22" y="17"/>
                  </a:lnTo>
                  <a:lnTo>
                    <a:pt x="10" y="19"/>
                  </a:lnTo>
                  <a:lnTo>
                    <a:pt x="8" y="36"/>
                  </a:lnTo>
                  <a:lnTo>
                    <a:pt x="0" y="21"/>
                  </a:lnTo>
                  <a:lnTo>
                    <a:pt x="10" y="12"/>
                  </a:lnTo>
                  <a:lnTo>
                    <a:pt x="28" y="10"/>
                  </a:lnTo>
                  <a:lnTo>
                    <a:pt x="57" y="35"/>
                  </a:lnTo>
                  <a:lnTo>
                    <a:pt x="68" y="3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91" name="Freeform 73"/>
            <p:cNvSpPr>
              <a:spLocks noChangeAspect="1"/>
            </p:cNvSpPr>
            <p:nvPr/>
          </p:nvSpPr>
          <p:spPr bwMode="auto">
            <a:xfrm>
              <a:off x="3371" y="1216"/>
              <a:ext cx="143" cy="106"/>
            </a:xfrm>
            <a:custGeom>
              <a:avLst/>
              <a:gdLst>
                <a:gd name="T0" fmla="*/ 4 w 159"/>
                <a:gd name="T1" fmla="*/ 71 h 106"/>
                <a:gd name="T2" fmla="*/ 0 w 159"/>
                <a:gd name="T3" fmla="*/ 87 h 106"/>
                <a:gd name="T4" fmla="*/ 4 w 159"/>
                <a:gd name="T5" fmla="*/ 100 h 106"/>
                <a:gd name="T6" fmla="*/ 4 w 159"/>
                <a:gd name="T7" fmla="*/ 92 h 106"/>
                <a:gd name="T8" fmla="*/ 4 w 159"/>
                <a:gd name="T9" fmla="*/ 104 h 106"/>
                <a:gd name="T10" fmla="*/ 4 w 159"/>
                <a:gd name="T11" fmla="*/ 100 h 106"/>
                <a:gd name="T12" fmla="*/ 4 w 159"/>
                <a:gd name="T13" fmla="*/ 106 h 106"/>
                <a:gd name="T14" fmla="*/ 4 w 159"/>
                <a:gd name="T15" fmla="*/ 90 h 106"/>
                <a:gd name="T16" fmla="*/ 4 w 159"/>
                <a:gd name="T17" fmla="*/ 88 h 106"/>
                <a:gd name="T18" fmla="*/ 4 w 159"/>
                <a:gd name="T19" fmla="*/ 66 h 106"/>
                <a:gd name="T20" fmla="*/ 4 w 159"/>
                <a:gd name="T21" fmla="*/ 66 h 106"/>
                <a:gd name="T22" fmla="*/ 4 w 159"/>
                <a:gd name="T23" fmla="*/ 57 h 106"/>
                <a:gd name="T24" fmla="*/ 4 w 159"/>
                <a:gd name="T25" fmla="*/ 52 h 106"/>
                <a:gd name="T26" fmla="*/ 4 w 159"/>
                <a:gd name="T27" fmla="*/ 30 h 106"/>
                <a:gd name="T28" fmla="*/ 4 w 159"/>
                <a:gd name="T29" fmla="*/ 13 h 106"/>
                <a:gd name="T30" fmla="*/ 4 w 159"/>
                <a:gd name="T31" fmla="*/ 0 h 106"/>
                <a:gd name="T32" fmla="*/ 4 w 159"/>
                <a:gd name="T33" fmla="*/ 12 h 106"/>
                <a:gd name="T34" fmla="*/ 4 w 159"/>
                <a:gd name="T35" fmla="*/ 23 h 106"/>
                <a:gd name="T36" fmla="*/ 4 w 159"/>
                <a:gd name="T37" fmla="*/ 26 h 106"/>
                <a:gd name="T38" fmla="*/ 4 w 159"/>
                <a:gd name="T39" fmla="*/ 43 h 106"/>
                <a:gd name="T40" fmla="*/ 0 w 159"/>
                <a:gd name="T41" fmla="*/ 46 h 106"/>
                <a:gd name="T42" fmla="*/ 4 w 159"/>
                <a:gd name="T43" fmla="*/ 71 h 10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9"/>
                <a:gd name="T67" fmla="*/ 0 h 106"/>
                <a:gd name="T68" fmla="*/ 159 w 159"/>
                <a:gd name="T69" fmla="*/ 106 h 10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9" h="106">
                  <a:moveTo>
                    <a:pt x="8" y="71"/>
                  </a:moveTo>
                  <a:lnTo>
                    <a:pt x="0" y="87"/>
                  </a:lnTo>
                  <a:lnTo>
                    <a:pt x="4" y="100"/>
                  </a:lnTo>
                  <a:lnTo>
                    <a:pt x="45" y="92"/>
                  </a:lnTo>
                  <a:lnTo>
                    <a:pt x="76" y="104"/>
                  </a:lnTo>
                  <a:lnTo>
                    <a:pt x="100" y="100"/>
                  </a:lnTo>
                  <a:lnTo>
                    <a:pt x="125" y="106"/>
                  </a:lnTo>
                  <a:lnTo>
                    <a:pt x="133" y="90"/>
                  </a:lnTo>
                  <a:lnTo>
                    <a:pt x="146" y="88"/>
                  </a:lnTo>
                  <a:lnTo>
                    <a:pt x="134" y="66"/>
                  </a:lnTo>
                  <a:lnTo>
                    <a:pt x="151" y="66"/>
                  </a:lnTo>
                  <a:lnTo>
                    <a:pt x="159" y="57"/>
                  </a:lnTo>
                  <a:lnTo>
                    <a:pt x="143" y="52"/>
                  </a:lnTo>
                  <a:lnTo>
                    <a:pt x="123" y="30"/>
                  </a:lnTo>
                  <a:lnTo>
                    <a:pt x="122" y="13"/>
                  </a:lnTo>
                  <a:lnTo>
                    <a:pt x="75" y="0"/>
                  </a:lnTo>
                  <a:lnTo>
                    <a:pt x="52" y="12"/>
                  </a:lnTo>
                  <a:lnTo>
                    <a:pt x="51" y="23"/>
                  </a:lnTo>
                  <a:lnTo>
                    <a:pt x="37" y="26"/>
                  </a:lnTo>
                  <a:lnTo>
                    <a:pt x="38" y="43"/>
                  </a:lnTo>
                  <a:lnTo>
                    <a:pt x="0" y="46"/>
                  </a:lnTo>
                  <a:lnTo>
                    <a:pt x="8" y="7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92" name="Freeform 74"/>
            <p:cNvSpPr>
              <a:spLocks noChangeAspect="1"/>
            </p:cNvSpPr>
            <p:nvPr/>
          </p:nvSpPr>
          <p:spPr bwMode="auto">
            <a:xfrm>
              <a:off x="3311" y="1239"/>
              <a:ext cx="50" cy="16"/>
            </a:xfrm>
            <a:custGeom>
              <a:avLst/>
              <a:gdLst>
                <a:gd name="T0" fmla="*/ 0 w 55"/>
                <a:gd name="T1" fmla="*/ 14 h 16"/>
                <a:gd name="T2" fmla="*/ 5 w 55"/>
                <a:gd name="T3" fmla="*/ 16 h 16"/>
                <a:gd name="T4" fmla="*/ 5 w 55"/>
                <a:gd name="T5" fmla="*/ 2 h 16"/>
                <a:gd name="T6" fmla="*/ 5 w 55"/>
                <a:gd name="T7" fmla="*/ 0 h 16"/>
                <a:gd name="T8" fmla="*/ 0 w 55"/>
                <a:gd name="T9" fmla="*/ 14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5"/>
                <a:gd name="T16" fmla="*/ 0 h 16"/>
                <a:gd name="T17" fmla="*/ 55 w 55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5" h="16">
                  <a:moveTo>
                    <a:pt x="0" y="14"/>
                  </a:moveTo>
                  <a:lnTo>
                    <a:pt x="55" y="16"/>
                  </a:lnTo>
                  <a:lnTo>
                    <a:pt x="50" y="2"/>
                  </a:lnTo>
                  <a:lnTo>
                    <a:pt x="19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93" name="Freeform 75"/>
            <p:cNvSpPr>
              <a:spLocks noChangeAspect="1"/>
            </p:cNvSpPr>
            <p:nvPr/>
          </p:nvSpPr>
          <p:spPr bwMode="auto">
            <a:xfrm>
              <a:off x="3428" y="1386"/>
              <a:ext cx="59" cy="63"/>
            </a:xfrm>
            <a:custGeom>
              <a:avLst/>
              <a:gdLst>
                <a:gd name="T0" fmla="*/ 5 w 65"/>
                <a:gd name="T1" fmla="*/ 63 h 63"/>
                <a:gd name="T2" fmla="*/ 5 w 65"/>
                <a:gd name="T3" fmla="*/ 36 h 63"/>
                <a:gd name="T4" fmla="*/ 5 w 65"/>
                <a:gd name="T5" fmla="*/ 7 h 63"/>
                <a:gd name="T6" fmla="*/ 0 w 65"/>
                <a:gd name="T7" fmla="*/ 4 h 63"/>
                <a:gd name="T8" fmla="*/ 5 w 65"/>
                <a:gd name="T9" fmla="*/ 0 h 63"/>
                <a:gd name="T10" fmla="*/ 5 w 65"/>
                <a:gd name="T11" fmla="*/ 9 h 63"/>
                <a:gd name="T12" fmla="*/ 5 w 65"/>
                <a:gd name="T13" fmla="*/ 20 h 63"/>
                <a:gd name="T14" fmla="*/ 5 w 65"/>
                <a:gd name="T15" fmla="*/ 37 h 63"/>
                <a:gd name="T16" fmla="*/ 5 w 65"/>
                <a:gd name="T17" fmla="*/ 46 h 63"/>
                <a:gd name="T18" fmla="*/ 5 w 65"/>
                <a:gd name="T19" fmla="*/ 46 h 63"/>
                <a:gd name="T20" fmla="*/ 5 w 65"/>
                <a:gd name="T21" fmla="*/ 63 h 6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5"/>
                <a:gd name="T34" fmla="*/ 0 h 63"/>
                <a:gd name="T35" fmla="*/ 65 w 65"/>
                <a:gd name="T36" fmla="*/ 63 h 6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5" h="63">
                  <a:moveTo>
                    <a:pt x="39" y="63"/>
                  </a:moveTo>
                  <a:lnTo>
                    <a:pt x="31" y="36"/>
                  </a:lnTo>
                  <a:lnTo>
                    <a:pt x="8" y="7"/>
                  </a:lnTo>
                  <a:lnTo>
                    <a:pt x="0" y="4"/>
                  </a:lnTo>
                  <a:lnTo>
                    <a:pt x="15" y="0"/>
                  </a:lnTo>
                  <a:lnTo>
                    <a:pt x="47" y="9"/>
                  </a:lnTo>
                  <a:lnTo>
                    <a:pt x="48" y="20"/>
                  </a:lnTo>
                  <a:lnTo>
                    <a:pt x="64" y="37"/>
                  </a:lnTo>
                  <a:lnTo>
                    <a:pt x="65" y="46"/>
                  </a:lnTo>
                  <a:lnTo>
                    <a:pt x="49" y="46"/>
                  </a:lnTo>
                  <a:lnTo>
                    <a:pt x="39" y="6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94" name="Freeform 76"/>
            <p:cNvSpPr>
              <a:spLocks noChangeAspect="1"/>
            </p:cNvSpPr>
            <p:nvPr/>
          </p:nvSpPr>
          <p:spPr bwMode="auto">
            <a:xfrm>
              <a:off x="3660" y="1499"/>
              <a:ext cx="113" cy="55"/>
            </a:xfrm>
            <a:custGeom>
              <a:avLst/>
              <a:gdLst>
                <a:gd name="T0" fmla="*/ 4 w 127"/>
                <a:gd name="T1" fmla="*/ 48 h 55"/>
                <a:gd name="T2" fmla="*/ 4 w 127"/>
                <a:gd name="T3" fmla="*/ 45 h 55"/>
                <a:gd name="T4" fmla="*/ 4 w 127"/>
                <a:gd name="T5" fmla="*/ 53 h 55"/>
                <a:gd name="T6" fmla="*/ 4 w 127"/>
                <a:gd name="T7" fmla="*/ 42 h 55"/>
                <a:gd name="T8" fmla="*/ 4 w 127"/>
                <a:gd name="T9" fmla="*/ 36 h 55"/>
                <a:gd name="T10" fmla="*/ 4 w 127"/>
                <a:gd name="T11" fmla="*/ 17 h 55"/>
                <a:gd name="T12" fmla="*/ 4 w 127"/>
                <a:gd name="T13" fmla="*/ 20 h 55"/>
                <a:gd name="T14" fmla="*/ 4 w 127"/>
                <a:gd name="T15" fmla="*/ 6 h 55"/>
                <a:gd name="T16" fmla="*/ 0 w 127"/>
                <a:gd name="T17" fmla="*/ 0 h 55"/>
                <a:gd name="T18" fmla="*/ 4 w 127"/>
                <a:gd name="T19" fmla="*/ 13 h 55"/>
                <a:gd name="T20" fmla="*/ 4 w 127"/>
                <a:gd name="T21" fmla="*/ 34 h 55"/>
                <a:gd name="T22" fmla="*/ 4 w 127"/>
                <a:gd name="T23" fmla="*/ 42 h 55"/>
                <a:gd name="T24" fmla="*/ 4 w 127"/>
                <a:gd name="T25" fmla="*/ 44 h 55"/>
                <a:gd name="T26" fmla="*/ 4 w 127"/>
                <a:gd name="T27" fmla="*/ 55 h 55"/>
                <a:gd name="T28" fmla="*/ 4 w 127"/>
                <a:gd name="T29" fmla="*/ 54 h 55"/>
                <a:gd name="T30" fmla="*/ 4 w 127"/>
                <a:gd name="T31" fmla="*/ 48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7"/>
                <a:gd name="T49" fmla="*/ 0 h 55"/>
                <a:gd name="T50" fmla="*/ 127 w 127"/>
                <a:gd name="T51" fmla="*/ 55 h 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7" h="55">
                  <a:moveTo>
                    <a:pt x="97" y="48"/>
                  </a:moveTo>
                  <a:lnTo>
                    <a:pt x="103" y="45"/>
                  </a:lnTo>
                  <a:lnTo>
                    <a:pt x="127" y="53"/>
                  </a:lnTo>
                  <a:lnTo>
                    <a:pt x="119" y="42"/>
                  </a:lnTo>
                  <a:lnTo>
                    <a:pt x="121" y="36"/>
                  </a:lnTo>
                  <a:lnTo>
                    <a:pt x="97" y="17"/>
                  </a:lnTo>
                  <a:lnTo>
                    <a:pt x="74" y="20"/>
                  </a:lnTo>
                  <a:lnTo>
                    <a:pt x="53" y="6"/>
                  </a:lnTo>
                  <a:lnTo>
                    <a:pt x="0" y="0"/>
                  </a:lnTo>
                  <a:lnTo>
                    <a:pt x="20" y="13"/>
                  </a:lnTo>
                  <a:lnTo>
                    <a:pt x="36" y="34"/>
                  </a:lnTo>
                  <a:lnTo>
                    <a:pt x="35" y="42"/>
                  </a:lnTo>
                  <a:lnTo>
                    <a:pt x="62" y="44"/>
                  </a:lnTo>
                  <a:lnTo>
                    <a:pt x="69" y="55"/>
                  </a:lnTo>
                  <a:lnTo>
                    <a:pt x="70" y="54"/>
                  </a:lnTo>
                  <a:lnTo>
                    <a:pt x="97" y="4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95" name="Freeform 77"/>
            <p:cNvSpPr>
              <a:spLocks noChangeAspect="1"/>
            </p:cNvSpPr>
            <p:nvPr/>
          </p:nvSpPr>
          <p:spPr bwMode="auto">
            <a:xfrm>
              <a:off x="3721" y="1547"/>
              <a:ext cx="58" cy="55"/>
            </a:xfrm>
            <a:custGeom>
              <a:avLst/>
              <a:gdLst>
                <a:gd name="T0" fmla="*/ 4 w 65"/>
                <a:gd name="T1" fmla="*/ 34 h 55"/>
                <a:gd name="T2" fmla="*/ 4 w 65"/>
                <a:gd name="T3" fmla="*/ 25 h 55"/>
                <a:gd name="T4" fmla="*/ 0 w 65"/>
                <a:gd name="T5" fmla="*/ 7 h 55"/>
                <a:gd name="T6" fmla="*/ 1 w 65"/>
                <a:gd name="T7" fmla="*/ 6 h 55"/>
                <a:gd name="T8" fmla="*/ 4 w 65"/>
                <a:gd name="T9" fmla="*/ 0 h 55"/>
                <a:gd name="T10" fmla="*/ 4 w 65"/>
                <a:gd name="T11" fmla="*/ 20 h 55"/>
                <a:gd name="T12" fmla="*/ 4 w 65"/>
                <a:gd name="T13" fmla="*/ 29 h 55"/>
                <a:gd name="T14" fmla="*/ 4 w 65"/>
                <a:gd name="T15" fmla="*/ 35 h 55"/>
                <a:gd name="T16" fmla="*/ 4 w 65"/>
                <a:gd name="T17" fmla="*/ 55 h 55"/>
                <a:gd name="T18" fmla="*/ 4 w 65"/>
                <a:gd name="T19" fmla="*/ 55 h 55"/>
                <a:gd name="T20" fmla="*/ 4 w 65"/>
                <a:gd name="T21" fmla="*/ 37 h 55"/>
                <a:gd name="T22" fmla="*/ 4 w 65"/>
                <a:gd name="T23" fmla="*/ 34 h 5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5"/>
                <a:gd name="T37" fmla="*/ 0 h 55"/>
                <a:gd name="T38" fmla="*/ 65 w 65"/>
                <a:gd name="T39" fmla="*/ 55 h 5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5" h="55">
                  <a:moveTo>
                    <a:pt x="28" y="34"/>
                  </a:moveTo>
                  <a:lnTo>
                    <a:pt x="13" y="25"/>
                  </a:lnTo>
                  <a:lnTo>
                    <a:pt x="0" y="7"/>
                  </a:lnTo>
                  <a:lnTo>
                    <a:pt x="1" y="6"/>
                  </a:lnTo>
                  <a:lnTo>
                    <a:pt x="28" y="0"/>
                  </a:lnTo>
                  <a:lnTo>
                    <a:pt x="48" y="20"/>
                  </a:lnTo>
                  <a:lnTo>
                    <a:pt x="47" y="29"/>
                  </a:lnTo>
                  <a:lnTo>
                    <a:pt x="62" y="35"/>
                  </a:lnTo>
                  <a:lnTo>
                    <a:pt x="65" y="55"/>
                  </a:lnTo>
                  <a:lnTo>
                    <a:pt x="58" y="55"/>
                  </a:lnTo>
                  <a:lnTo>
                    <a:pt x="48" y="37"/>
                  </a:lnTo>
                  <a:lnTo>
                    <a:pt x="28" y="3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96" name="Freeform 78"/>
            <p:cNvSpPr>
              <a:spLocks noChangeAspect="1"/>
            </p:cNvSpPr>
            <p:nvPr/>
          </p:nvSpPr>
          <p:spPr bwMode="auto">
            <a:xfrm>
              <a:off x="3745" y="1581"/>
              <a:ext cx="28" cy="21"/>
            </a:xfrm>
            <a:custGeom>
              <a:avLst/>
              <a:gdLst>
                <a:gd name="T0" fmla="*/ 7 w 30"/>
                <a:gd name="T1" fmla="*/ 21 h 21"/>
                <a:gd name="T2" fmla="*/ 7 w 30"/>
                <a:gd name="T3" fmla="*/ 20 h 21"/>
                <a:gd name="T4" fmla="*/ 0 w 30"/>
                <a:gd name="T5" fmla="*/ 0 h 21"/>
                <a:gd name="T6" fmla="*/ 7 w 30"/>
                <a:gd name="T7" fmla="*/ 3 h 21"/>
                <a:gd name="T8" fmla="*/ 7 w 30"/>
                <a:gd name="T9" fmla="*/ 21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"/>
                <a:gd name="T16" fmla="*/ 0 h 21"/>
                <a:gd name="T17" fmla="*/ 30 w 30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" h="21">
                  <a:moveTo>
                    <a:pt x="30" y="21"/>
                  </a:moveTo>
                  <a:lnTo>
                    <a:pt x="18" y="20"/>
                  </a:lnTo>
                  <a:lnTo>
                    <a:pt x="0" y="0"/>
                  </a:lnTo>
                  <a:lnTo>
                    <a:pt x="20" y="3"/>
                  </a:lnTo>
                  <a:lnTo>
                    <a:pt x="30" y="2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97" name="Freeform 79"/>
            <p:cNvSpPr>
              <a:spLocks noChangeAspect="1"/>
            </p:cNvSpPr>
            <p:nvPr/>
          </p:nvSpPr>
          <p:spPr bwMode="auto">
            <a:xfrm>
              <a:off x="3745" y="1535"/>
              <a:ext cx="95" cy="77"/>
            </a:xfrm>
            <a:custGeom>
              <a:avLst/>
              <a:gdLst>
                <a:gd name="T0" fmla="*/ 5 w 104"/>
                <a:gd name="T1" fmla="*/ 1 h 77"/>
                <a:gd name="T2" fmla="*/ 5 w 104"/>
                <a:gd name="T3" fmla="*/ 20 h 77"/>
                <a:gd name="T4" fmla="*/ 5 w 104"/>
                <a:gd name="T5" fmla="*/ 34 h 77"/>
                <a:gd name="T6" fmla="*/ 5 w 104"/>
                <a:gd name="T7" fmla="*/ 43 h 77"/>
                <a:gd name="T8" fmla="*/ 5 w 104"/>
                <a:gd name="T9" fmla="*/ 63 h 77"/>
                <a:gd name="T10" fmla="*/ 5 w 104"/>
                <a:gd name="T11" fmla="*/ 63 h 77"/>
                <a:gd name="T12" fmla="*/ 5 w 104"/>
                <a:gd name="T13" fmla="*/ 77 h 77"/>
                <a:gd name="T14" fmla="*/ 5 w 104"/>
                <a:gd name="T15" fmla="*/ 67 h 77"/>
                <a:gd name="T16" fmla="*/ 5 w 104"/>
                <a:gd name="T17" fmla="*/ 53 h 77"/>
                <a:gd name="T18" fmla="*/ 5 w 104"/>
                <a:gd name="T19" fmla="*/ 50 h 77"/>
                <a:gd name="T20" fmla="*/ 5 w 104"/>
                <a:gd name="T21" fmla="*/ 67 h 77"/>
                <a:gd name="T22" fmla="*/ 5 w 104"/>
                <a:gd name="T23" fmla="*/ 67 h 77"/>
                <a:gd name="T24" fmla="*/ 5 w 104"/>
                <a:gd name="T25" fmla="*/ 47 h 77"/>
                <a:gd name="T26" fmla="*/ 5 w 104"/>
                <a:gd name="T27" fmla="*/ 41 h 77"/>
                <a:gd name="T28" fmla="*/ 5 w 104"/>
                <a:gd name="T29" fmla="*/ 32 h 77"/>
                <a:gd name="T30" fmla="*/ 0 w 104"/>
                <a:gd name="T31" fmla="*/ 12 h 77"/>
                <a:gd name="T32" fmla="*/ 5 w 104"/>
                <a:gd name="T33" fmla="*/ 9 h 77"/>
                <a:gd name="T34" fmla="*/ 5 w 104"/>
                <a:gd name="T35" fmla="*/ 17 h 77"/>
                <a:gd name="T36" fmla="*/ 5 w 104"/>
                <a:gd name="T37" fmla="*/ 6 h 77"/>
                <a:gd name="T38" fmla="*/ 5 w 104"/>
                <a:gd name="T39" fmla="*/ 0 h 77"/>
                <a:gd name="T40" fmla="*/ 5 w 104"/>
                <a:gd name="T41" fmla="*/ 14 h 77"/>
                <a:gd name="T42" fmla="*/ 5 w 104"/>
                <a:gd name="T43" fmla="*/ 15 h 77"/>
                <a:gd name="T44" fmla="*/ 5 w 104"/>
                <a:gd name="T45" fmla="*/ 1 h 7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4"/>
                <a:gd name="T70" fmla="*/ 0 h 77"/>
                <a:gd name="T71" fmla="*/ 104 w 104"/>
                <a:gd name="T72" fmla="*/ 77 h 7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4" h="77">
                  <a:moveTo>
                    <a:pt x="64" y="1"/>
                  </a:moveTo>
                  <a:lnTo>
                    <a:pt x="81" y="20"/>
                  </a:lnTo>
                  <a:lnTo>
                    <a:pt x="104" y="34"/>
                  </a:lnTo>
                  <a:lnTo>
                    <a:pt x="89" y="43"/>
                  </a:lnTo>
                  <a:lnTo>
                    <a:pt x="88" y="63"/>
                  </a:lnTo>
                  <a:lnTo>
                    <a:pt x="80" y="63"/>
                  </a:lnTo>
                  <a:lnTo>
                    <a:pt x="83" y="77"/>
                  </a:lnTo>
                  <a:lnTo>
                    <a:pt x="68" y="67"/>
                  </a:lnTo>
                  <a:lnTo>
                    <a:pt x="68" y="53"/>
                  </a:lnTo>
                  <a:lnTo>
                    <a:pt x="62" y="50"/>
                  </a:lnTo>
                  <a:lnTo>
                    <a:pt x="42" y="67"/>
                  </a:lnTo>
                  <a:lnTo>
                    <a:pt x="37" y="67"/>
                  </a:lnTo>
                  <a:lnTo>
                    <a:pt x="34" y="47"/>
                  </a:lnTo>
                  <a:lnTo>
                    <a:pt x="19" y="41"/>
                  </a:lnTo>
                  <a:lnTo>
                    <a:pt x="20" y="32"/>
                  </a:lnTo>
                  <a:lnTo>
                    <a:pt x="0" y="12"/>
                  </a:lnTo>
                  <a:lnTo>
                    <a:pt x="6" y="9"/>
                  </a:lnTo>
                  <a:lnTo>
                    <a:pt x="30" y="17"/>
                  </a:lnTo>
                  <a:lnTo>
                    <a:pt x="22" y="6"/>
                  </a:lnTo>
                  <a:lnTo>
                    <a:pt x="24" y="0"/>
                  </a:lnTo>
                  <a:lnTo>
                    <a:pt x="43" y="14"/>
                  </a:lnTo>
                  <a:lnTo>
                    <a:pt x="54" y="15"/>
                  </a:lnTo>
                  <a:lnTo>
                    <a:pt x="64" y="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98" name="Freeform 80"/>
            <p:cNvSpPr>
              <a:spLocks noChangeAspect="1"/>
            </p:cNvSpPr>
            <p:nvPr/>
          </p:nvSpPr>
          <p:spPr bwMode="auto">
            <a:xfrm>
              <a:off x="3096" y="1348"/>
              <a:ext cx="8" cy="13"/>
            </a:xfrm>
            <a:custGeom>
              <a:avLst/>
              <a:gdLst>
                <a:gd name="T0" fmla="*/ 0 w 10"/>
                <a:gd name="T1" fmla="*/ 12 h 13"/>
                <a:gd name="T2" fmla="*/ 2 w 10"/>
                <a:gd name="T3" fmla="*/ 0 h 13"/>
                <a:gd name="T4" fmla="*/ 2 w 10"/>
                <a:gd name="T5" fmla="*/ 13 h 13"/>
                <a:gd name="T6" fmla="*/ 0 w 10"/>
                <a:gd name="T7" fmla="*/ 12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13"/>
                <a:gd name="T14" fmla="*/ 10 w 10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13">
                  <a:moveTo>
                    <a:pt x="0" y="12"/>
                  </a:moveTo>
                  <a:lnTo>
                    <a:pt x="6" y="0"/>
                  </a:lnTo>
                  <a:lnTo>
                    <a:pt x="10" y="13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99" name="Freeform 81"/>
            <p:cNvSpPr>
              <a:spLocks noChangeAspect="1"/>
            </p:cNvSpPr>
            <p:nvPr/>
          </p:nvSpPr>
          <p:spPr bwMode="auto">
            <a:xfrm>
              <a:off x="3318" y="1518"/>
              <a:ext cx="30" cy="69"/>
            </a:xfrm>
            <a:custGeom>
              <a:avLst/>
              <a:gdLst>
                <a:gd name="T0" fmla="*/ 5 w 33"/>
                <a:gd name="T1" fmla="*/ 22 h 69"/>
                <a:gd name="T2" fmla="*/ 5 w 33"/>
                <a:gd name="T3" fmla="*/ 41 h 69"/>
                <a:gd name="T4" fmla="*/ 5 w 33"/>
                <a:gd name="T5" fmla="*/ 48 h 69"/>
                <a:gd name="T6" fmla="*/ 5 w 33"/>
                <a:gd name="T7" fmla="*/ 67 h 69"/>
                <a:gd name="T8" fmla="*/ 5 w 33"/>
                <a:gd name="T9" fmla="*/ 69 h 69"/>
                <a:gd name="T10" fmla="*/ 2 w 33"/>
                <a:gd name="T11" fmla="*/ 54 h 69"/>
                <a:gd name="T12" fmla="*/ 0 w 33"/>
                <a:gd name="T13" fmla="*/ 18 h 69"/>
                <a:gd name="T14" fmla="*/ 5 w 33"/>
                <a:gd name="T15" fmla="*/ 0 h 69"/>
                <a:gd name="T16" fmla="*/ 5 w 33"/>
                <a:gd name="T17" fmla="*/ 3 h 69"/>
                <a:gd name="T18" fmla="*/ 5 w 33"/>
                <a:gd name="T19" fmla="*/ 22 h 6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9"/>
                <a:gd name="T32" fmla="*/ 33 w 33"/>
                <a:gd name="T33" fmla="*/ 69 h 6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9">
                  <a:moveTo>
                    <a:pt x="24" y="22"/>
                  </a:moveTo>
                  <a:lnTo>
                    <a:pt x="33" y="41"/>
                  </a:lnTo>
                  <a:lnTo>
                    <a:pt x="33" y="48"/>
                  </a:lnTo>
                  <a:lnTo>
                    <a:pt x="16" y="67"/>
                  </a:lnTo>
                  <a:lnTo>
                    <a:pt x="16" y="69"/>
                  </a:lnTo>
                  <a:lnTo>
                    <a:pt x="2" y="54"/>
                  </a:lnTo>
                  <a:lnTo>
                    <a:pt x="0" y="18"/>
                  </a:lnTo>
                  <a:lnTo>
                    <a:pt x="6" y="0"/>
                  </a:lnTo>
                  <a:lnTo>
                    <a:pt x="14" y="3"/>
                  </a:lnTo>
                  <a:lnTo>
                    <a:pt x="24" y="2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00" name="Freeform 82"/>
            <p:cNvSpPr>
              <a:spLocks noChangeAspect="1"/>
            </p:cNvSpPr>
            <p:nvPr/>
          </p:nvSpPr>
          <p:spPr bwMode="auto">
            <a:xfrm>
              <a:off x="5677" y="1059"/>
              <a:ext cx="48" cy="12"/>
            </a:xfrm>
            <a:custGeom>
              <a:avLst/>
              <a:gdLst>
                <a:gd name="T0" fmla="*/ 0 w 53"/>
                <a:gd name="T1" fmla="*/ 0 h 12"/>
                <a:gd name="T2" fmla="*/ 5 w 53"/>
                <a:gd name="T3" fmla="*/ 8 h 12"/>
                <a:gd name="T4" fmla="*/ 5 w 53"/>
                <a:gd name="T5" fmla="*/ 12 h 12"/>
                <a:gd name="T6" fmla="*/ 5 w 53"/>
                <a:gd name="T7" fmla="*/ 8 h 12"/>
                <a:gd name="T8" fmla="*/ 0 w 53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3"/>
                <a:gd name="T16" fmla="*/ 0 h 12"/>
                <a:gd name="T17" fmla="*/ 53 w 53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3" h="12">
                  <a:moveTo>
                    <a:pt x="0" y="0"/>
                  </a:moveTo>
                  <a:lnTo>
                    <a:pt x="9" y="8"/>
                  </a:lnTo>
                  <a:lnTo>
                    <a:pt x="46" y="12"/>
                  </a:lnTo>
                  <a:lnTo>
                    <a:pt x="53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01" name="Freeform 83"/>
            <p:cNvSpPr>
              <a:spLocks noChangeAspect="1"/>
            </p:cNvSpPr>
            <p:nvPr/>
          </p:nvSpPr>
          <p:spPr bwMode="auto">
            <a:xfrm>
              <a:off x="2783" y="1002"/>
              <a:ext cx="146" cy="62"/>
            </a:xfrm>
            <a:custGeom>
              <a:avLst/>
              <a:gdLst>
                <a:gd name="T0" fmla="*/ 0 w 163"/>
                <a:gd name="T1" fmla="*/ 20 h 62"/>
                <a:gd name="T2" fmla="*/ 4 w 163"/>
                <a:gd name="T3" fmla="*/ 22 h 62"/>
                <a:gd name="T4" fmla="*/ 0 w 163"/>
                <a:gd name="T5" fmla="*/ 35 h 62"/>
                <a:gd name="T6" fmla="*/ 4 w 163"/>
                <a:gd name="T7" fmla="*/ 35 h 62"/>
                <a:gd name="T8" fmla="*/ 4 w 163"/>
                <a:gd name="T9" fmla="*/ 45 h 62"/>
                <a:gd name="T10" fmla="*/ 4 w 163"/>
                <a:gd name="T11" fmla="*/ 54 h 62"/>
                <a:gd name="T12" fmla="*/ 4 w 163"/>
                <a:gd name="T13" fmla="*/ 62 h 62"/>
                <a:gd name="T14" fmla="*/ 4 w 163"/>
                <a:gd name="T15" fmla="*/ 42 h 62"/>
                <a:gd name="T16" fmla="*/ 4 w 163"/>
                <a:gd name="T17" fmla="*/ 32 h 62"/>
                <a:gd name="T18" fmla="*/ 4 w 163"/>
                <a:gd name="T19" fmla="*/ 20 h 62"/>
                <a:gd name="T20" fmla="*/ 4 w 163"/>
                <a:gd name="T21" fmla="*/ 15 h 62"/>
                <a:gd name="T22" fmla="*/ 4 w 163"/>
                <a:gd name="T23" fmla="*/ 4 h 62"/>
                <a:gd name="T24" fmla="*/ 4 w 163"/>
                <a:gd name="T25" fmla="*/ 0 h 62"/>
                <a:gd name="T26" fmla="*/ 4 w 163"/>
                <a:gd name="T27" fmla="*/ 10 h 62"/>
                <a:gd name="T28" fmla="*/ 4 w 163"/>
                <a:gd name="T29" fmla="*/ 14 h 62"/>
                <a:gd name="T30" fmla="*/ 4 w 163"/>
                <a:gd name="T31" fmla="*/ 9 h 62"/>
                <a:gd name="T32" fmla="*/ 4 w 163"/>
                <a:gd name="T33" fmla="*/ 18 h 62"/>
                <a:gd name="T34" fmla="*/ 4 w 163"/>
                <a:gd name="T35" fmla="*/ 22 h 62"/>
                <a:gd name="T36" fmla="*/ 4 w 163"/>
                <a:gd name="T37" fmla="*/ 10 h 62"/>
                <a:gd name="T38" fmla="*/ 4 w 163"/>
                <a:gd name="T39" fmla="*/ 1 h 62"/>
                <a:gd name="T40" fmla="*/ 0 w 163"/>
                <a:gd name="T41" fmla="*/ 2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63"/>
                <a:gd name="T64" fmla="*/ 0 h 62"/>
                <a:gd name="T65" fmla="*/ 163 w 163"/>
                <a:gd name="T66" fmla="*/ 62 h 6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63" h="62">
                  <a:moveTo>
                    <a:pt x="0" y="20"/>
                  </a:moveTo>
                  <a:lnTo>
                    <a:pt x="34" y="22"/>
                  </a:lnTo>
                  <a:lnTo>
                    <a:pt x="0" y="35"/>
                  </a:lnTo>
                  <a:lnTo>
                    <a:pt x="22" y="35"/>
                  </a:lnTo>
                  <a:lnTo>
                    <a:pt x="30" y="45"/>
                  </a:lnTo>
                  <a:lnTo>
                    <a:pt x="15" y="54"/>
                  </a:lnTo>
                  <a:lnTo>
                    <a:pt x="76" y="62"/>
                  </a:lnTo>
                  <a:lnTo>
                    <a:pt x="146" y="42"/>
                  </a:lnTo>
                  <a:lnTo>
                    <a:pt x="161" y="32"/>
                  </a:lnTo>
                  <a:lnTo>
                    <a:pt x="163" y="20"/>
                  </a:lnTo>
                  <a:lnTo>
                    <a:pt x="150" y="15"/>
                  </a:lnTo>
                  <a:lnTo>
                    <a:pt x="151" y="4"/>
                  </a:lnTo>
                  <a:lnTo>
                    <a:pt x="128" y="0"/>
                  </a:lnTo>
                  <a:lnTo>
                    <a:pt x="106" y="10"/>
                  </a:lnTo>
                  <a:lnTo>
                    <a:pt x="73" y="14"/>
                  </a:lnTo>
                  <a:lnTo>
                    <a:pt x="66" y="9"/>
                  </a:lnTo>
                  <a:lnTo>
                    <a:pt x="61" y="18"/>
                  </a:lnTo>
                  <a:lnTo>
                    <a:pt x="44" y="22"/>
                  </a:lnTo>
                  <a:lnTo>
                    <a:pt x="46" y="10"/>
                  </a:lnTo>
                  <a:lnTo>
                    <a:pt x="26" y="1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02" name="Freeform 84"/>
            <p:cNvSpPr>
              <a:spLocks noChangeAspect="1"/>
            </p:cNvSpPr>
            <p:nvPr/>
          </p:nvSpPr>
          <p:spPr bwMode="auto">
            <a:xfrm>
              <a:off x="2812" y="834"/>
              <a:ext cx="12" cy="7"/>
            </a:xfrm>
            <a:custGeom>
              <a:avLst/>
              <a:gdLst>
                <a:gd name="T0" fmla="*/ 2 w 13"/>
                <a:gd name="T1" fmla="*/ 0 h 7"/>
                <a:gd name="T2" fmla="*/ 0 w 13"/>
                <a:gd name="T3" fmla="*/ 7 h 7"/>
                <a:gd name="T4" fmla="*/ 6 w 13"/>
                <a:gd name="T5" fmla="*/ 6 h 7"/>
                <a:gd name="T6" fmla="*/ 2 w 13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7"/>
                <a:gd name="T14" fmla="*/ 13 w 13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7">
                  <a:moveTo>
                    <a:pt x="2" y="0"/>
                  </a:moveTo>
                  <a:lnTo>
                    <a:pt x="0" y="7"/>
                  </a:lnTo>
                  <a:lnTo>
                    <a:pt x="13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03" name="Freeform 85"/>
            <p:cNvSpPr>
              <a:spLocks noChangeAspect="1"/>
            </p:cNvSpPr>
            <p:nvPr/>
          </p:nvSpPr>
          <p:spPr bwMode="auto">
            <a:xfrm>
              <a:off x="5402" y="1480"/>
              <a:ext cx="4" cy="11"/>
            </a:xfrm>
            <a:custGeom>
              <a:avLst/>
              <a:gdLst>
                <a:gd name="T0" fmla="*/ 0 w 5"/>
                <a:gd name="T1" fmla="*/ 11 h 11"/>
                <a:gd name="T2" fmla="*/ 2 w 5"/>
                <a:gd name="T3" fmla="*/ 0 h 11"/>
                <a:gd name="T4" fmla="*/ 0 w 5"/>
                <a:gd name="T5" fmla="*/ 11 h 11"/>
                <a:gd name="T6" fmla="*/ 0 60000 65536"/>
                <a:gd name="T7" fmla="*/ 0 60000 65536"/>
                <a:gd name="T8" fmla="*/ 0 60000 65536"/>
                <a:gd name="T9" fmla="*/ 0 w 5"/>
                <a:gd name="T10" fmla="*/ 0 h 11"/>
                <a:gd name="T11" fmla="*/ 5 w 5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11">
                  <a:moveTo>
                    <a:pt x="0" y="11"/>
                  </a:moveTo>
                  <a:lnTo>
                    <a:pt x="5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04" name="Freeform 86"/>
            <p:cNvSpPr>
              <a:spLocks noChangeAspect="1"/>
            </p:cNvSpPr>
            <p:nvPr/>
          </p:nvSpPr>
          <p:spPr bwMode="auto">
            <a:xfrm>
              <a:off x="5417" y="1452"/>
              <a:ext cx="15" cy="26"/>
            </a:xfrm>
            <a:custGeom>
              <a:avLst/>
              <a:gdLst>
                <a:gd name="T0" fmla="*/ 0 w 18"/>
                <a:gd name="T1" fmla="*/ 26 h 26"/>
                <a:gd name="T2" fmla="*/ 2 w 18"/>
                <a:gd name="T3" fmla="*/ 0 h 26"/>
                <a:gd name="T4" fmla="*/ 2 w 18"/>
                <a:gd name="T5" fmla="*/ 4 h 26"/>
                <a:gd name="T6" fmla="*/ 0 w 18"/>
                <a:gd name="T7" fmla="*/ 26 h 2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26"/>
                <a:gd name="T14" fmla="*/ 18 w 18"/>
                <a:gd name="T15" fmla="*/ 26 h 2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26">
                  <a:moveTo>
                    <a:pt x="0" y="26"/>
                  </a:moveTo>
                  <a:lnTo>
                    <a:pt x="18" y="0"/>
                  </a:lnTo>
                  <a:lnTo>
                    <a:pt x="5" y="4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05" name="Freeform 87"/>
            <p:cNvSpPr>
              <a:spLocks noChangeAspect="1"/>
            </p:cNvSpPr>
            <p:nvPr/>
          </p:nvSpPr>
          <p:spPr bwMode="auto">
            <a:xfrm>
              <a:off x="5441" y="1435"/>
              <a:ext cx="7" cy="14"/>
            </a:xfrm>
            <a:custGeom>
              <a:avLst/>
              <a:gdLst>
                <a:gd name="T0" fmla="*/ 0 w 8"/>
                <a:gd name="T1" fmla="*/ 14 h 14"/>
                <a:gd name="T2" fmla="*/ 4 w 8"/>
                <a:gd name="T3" fmla="*/ 0 h 14"/>
                <a:gd name="T4" fmla="*/ 0 w 8"/>
                <a:gd name="T5" fmla="*/ 14 h 14"/>
                <a:gd name="T6" fmla="*/ 0 60000 65536"/>
                <a:gd name="T7" fmla="*/ 0 60000 65536"/>
                <a:gd name="T8" fmla="*/ 0 60000 65536"/>
                <a:gd name="T9" fmla="*/ 0 w 8"/>
                <a:gd name="T10" fmla="*/ 0 h 14"/>
                <a:gd name="T11" fmla="*/ 8 w 8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4">
                  <a:moveTo>
                    <a:pt x="0" y="14"/>
                  </a:moveTo>
                  <a:lnTo>
                    <a:pt x="8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06" name="Freeform 88"/>
            <p:cNvSpPr>
              <a:spLocks noChangeAspect="1"/>
            </p:cNvSpPr>
            <p:nvPr/>
          </p:nvSpPr>
          <p:spPr bwMode="auto">
            <a:xfrm>
              <a:off x="5460" y="1416"/>
              <a:ext cx="3" cy="7"/>
            </a:xfrm>
            <a:custGeom>
              <a:avLst/>
              <a:gdLst>
                <a:gd name="T0" fmla="*/ 0 w 3"/>
                <a:gd name="T1" fmla="*/ 7 h 7"/>
                <a:gd name="T2" fmla="*/ 3 w 3"/>
                <a:gd name="T3" fmla="*/ 0 h 7"/>
                <a:gd name="T4" fmla="*/ 0 w 3"/>
                <a:gd name="T5" fmla="*/ 7 h 7"/>
                <a:gd name="T6" fmla="*/ 0 60000 65536"/>
                <a:gd name="T7" fmla="*/ 0 60000 65536"/>
                <a:gd name="T8" fmla="*/ 0 60000 65536"/>
                <a:gd name="T9" fmla="*/ 0 w 3"/>
                <a:gd name="T10" fmla="*/ 0 h 7"/>
                <a:gd name="T11" fmla="*/ 3 w 3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7">
                  <a:moveTo>
                    <a:pt x="0" y="7"/>
                  </a:moveTo>
                  <a:lnTo>
                    <a:pt x="3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07" name="Freeform 89"/>
            <p:cNvSpPr>
              <a:spLocks noChangeAspect="1"/>
            </p:cNvSpPr>
            <p:nvPr/>
          </p:nvSpPr>
          <p:spPr bwMode="auto">
            <a:xfrm>
              <a:off x="5464" y="1336"/>
              <a:ext cx="11" cy="16"/>
            </a:xfrm>
            <a:custGeom>
              <a:avLst/>
              <a:gdLst>
                <a:gd name="T0" fmla="*/ 0 w 13"/>
                <a:gd name="T1" fmla="*/ 10 h 16"/>
                <a:gd name="T2" fmla="*/ 3 w 13"/>
                <a:gd name="T3" fmla="*/ 16 h 16"/>
                <a:gd name="T4" fmla="*/ 3 w 13"/>
                <a:gd name="T5" fmla="*/ 12 h 16"/>
                <a:gd name="T6" fmla="*/ 3 w 13"/>
                <a:gd name="T7" fmla="*/ 0 h 16"/>
                <a:gd name="T8" fmla="*/ 0 w 13"/>
                <a:gd name="T9" fmla="*/ 1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6"/>
                <a:gd name="T17" fmla="*/ 13 w 13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6">
                  <a:moveTo>
                    <a:pt x="0" y="10"/>
                  </a:moveTo>
                  <a:lnTo>
                    <a:pt x="5" y="16"/>
                  </a:lnTo>
                  <a:lnTo>
                    <a:pt x="13" y="12"/>
                  </a:lnTo>
                  <a:lnTo>
                    <a:pt x="7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08" name="Freeform 90"/>
            <p:cNvSpPr>
              <a:spLocks noChangeAspect="1"/>
            </p:cNvSpPr>
            <p:nvPr/>
          </p:nvSpPr>
          <p:spPr bwMode="auto">
            <a:xfrm>
              <a:off x="5431" y="1153"/>
              <a:ext cx="12" cy="14"/>
            </a:xfrm>
            <a:custGeom>
              <a:avLst/>
              <a:gdLst>
                <a:gd name="T0" fmla="*/ 6 w 13"/>
                <a:gd name="T1" fmla="*/ 14 h 14"/>
                <a:gd name="T2" fmla="*/ 6 w 13"/>
                <a:gd name="T3" fmla="*/ 6 h 14"/>
                <a:gd name="T4" fmla="*/ 5 w 13"/>
                <a:gd name="T5" fmla="*/ 0 h 14"/>
                <a:gd name="T6" fmla="*/ 0 w 13"/>
                <a:gd name="T7" fmla="*/ 3 h 14"/>
                <a:gd name="T8" fmla="*/ 6 w 13"/>
                <a:gd name="T9" fmla="*/ 14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4"/>
                <a:gd name="T17" fmla="*/ 13 w 13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4">
                  <a:moveTo>
                    <a:pt x="6" y="14"/>
                  </a:moveTo>
                  <a:lnTo>
                    <a:pt x="13" y="6"/>
                  </a:lnTo>
                  <a:lnTo>
                    <a:pt x="5" y="0"/>
                  </a:lnTo>
                  <a:lnTo>
                    <a:pt x="0" y="3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09" name="Freeform 91"/>
            <p:cNvSpPr>
              <a:spLocks noChangeAspect="1"/>
            </p:cNvSpPr>
            <p:nvPr/>
          </p:nvSpPr>
          <p:spPr bwMode="auto">
            <a:xfrm>
              <a:off x="5354" y="905"/>
              <a:ext cx="20" cy="10"/>
            </a:xfrm>
            <a:custGeom>
              <a:avLst/>
              <a:gdLst>
                <a:gd name="T0" fmla="*/ 3 w 23"/>
                <a:gd name="T1" fmla="*/ 0 h 10"/>
                <a:gd name="T2" fmla="*/ 0 w 23"/>
                <a:gd name="T3" fmla="*/ 8 h 10"/>
                <a:gd name="T4" fmla="*/ 3 w 23"/>
                <a:gd name="T5" fmla="*/ 10 h 10"/>
                <a:gd name="T6" fmla="*/ 3 w 23"/>
                <a:gd name="T7" fmla="*/ 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10"/>
                <a:gd name="T14" fmla="*/ 23 w 23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10">
                  <a:moveTo>
                    <a:pt x="6" y="0"/>
                  </a:moveTo>
                  <a:lnTo>
                    <a:pt x="0" y="8"/>
                  </a:lnTo>
                  <a:lnTo>
                    <a:pt x="23" y="1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10" name="Freeform 92"/>
            <p:cNvSpPr>
              <a:spLocks noChangeAspect="1"/>
            </p:cNvSpPr>
            <p:nvPr/>
          </p:nvSpPr>
          <p:spPr bwMode="auto">
            <a:xfrm>
              <a:off x="5360" y="905"/>
              <a:ext cx="43" cy="10"/>
            </a:xfrm>
            <a:custGeom>
              <a:avLst/>
              <a:gdLst>
                <a:gd name="T0" fmla="*/ 4 w 48"/>
                <a:gd name="T1" fmla="*/ 10 h 10"/>
                <a:gd name="T2" fmla="*/ 4 w 48"/>
                <a:gd name="T3" fmla="*/ 6 h 10"/>
                <a:gd name="T4" fmla="*/ 0 w 48"/>
                <a:gd name="T5" fmla="*/ 0 h 10"/>
                <a:gd name="T6" fmla="*/ 4 w 48"/>
                <a:gd name="T7" fmla="*/ 1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8"/>
                <a:gd name="T13" fmla="*/ 0 h 10"/>
                <a:gd name="T14" fmla="*/ 48 w 48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8" h="10">
                  <a:moveTo>
                    <a:pt x="17" y="10"/>
                  </a:moveTo>
                  <a:lnTo>
                    <a:pt x="48" y="6"/>
                  </a:lnTo>
                  <a:lnTo>
                    <a:pt x="0" y="0"/>
                  </a:lnTo>
                  <a:lnTo>
                    <a:pt x="17" y="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11" name="Freeform 93"/>
            <p:cNvSpPr>
              <a:spLocks noChangeAspect="1"/>
            </p:cNvSpPr>
            <p:nvPr/>
          </p:nvSpPr>
          <p:spPr bwMode="auto">
            <a:xfrm>
              <a:off x="3179" y="749"/>
              <a:ext cx="184" cy="65"/>
            </a:xfrm>
            <a:custGeom>
              <a:avLst/>
              <a:gdLst>
                <a:gd name="T0" fmla="*/ 0 w 203"/>
                <a:gd name="T1" fmla="*/ 11 h 65"/>
                <a:gd name="T2" fmla="*/ 5 w 203"/>
                <a:gd name="T3" fmla="*/ 29 h 65"/>
                <a:gd name="T4" fmla="*/ 5 w 203"/>
                <a:gd name="T5" fmla="*/ 36 h 65"/>
                <a:gd name="T6" fmla="*/ 5 w 203"/>
                <a:gd name="T7" fmla="*/ 36 h 65"/>
                <a:gd name="T8" fmla="*/ 5 w 203"/>
                <a:gd name="T9" fmla="*/ 41 h 65"/>
                <a:gd name="T10" fmla="*/ 5 w 203"/>
                <a:gd name="T11" fmla="*/ 48 h 65"/>
                <a:gd name="T12" fmla="*/ 5 w 203"/>
                <a:gd name="T13" fmla="*/ 65 h 65"/>
                <a:gd name="T14" fmla="*/ 5 w 203"/>
                <a:gd name="T15" fmla="*/ 34 h 65"/>
                <a:gd name="T16" fmla="*/ 5 w 203"/>
                <a:gd name="T17" fmla="*/ 29 h 65"/>
                <a:gd name="T18" fmla="*/ 5 w 203"/>
                <a:gd name="T19" fmla="*/ 41 h 65"/>
                <a:gd name="T20" fmla="*/ 5 w 203"/>
                <a:gd name="T21" fmla="*/ 49 h 65"/>
                <a:gd name="T22" fmla="*/ 5 w 203"/>
                <a:gd name="T23" fmla="*/ 53 h 65"/>
                <a:gd name="T24" fmla="*/ 5 w 203"/>
                <a:gd name="T25" fmla="*/ 45 h 65"/>
                <a:gd name="T26" fmla="*/ 5 w 203"/>
                <a:gd name="T27" fmla="*/ 20 h 65"/>
                <a:gd name="T28" fmla="*/ 5 w 203"/>
                <a:gd name="T29" fmla="*/ 12 h 65"/>
                <a:gd name="T30" fmla="*/ 5 w 203"/>
                <a:gd name="T31" fmla="*/ 20 h 65"/>
                <a:gd name="T32" fmla="*/ 5 w 203"/>
                <a:gd name="T33" fmla="*/ 9 h 65"/>
                <a:gd name="T34" fmla="*/ 5 w 203"/>
                <a:gd name="T35" fmla="*/ 5 h 65"/>
                <a:gd name="T36" fmla="*/ 5 w 203"/>
                <a:gd name="T37" fmla="*/ 0 h 65"/>
                <a:gd name="T38" fmla="*/ 5 w 203"/>
                <a:gd name="T39" fmla="*/ 12 h 65"/>
                <a:gd name="T40" fmla="*/ 0 w 203"/>
                <a:gd name="T41" fmla="*/ 11 h 6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3"/>
                <a:gd name="T64" fmla="*/ 0 h 65"/>
                <a:gd name="T65" fmla="*/ 203 w 203"/>
                <a:gd name="T66" fmla="*/ 65 h 6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3" h="65">
                  <a:moveTo>
                    <a:pt x="0" y="11"/>
                  </a:moveTo>
                  <a:lnTo>
                    <a:pt x="9" y="29"/>
                  </a:lnTo>
                  <a:lnTo>
                    <a:pt x="28" y="36"/>
                  </a:lnTo>
                  <a:lnTo>
                    <a:pt x="54" y="36"/>
                  </a:lnTo>
                  <a:lnTo>
                    <a:pt x="36" y="41"/>
                  </a:lnTo>
                  <a:lnTo>
                    <a:pt x="39" y="48"/>
                  </a:lnTo>
                  <a:lnTo>
                    <a:pt x="80" y="65"/>
                  </a:lnTo>
                  <a:lnTo>
                    <a:pt x="103" y="34"/>
                  </a:lnTo>
                  <a:lnTo>
                    <a:pt x="119" y="29"/>
                  </a:lnTo>
                  <a:lnTo>
                    <a:pt x="140" y="41"/>
                  </a:lnTo>
                  <a:lnTo>
                    <a:pt x="130" y="49"/>
                  </a:lnTo>
                  <a:lnTo>
                    <a:pt x="154" y="53"/>
                  </a:lnTo>
                  <a:lnTo>
                    <a:pt x="181" y="45"/>
                  </a:lnTo>
                  <a:lnTo>
                    <a:pt x="102" y="20"/>
                  </a:lnTo>
                  <a:lnTo>
                    <a:pt x="99" y="12"/>
                  </a:lnTo>
                  <a:lnTo>
                    <a:pt x="164" y="20"/>
                  </a:lnTo>
                  <a:lnTo>
                    <a:pt x="203" y="9"/>
                  </a:lnTo>
                  <a:lnTo>
                    <a:pt x="202" y="5"/>
                  </a:lnTo>
                  <a:lnTo>
                    <a:pt x="113" y="0"/>
                  </a:lnTo>
                  <a:lnTo>
                    <a:pt x="57" y="12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12" name="Freeform 94"/>
            <p:cNvSpPr>
              <a:spLocks noChangeAspect="1"/>
            </p:cNvSpPr>
            <p:nvPr/>
          </p:nvSpPr>
          <p:spPr bwMode="auto">
            <a:xfrm>
              <a:off x="3285" y="1179"/>
              <a:ext cx="16" cy="19"/>
            </a:xfrm>
            <a:custGeom>
              <a:avLst/>
              <a:gdLst>
                <a:gd name="T0" fmla="*/ 0 w 17"/>
                <a:gd name="T1" fmla="*/ 9 h 19"/>
                <a:gd name="T2" fmla="*/ 2 w 17"/>
                <a:gd name="T3" fmla="*/ 19 h 19"/>
                <a:gd name="T4" fmla="*/ 8 w 17"/>
                <a:gd name="T5" fmla="*/ 14 h 19"/>
                <a:gd name="T6" fmla="*/ 8 w 17"/>
                <a:gd name="T7" fmla="*/ 0 h 19"/>
                <a:gd name="T8" fmla="*/ 0 w 17"/>
                <a:gd name="T9" fmla="*/ 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9"/>
                <a:gd name="T17" fmla="*/ 17 w 17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9">
                  <a:moveTo>
                    <a:pt x="0" y="9"/>
                  </a:moveTo>
                  <a:lnTo>
                    <a:pt x="2" y="19"/>
                  </a:lnTo>
                  <a:lnTo>
                    <a:pt x="11" y="14"/>
                  </a:lnTo>
                  <a:lnTo>
                    <a:pt x="17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13" name="Freeform 95"/>
            <p:cNvSpPr>
              <a:spLocks noChangeAspect="1"/>
            </p:cNvSpPr>
            <p:nvPr/>
          </p:nvSpPr>
          <p:spPr bwMode="auto">
            <a:xfrm>
              <a:off x="3141" y="1510"/>
              <a:ext cx="12" cy="38"/>
            </a:xfrm>
            <a:custGeom>
              <a:avLst/>
              <a:gdLst>
                <a:gd name="T0" fmla="*/ 0 w 14"/>
                <a:gd name="T1" fmla="*/ 11 h 38"/>
                <a:gd name="T2" fmla="*/ 0 w 14"/>
                <a:gd name="T3" fmla="*/ 28 h 38"/>
                <a:gd name="T4" fmla="*/ 3 w 14"/>
                <a:gd name="T5" fmla="*/ 38 h 38"/>
                <a:gd name="T6" fmla="*/ 3 w 14"/>
                <a:gd name="T7" fmla="*/ 0 h 38"/>
                <a:gd name="T8" fmla="*/ 0 w 14"/>
                <a:gd name="T9" fmla="*/ 11 h 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8"/>
                <a:gd name="T17" fmla="*/ 14 w 14"/>
                <a:gd name="T18" fmla="*/ 38 h 3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8">
                  <a:moveTo>
                    <a:pt x="0" y="11"/>
                  </a:moveTo>
                  <a:lnTo>
                    <a:pt x="0" y="28"/>
                  </a:lnTo>
                  <a:lnTo>
                    <a:pt x="9" y="38"/>
                  </a:lnTo>
                  <a:lnTo>
                    <a:pt x="14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14" name="Freeform 96"/>
            <p:cNvSpPr>
              <a:spLocks noChangeAspect="1"/>
            </p:cNvSpPr>
            <p:nvPr/>
          </p:nvSpPr>
          <p:spPr bwMode="auto">
            <a:xfrm>
              <a:off x="3131" y="1550"/>
              <a:ext cx="25" cy="55"/>
            </a:xfrm>
            <a:custGeom>
              <a:avLst/>
              <a:gdLst>
                <a:gd name="T0" fmla="*/ 0 w 28"/>
                <a:gd name="T1" fmla="*/ 8 h 55"/>
                <a:gd name="T2" fmla="*/ 4 w 28"/>
                <a:gd name="T3" fmla="*/ 48 h 55"/>
                <a:gd name="T4" fmla="*/ 4 w 28"/>
                <a:gd name="T5" fmla="*/ 55 h 55"/>
                <a:gd name="T6" fmla="*/ 4 w 28"/>
                <a:gd name="T7" fmla="*/ 48 h 55"/>
                <a:gd name="T8" fmla="*/ 4 w 28"/>
                <a:gd name="T9" fmla="*/ 10 h 55"/>
                <a:gd name="T10" fmla="*/ 4 w 28"/>
                <a:gd name="T11" fmla="*/ 0 h 55"/>
                <a:gd name="T12" fmla="*/ 0 w 28"/>
                <a:gd name="T13" fmla="*/ 8 h 5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55"/>
                <a:gd name="T23" fmla="*/ 28 w 28"/>
                <a:gd name="T24" fmla="*/ 55 h 5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55">
                  <a:moveTo>
                    <a:pt x="0" y="8"/>
                  </a:moveTo>
                  <a:lnTo>
                    <a:pt x="4" y="48"/>
                  </a:lnTo>
                  <a:lnTo>
                    <a:pt x="11" y="55"/>
                  </a:lnTo>
                  <a:lnTo>
                    <a:pt x="25" y="48"/>
                  </a:lnTo>
                  <a:lnTo>
                    <a:pt x="28" y="10"/>
                  </a:lnTo>
                  <a:lnTo>
                    <a:pt x="21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15" name="Freeform 97"/>
            <p:cNvSpPr>
              <a:spLocks noChangeAspect="1"/>
            </p:cNvSpPr>
            <p:nvPr/>
          </p:nvSpPr>
          <p:spPr bwMode="auto">
            <a:xfrm>
              <a:off x="3203" y="1618"/>
              <a:ext cx="56" cy="37"/>
            </a:xfrm>
            <a:custGeom>
              <a:avLst/>
              <a:gdLst>
                <a:gd name="T0" fmla="*/ 0 w 62"/>
                <a:gd name="T1" fmla="*/ 8 h 37"/>
                <a:gd name="T2" fmla="*/ 5 w 62"/>
                <a:gd name="T3" fmla="*/ 17 h 37"/>
                <a:gd name="T4" fmla="*/ 5 w 62"/>
                <a:gd name="T5" fmla="*/ 37 h 37"/>
                <a:gd name="T6" fmla="*/ 5 w 62"/>
                <a:gd name="T7" fmla="*/ 0 h 37"/>
                <a:gd name="T8" fmla="*/ 5 w 62"/>
                <a:gd name="T9" fmla="*/ 6 h 37"/>
                <a:gd name="T10" fmla="*/ 5 w 62"/>
                <a:gd name="T11" fmla="*/ 3 h 37"/>
                <a:gd name="T12" fmla="*/ 0 w 62"/>
                <a:gd name="T13" fmla="*/ 8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2"/>
                <a:gd name="T22" fmla="*/ 0 h 37"/>
                <a:gd name="T23" fmla="*/ 62 w 62"/>
                <a:gd name="T24" fmla="*/ 37 h 3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2" h="37">
                  <a:moveTo>
                    <a:pt x="0" y="8"/>
                  </a:moveTo>
                  <a:lnTo>
                    <a:pt x="6" y="17"/>
                  </a:lnTo>
                  <a:lnTo>
                    <a:pt x="53" y="37"/>
                  </a:lnTo>
                  <a:lnTo>
                    <a:pt x="62" y="0"/>
                  </a:lnTo>
                  <a:lnTo>
                    <a:pt x="36" y="6"/>
                  </a:lnTo>
                  <a:lnTo>
                    <a:pt x="7" y="3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16" name="Freeform 98"/>
            <p:cNvSpPr>
              <a:spLocks noChangeAspect="1"/>
            </p:cNvSpPr>
            <p:nvPr/>
          </p:nvSpPr>
          <p:spPr bwMode="auto">
            <a:xfrm>
              <a:off x="3395" y="1679"/>
              <a:ext cx="47" cy="16"/>
            </a:xfrm>
            <a:custGeom>
              <a:avLst/>
              <a:gdLst>
                <a:gd name="T0" fmla="*/ 0 w 52"/>
                <a:gd name="T1" fmla="*/ 10 h 16"/>
                <a:gd name="T2" fmla="*/ 5 w 52"/>
                <a:gd name="T3" fmla="*/ 16 h 16"/>
                <a:gd name="T4" fmla="*/ 5 w 52"/>
                <a:gd name="T5" fmla="*/ 14 h 16"/>
                <a:gd name="T6" fmla="*/ 5 w 52"/>
                <a:gd name="T7" fmla="*/ 8 h 16"/>
                <a:gd name="T8" fmla="*/ 5 w 52"/>
                <a:gd name="T9" fmla="*/ 12 h 16"/>
                <a:gd name="T10" fmla="*/ 5 w 52"/>
                <a:gd name="T11" fmla="*/ 6 h 16"/>
                <a:gd name="T12" fmla="*/ 2 w 52"/>
                <a:gd name="T13" fmla="*/ 0 h 16"/>
                <a:gd name="T14" fmla="*/ 0 w 52"/>
                <a:gd name="T15" fmla="*/ 10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16"/>
                <a:gd name="T26" fmla="*/ 52 w 52"/>
                <a:gd name="T27" fmla="*/ 16 h 1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16">
                  <a:moveTo>
                    <a:pt x="0" y="10"/>
                  </a:moveTo>
                  <a:lnTo>
                    <a:pt x="26" y="16"/>
                  </a:lnTo>
                  <a:lnTo>
                    <a:pt x="51" y="14"/>
                  </a:lnTo>
                  <a:lnTo>
                    <a:pt x="52" y="8"/>
                  </a:lnTo>
                  <a:lnTo>
                    <a:pt x="43" y="12"/>
                  </a:lnTo>
                  <a:lnTo>
                    <a:pt x="43" y="6"/>
                  </a:lnTo>
                  <a:lnTo>
                    <a:pt x="2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17" name="Freeform 99"/>
            <p:cNvSpPr>
              <a:spLocks noChangeAspect="1"/>
            </p:cNvSpPr>
            <p:nvPr/>
          </p:nvSpPr>
          <p:spPr bwMode="auto">
            <a:xfrm>
              <a:off x="3546" y="1679"/>
              <a:ext cx="37" cy="22"/>
            </a:xfrm>
            <a:custGeom>
              <a:avLst/>
              <a:gdLst>
                <a:gd name="T0" fmla="*/ 0 w 41"/>
                <a:gd name="T1" fmla="*/ 14 h 22"/>
                <a:gd name="T2" fmla="*/ 3 w 41"/>
                <a:gd name="T3" fmla="*/ 22 h 22"/>
                <a:gd name="T4" fmla="*/ 5 w 41"/>
                <a:gd name="T5" fmla="*/ 21 h 22"/>
                <a:gd name="T6" fmla="*/ 5 w 41"/>
                <a:gd name="T7" fmla="*/ 16 h 22"/>
                <a:gd name="T8" fmla="*/ 5 w 41"/>
                <a:gd name="T9" fmla="*/ 10 h 22"/>
                <a:gd name="T10" fmla="*/ 5 w 41"/>
                <a:gd name="T11" fmla="*/ 0 h 22"/>
                <a:gd name="T12" fmla="*/ 0 w 41"/>
                <a:gd name="T13" fmla="*/ 14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2"/>
                <a:gd name="T23" fmla="*/ 41 w 41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2">
                  <a:moveTo>
                    <a:pt x="0" y="14"/>
                  </a:moveTo>
                  <a:lnTo>
                    <a:pt x="3" y="22"/>
                  </a:lnTo>
                  <a:lnTo>
                    <a:pt x="24" y="21"/>
                  </a:lnTo>
                  <a:lnTo>
                    <a:pt x="35" y="16"/>
                  </a:lnTo>
                  <a:lnTo>
                    <a:pt x="31" y="10"/>
                  </a:lnTo>
                  <a:lnTo>
                    <a:pt x="41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18" name="Freeform 100"/>
            <p:cNvSpPr>
              <a:spLocks noChangeAspect="1"/>
            </p:cNvSpPr>
            <p:nvPr/>
          </p:nvSpPr>
          <p:spPr bwMode="auto">
            <a:xfrm>
              <a:off x="3032" y="1581"/>
              <a:ext cx="19" cy="14"/>
            </a:xfrm>
            <a:custGeom>
              <a:avLst/>
              <a:gdLst>
                <a:gd name="T0" fmla="*/ 0 w 21"/>
                <a:gd name="T1" fmla="*/ 7 h 14"/>
                <a:gd name="T2" fmla="*/ 5 w 21"/>
                <a:gd name="T3" fmla="*/ 14 h 14"/>
                <a:gd name="T4" fmla="*/ 5 w 21"/>
                <a:gd name="T5" fmla="*/ 6 h 14"/>
                <a:gd name="T6" fmla="*/ 5 w 21"/>
                <a:gd name="T7" fmla="*/ 0 h 14"/>
                <a:gd name="T8" fmla="*/ 0 w 21"/>
                <a:gd name="T9" fmla="*/ 7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4"/>
                <a:gd name="T17" fmla="*/ 21 w 21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4">
                  <a:moveTo>
                    <a:pt x="0" y="7"/>
                  </a:moveTo>
                  <a:lnTo>
                    <a:pt x="15" y="14"/>
                  </a:lnTo>
                  <a:lnTo>
                    <a:pt x="21" y="6"/>
                  </a:lnTo>
                  <a:lnTo>
                    <a:pt x="12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19" name="Freeform 101"/>
            <p:cNvSpPr>
              <a:spLocks noChangeAspect="1"/>
            </p:cNvSpPr>
            <p:nvPr/>
          </p:nvSpPr>
          <p:spPr bwMode="auto">
            <a:xfrm>
              <a:off x="5108" y="1239"/>
              <a:ext cx="12" cy="12"/>
            </a:xfrm>
            <a:custGeom>
              <a:avLst/>
              <a:gdLst>
                <a:gd name="T0" fmla="*/ 1 w 12"/>
                <a:gd name="T1" fmla="*/ 7 h 12"/>
                <a:gd name="T2" fmla="*/ 11 w 12"/>
                <a:gd name="T3" fmla="*/ 12 h 12"/>
                <a:gd name="T4" fmla="*/ 12 w 12"/>
                <a:gd name="T5" fmla="*/ 3 h 12"/>
                <a:gd name="T6" fmla="*/ 0 w 12"/>
                <a:gd name="T7" fmla="*/ 0 h 12"/>
                <a:gd name="T8" fmla="*/ 1 w 12"/>
                <a:gd name="T9" fmla="*/ 7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2"/>
                <a:gd name="T17" fmla="*/ 12 w 12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2">
                  <a:moveTo>
                    <a:pt x="1" y="7"/>
                  </a:moveTo>
                  <a:lnTo>
                    <a:pt x="11" y="12"/>
                  </a:lnTo>
                  <a:lnTo>
                    <a:pt x="12" y="3"/>
                  </a:lnTo>
                  <a:lnTo>
                    <a:pt x="0" y="0"/>
                  </a:lnTo>
                  <a:lnTo>
                    <a:pt x="1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20" name="Freeform 102"/>
            <p:cNvSpPr>
              <a:spLocks noChangeAspect="1"/>
            </p:cNvSpPr>
            <p:nvPr/>
          </p:nvSpPr>
          <p:spPr bwMode="auto">
            <a:xfrm>
              <a:off x="2927" y="1326"/>
              <a:ext cx="204" cy="194"/>
            </a:xfrm>
            <a:custGeom>
              <a:avLst/>
              <a:gdLst>
                <a:gd name="T0" fmla="*/ 4 w 227"/>
                <a:gd name="T1" fmla="*/ 78 h 194"/>
                <a:gd name="T2" fmla="*/ 4 w 227"/>
                <a:gd name="T3" fmla="*/ 51 h 194"/>
                <a:gd name="T4" fmla="*/ 4 w 227"/>
                <a:gd name="T5" fmla="*/ 35 h 194"/>
                <a:gd name="T6" fmla="*/ 4 w 227"/>
                <a:gd name="T7" fmla="*/ 34 h 194"/>
                <a:gd name="T8" fmla="*/ 4 w 227"/>
                <a:gd name="T9" fmla="*/ 32 h 194"/>
                <a:gd name="T10" fmla="*/ 4 w 227"/>
                <a:gd name="T11" fmla="*/ 23 h 194"/>
                <a:gd name="T12" fmla="*/ 4 w 227"/>
                <a:gd name="T13" fmla="*/ 26 h 194"/>
                <a:gd name="T14" fmla="*/ 4 w 227"/>
                <a:gd name="T15" fmla="*/ 1 h 194"/>
                <a:gd name="T16" fmla="*/ 4 w 227"/>
                <a:gd name="T17" fmla="*/ 0 h 194"/>
                <a:gd name="T18" fmla="*/ 4 w 227"/>
                <a:gd name="T19" fmla="*/ 7 h 194"/>
                <a:gd name="T20" fmla="*/ 4 w 227"/>
                <a:gd name="T21" fmla="*/ 24 h 194"/>
                <a:gd name="T22" fmla="*/ 4 w 227"/>
                <a:gd name="T23" fmla="*/ 33 h 194"/>
                <a:gd name="T24" fmla="*/ 4 w 227"/>
                <a:gd name="T25" fmla="*/ 43 h 194"/>
                <a:gd name="T26" fmla="*/ 4 w 227"/>
                <a:gd name="T27" fmla="*/ 43 h 194"/>
                <a:gd name="T28" fmla="*/ 4 w 227"/>
                <a:gd name="T29" fmla="*/ 33 h 194"/>
                <a:gd name="T30" fmla="*/ 4 w 227"/>
                <a:gd name="T31" fmla="*/ 33 h 194"/>
                <a:gd name="T32" fmla="*/ 4 w 227"/>
                <a:gd name="T33" fmla="*/ 57 h 194"/>
                <a:gd name="T34" fmla="*/ 4 w 227"/>
                <a:gd name="T35" fmla="*/ 60 h 194"/>
                <a:gd name="T36" fmla="*/ 4 w 227"/>
                <a:gd name="T37" fmla="*/ 52 h 194"/>
                <a:gd name="T38" fmla="*/ 0 w 227"/>
                <a:gd name="T39" fmla="*/ 60 h 194"/>
                <a:gd name="T40" fmla="*/ 1 w 227"/>
                <a:gd name="T41" fmla="*/ 70 h 194"/>
                <a:gd name="T42" fmla="*/ 4 w 227"/>
                <a:gd name="T43" fmla="*/ 81 h 194"/>
                <a:gd name="T44" fmla="*/ 4 w 227"/>
                <a:gd name="T45" fmla="*/ 109 h 194"/>
                <a:gd name="T46" fmla="*/ 4 w 227"/>
                <a:gd name="T47" fmla="*/ 119 h 194"/>
                <a:gd name="T48" fmla="*/ 4 w 227"/>
                <a:gd name="T49" fmla="*/ 169 h 194"/>
                <a:gd name="T50" fmla="*/ 4 w 227"/>
                <a:gd name="T51" fmla="*/ 176 h 194"/>
                <a:gd name="T52" fmla="*/ 4 w 227"/>
                <a:gd name="T53" fmla="*/ 188 h 194"/>
                <a:gd name="T54" fmla="*/ 4 w 227"/>
                <a:gd name="T55" fmla="*/ 194 h 194"/>
                <a:gd name="T56" fmla="*/ 4 w 227"/>
                <a:gd name="T57" fmla="*/ 184 h 194"/>
                <a:gd name="T58" fmla="*/ 4 w 227"/>
                <a:gd name="T59" fmla="*/ 173 h 194"/>
                <a:gd name="T60" fmla="*/ 4 w 227"/>
                <a:gd name="T61" fmla="*/ 182 h 194"/>
                <a:gd name="T62" fmla="*/ 4 w 227"/>
                <a:gd name="T63" fmla="*/ 165 h 194"/>
                <a:gd name="T64" fmla="*/ 4 w 227"/>
                <a:gd name="T65" fmla="*/ 141 h 194"/>
                <a:gd name="T66" fmla="*/ 4 w 227"/>
                <a:gd name="T67" fmla="*/ 118 h 194"/>
                <a:gd name="T68" fmla="*/ 4 w 227"/>
                <a:gd name="T69" fmla="*/ 106 h 194"/>
                <a:gd name="T70" fmla="*/ 4 w 227"/>
                <a:gd name="T71" fmla="*/ 111 h 194"/>
                <a:gd name="T72" fmla="*/ 4 w 227"/>
                <a:gd name="T73" fmla="*/ 104 h 194"/>
                <a:gd name="T74" fmla="*/ 4 w 227"/>
                <a:gd name="T75" fmla="*/ 81 h 194"/>
                <a:gd name="T76" fmla="*/ 4 w 227"/>
                <a:gd name="T77" fmla="*/ 79 h 194"/>
                <a:gd name="T78" fmla="*/ 4 w 227"/>
                <a:gd name="T79" fmla="*/ 78 h 19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27"/>
                <a:gd name="T121" fmla="*/ 0 h 194"/>
                <a:gd name="T122" fmla="*/ 227 w 227"/>
                <a:gd name="T123" fmla="*/ 194 h 19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27" h="194">
                  <a:moveTo>
                    <a:pt x="217" y="78"/>
                  </a:moveTo>
                  <a:lnTo>
                    <a:pt x="227" y="51"/>
                  </a:lnTo>
                  <a:lnTo>
                    <a:pt x="197" y="35"/>
                  </a:lnTo>
                  <a:lnTo>
                    <a:pt x="187" y="34"/>
                  </a:lnTo>
                  <a:lnTo>
                    <a:pt x="175" y="32"/>
                  </a:lnTo>
                  <a:lnTo>
                    <a:pt x="174" y="23"/>
                  </a:lnTo>
                  <a:lnTo>
                    <a:pt x="162" y="26"/>
                  </a:lnTo>
                  <a:lnTo>
                    <a:pt x="138" y="1"/>
                  </a:lnTo>
                  <a:lnTo>
                    <a:pt x="137" y="0"/>
                  </a:lnTo>
                  <a:lnTo>
                    <a:pt x="119" y="7"/>
                  </a:lnTo>
                  <a:lnTo>
                    <a:pt x="113" y="24"/>
                  </a:lnTo>
                  <a:lnTo>
                    <a:pt x="89" y="33"/>
                  </a:lnTo>
                  <a:lnTo>
                    <a:pt x="86" y="43"/>
                  </a:lnTo>
                  <a:lnTo>
                    <a:pt x="67" y="43"/>
                  </a:lnTo>
                  <a:lnTo>
                    <a:pt x="63" y="33"/>
                  </a:lnTo>
                  <a:lnTo>
                    <a:pt x="52" y="33"/>
                  </a:lnTo>
                  <a:lnTo>
                    <a:pt x="60" y="57"/>
                  </a:lnTo>
                  <a:lnTo>
                    <a:pt x="38" y="60"/>
                  </a:lnTo>
                  <a:lnTo>
                    <a:pt x="32" y="52"/>
                  </a:lnTo>
                  <a:lnTo>
                    <a:pt x="0" y="60"/>
                  </a:lnTo>
                  <a:lnTo>
                    <a:pt x="1" y="70"/>
                  </a:lnTo>
                  <a:lnTo>
                    <a:pt x="39" y="81"/>
                  </a:lnTo>
                  <a:lnTo>
                    <a:pt x="60" y="109"/>
                  </a:lnTo>
                  <a:lnTo>
                    <a:pt x="63" y="119"/>
                  </a:lnTo>
                  <a:lnTo>
                    <a:pt x="52" y="169"/>
                  </a:lnTo>
                  <a:lnTo>
                    <a:pt x="47" y="176"/>
                  </a:lnTo>
                  <a:lnTo>
                    <a:pt x="72" y="188"/>
                  </a:lnTo>
                  <a:lnTo>
                    <a:pt x="134" y="194"/>
                  </a:lnTo>
                  <a:lnTo>
                    <a:pt x="134" y="184"/>
                  </a:lnTo>
                  <a:lnTo>
                    <a:pt x="152" y="173"/>
                  </a:lnTo>
                  <a:lnTo>
                    <a:pt x="197" y="182"/>
                  </a:lnTo>
                  <a:lnTo>
                    <a:pt x="218" y="165"/>
                  </a:lnTo>
                  <a:lnTo>
                    <a:pt x="203" y="141"/>
                  </a:lnTo>
                  <a:lnTo>
                    <a:pt x="208" y="118"/>
                  </a:lnTo>
                  <a:lnTo>
                    <a:pt x="203" y="106"/>
                  </a:lnTo>
                  <a:lnTo>
                    <a:pt x="193" y="111"/>
                  </a:lnTo>
                  <a:lnTo>
                    <a:pt x="191" y="104"/>
                  </a:lnTo>
                  <a:lnTo>
                    <a:pt x="208" y="81"/>
                  </a:lnTo>
                  <a:lnTo>
                    <a:pt x="219" y="79"/>
                  </a:lnTo>
                  <a:lnTo>
                    <a:pt x="217" y="7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21" name="Freeform 103"/>
            <p:cNvSpPr>
              <a:spLocks noChangeAspect="1"/>
            </p:cNvSpPr>
            <p:nvPr/>
          </p:nvSpPr>
          <p:spPr bwMode="auto">
            <a:xfrm>
              <a:off x="3368" y="1484"/>
              <a:ext cx="104" cy="65"/>
            </a:xfrm>
            <a:custGeom>
              <a:avLst/>
              <a:gdLst>
                <a:gd name="T0" fmla="*/ 5 w 115"/>
                <a:gd name="T1" fmla="*/ 1 h 65"/>
                <a:gd name="T2" fmla="*/ 5 w 115"/>
                <a:gd name="T3" fmla="*/ 11 h 65"/>
                <a:gd name="T4" fmla="*/ 5 w 115"/>
                <a:gd name="T5" fmla="*/ 8 h 65"/>
                <a:gd name="T6" fmla="*/ 5 w 115"/>
                <a:gd name="T7" fmla="*/ 0 h 65"/>
                <a:gd name="T8" fmla="*/ 0 w 115"/>
                <a:gd name="T9" fmla="*/ 8 h 65"/>
                <a:gd name="T10" fmla="*/ 5 w 115"/>
                <a:gd name="T11" fmla="*/ 28 h 65"/>
                <a:gd name="T12" fmla="*/ 2 w 115"/>
                <a:gd name="T13" fmla="*/ 42 h 65"/>
                <a:gd name="T14" fmla="*/ 5 w 115"/>
                <a:gd name="T15" fmla="*/ 63 h 65"/>
                <a:gd name="T16" fmla="*/ 5 w 115"/>
                <a:gd name="T17" fmla="*/ 58 h 65"/>
                <a:gd name="T18" fmla="*/ 5 w 115"/>
                <a:gd name="T19" fmla="*/ 65 h 65"/>
                <a:gd name="T20" fmla="*/ 5 w 115"/>
                <a:gd name="T21" fmla="*/ 53 h 65"/>
                <a:gd name="T22" fmla="*/ 5 w 115"/>
                <a:gd name="T23" fmla="*/ 52 h 65"/>
                <a:gd name="T24" fmla="*/ 5 w 115"/>
                <a:gd name="T25" fmla="*/ 37 h 65"/>
                <a:gd name="T26" fmla="*/ 5 w 115"/>
                <a:gd name="T27" fmla="*/ 19 h 65"/>
                <a:gd name="T28" fmla="*/ 5 w 115"/>
                <a:gd name="T29" fmla="*/ 17 h 65"/>
                <a:gd name="T30" fmla="*/ 5 w 115"/>
                <a:gd name="T31" fmla="*/ 9 h 65"/>
                <a:gd name="T32" fmla="*/ 5 w 115"/>
                <a:gd name="T33" fmla="*/ 1 h 6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5"/>
                <a:gd name="T52" fmla="*/ 0 h 65"/>
                <a:gd name="T53" fmla="*/ 115 w 115"/>
                <a:gd name="T54" fmla="*/ 65 h 6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5" h="65">
                  <a:moveTo>
                    <a:pt x="82" y="1"/>
                  </a:moveTo>
                  <a:lnTo>
                    <a:pt x="56" y="11"/>
                  </a:lnTo>
                  <a:lnTo>
                    <a:pt x="28" y="8"/>
                  </a:lnTo>
                  <a:lnTo>
                    <a:pt x="6" y="0"/>
                  </a:lnTo>
                  <a:lnTo>
                    <a:pt x="0" y="8"/>
                  </a:lnTo>
                  <a:lnTo>
                    <a:pt x="5" y="28"/>
                  </a:lnTo>
                  <a:lnTo>
                    <a:pt x="2" y="42"/>
                  </a:lnTo>
                  <a:lnTo>
                    <a:pt x="13" y="63"/>
                  </a:lnTo>
                  <a:lnTo>
                    <a:pt x="41" y="58"/>
                  </a:lnTo>
                  <a:lnTo>
                    <a:pt x="61" y="65"/>
                  </a:lnTo>
                  <a:lnTo>
                    <a:pt x="75" y="53"/>
                  </a:lnTo>
                  <a:lnTo>
                    <a:pt x="107" y="52"/>
                  </a:lnTo>
                  <a:lnTo>
                    <a:pt x="96" y="37"/>
                  </a:lnTo>
                  <a:lnTo>
                    <a:pt x="103" y="19"/>
                  </a:lnTo>
                  <a:lnTo>
                    <a:pt x="114" y="17"/>
                  </a:lnTo>
                  <a:lnTo>
                    <a:pt x="115" y="9"/>
                  </a:lnTo>
                  <a:lnTo>
                    <a:pt x="82" y="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22" name="Freeform 104"/>
            <p:cNvSpPr>
              <a:spLocks noChangeAspect="1"/>
            </p:cNvSpPr>
            <p:nvPr/>
          </p:nvSpPr>
          <p:spPr bwMode="auto">
            <a:xfrm>
              <a:off x="3222" y="1424"/>
              <a:ext cx="94" cy="97"/>
            </a:xfrm>
            <a:custGeom>
              <a:avLst/>
              <a:gdLst>
                <a:gd name="T0" fmla="*/ 5 w 104"/>
                <a:gd name="T1" fmla="*/ 19 h 97"/>
                <a:gd name="T2" fmla="*/ 5 w 104"/>
                <a:gd name="T3" fmla="*/ 22 h 97"/>
                <a:gd name="T4" fmla="*/ 5 w 104"/>
                <a:gd name="T5" fmla="*/ 0 h 97"/>
                <a:gd name="T6" fmla="*/ 5 w 104"/>
                <a:gd name="T7" fmla="*/ 12 h 97"/>
                <a:gd name="T8" fmla="*/ 5 w 104"/>
                <a:gd name="T9" fmla="*/ 24 h 97"/>
                <a:gd name="T10" fmla="*/ 5 w 104"/>
                <a:gd name="T11" fmla="*/ 21 h 97"/>
                <a:gd name="T12" fmla="*/ 5 w 104"/>
                <a:gd name="T13" fmla="*/ 30 h 97"/>
                <a:gd name="T14" fmla="*/ 0 w 104"/>
                <a:gd name="T15" fmla="*/ 28 h 97"/>
                <a:gd name="T16" fmla="*/ 2 w 104"/>
                <a:gd name="T17" fmla="*/ 44 h 97"/>
                <a:gd name="T18" fmla="*/ 5 w 104"/>
                <a:gd name="T19" fmla="*/ 32 h 97"/>
                <a:gd name="T20" fmla="*/ 5 w 104"/>
                <a:gd name="T21" fmla="*/ 40 h 97"/>
                <a:gd name="T22" fmla="*/ 5 w 104"/>
                <a:gd name="T23" fmla="*/ 63 h 97"/>
                <a:gd name="T24" fmla="*/ 5 w 104"/>
                <a:gd name="T25" fmla="*/ 97 h 97"/>
                <a:gd name="T26" fmla="*/ 5 w 104"/>
                <a:gd name="T27" fmla="*/ 91 h 97"/>
                <a:gd name="T28" fmla="*/ 5 w 104"/>
                <a:gd name="T29" fmla="*/ 59 h 97"/>
                <a:gd name="T30" fmla="*/ 5 w 104"/>
                <a:gd name="T31" fmla="*/ 44 h 97"/>
                <a:gd name="T32" fmla="*/ 5 w 104"/>
                <a:gd name="T33" fmla="*/ 34 h 97"/>
                <a:gd name="T34" fmla="*/ 5 w 104"/>
                <a:gd name="T35" fmla="*/ 39 h 97"/>
                <a:gd name="T36" fmla="*/ 5 w 104"/>
                <a:gd name="T37" fmla="*/ 42 h 97"/>
                <a:gd name="T38" fmla="*/ 5 w 104"/>
                <a:gd name="T39" fmla="*/ 36 h 97"/>
                <a:gd name="T40" fmla="*/ 5 w 104"/>
                <a:gd name="T41" fmla="*/ 31 h 97"/>
                <a:gd name="T42" fmla="*/ 5 w 104"/>
                <a:gd name="T43" fmla="*/ 19 h 9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4"/>
                <a:gd name="T67" fmla="*/ 0 h 97"/>
                <a:gd name="T68" fmla="*/ 104 w 104"/>
                <a:gd name="T69" fmla="*/ 97 h 9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4" h="97">
                  <a:moveTo>
                    <a:pt x="92" y="19"/>
                  </a:moveTo>
                  <a:lnTo>
                    <a:pt x="77" y="22"/>
                  </a:lnTo>
                  <a:lnTo>
                    <a:pt x="48" y="0"/>
                  </a:lnTo>
                  <a:lnTo>
                    <a:pt x="31" y="12"/>
                  </a:lnTo>
                  <a:lnTo>
                    <a:pt x="30" y="24"/>
                  </a:lnTo>
                  <a:lnTo>
                    <a:pt x="18" y="21"/>
                  </a:lnTo>
                  <a:lnTo>
                    <a:pt x="6" y="30"/>
                  </a:lnTo>
                  <a:lnTo>
                    <a:pt x="0" y="28"/>
                  </a:lnTo>
                  <a:lnTo>
                    <a:pt x="2" y="44"/>
                  </a:lnTo>
                  <a:lnTo>
                    <a:pt x="9" y="32"/>
                  </a:lnTo>
                  <a:lnTo>
                    <a:pt x="22" y="40"/>
                  </a:lnTo>
                  <a:lnTo>
                    <a:pt x="29" y="63"/>
                  </a:lnTo>
                  <a:lnTo>
                    <a:pt x="82" y="97"/>
                  </a:lnTo>
                  <a:lnTo>
                    <a:pt x="86" y="91"/>
                  </a:lnTo>
                  <a:lnTo>
                    <a:pt x="50" y="59"/>
                  </a:lnTo>
                  <a:lnTo>
                    <a:pt x="43" y="44"/>
                  </a:lnTo>
                  <a:lnTo>
                    <a:pt x="46" y="34"/>
                  </a:lnTo>
                  <a:lnTo>
                    <a:pt x="87" y="39"/>
                  </a:lnTo>
                  <a:lnTo>
                    <a:pt x="99" y="42"/>
                  </a:lnTo>
                  <a:lnTo>
                    <a:pt x="104" y="36"/>
                  </a:lnTo>
                  <a:lnTo>
                    <a:pt x="96" y="31"/>
                  </a:lnTo>
                  <a:lnTo>
                    <a:pt x="92" y="1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23" name="Freeform 105"/>
            <p:cNvSpPr>
              <a:spLocks noChangeAspect="1"/>
            </p:cNvSpPr>
            <p:nvPr/>
          </p:nvSpPr>
          <p:spPr bwMode="auto">
            <a:xfrm>
              <a:off x="3091" y="911"/>
              <a:ext cx="353" cy="267"/>
            </a:xfrm>
            <a:custGeom>
              <a:avLst/>
              <a:gdLst>
                <a:gd name="T0" fmla="*/ 5 w 391"/>
                <a:gd name="T1" fmla="*/ 52 h 267"/>
                <a:gd name="T2" fmla="*/ 5 w 391"/>
                <a:gd name="T3" fmla="*/ 60 h 267"/>
                <a:gd name="T4" fmla="*/ 5 w 391"/>
                <a:gd name="T5" fmla="*/ 84 h 267"/>
                <a:gd name="T6" fmla="*/ 5 w 391"/>
                <a:gd name="T7" fmla="*/ 128 h 267"/>
                <a:gd name="T8" fmla="*/ 5 w 391"/>
                <a:gd name="T9" fmla="*/ 148 h 267"/>
                <a:gd name="T10" fmla="*/ 5 w 391"/>
                <a:gd name="T11" fmla="*/ 199 h 267"/>
                <a:gd name="T12" fmla="*/ 5 w 391"/>
                <a:gd name="T13" fmla="*/ 225 h 267"/>
                <a:gd name="T14" fmla="*/ 5 w 391"/>
                <a:gd name="T15" fmla="*/ 247 h 267"/>
                <a:gd name="T16" fmla="*/ 5 w 391"/>
                <a:gd name="T17" fmla="*/ 238 h 267"/>
                <a:gd name="T18" fmla="*/ 5 w 391"/>
                <a:gd name="T19" fmla="*/ 260 h 267"/>
                <a:gd name="T20" fmla="*/ 5 w 391"/>
                <a:gd name="T21" fmla="*/ 238 h 267"/>
                <a:gd name="T22" fmla="*/ 5 w 391"/>
                <a:gd name="T23" fmla="*/ 226 h 267"/>
                <a:gd name="T24" fmla="*/ 0 w 391"/>
                <a:gd name="T25" fmla="*/ 200 h 267"/>
                <a:gd name="T26" fmla="*/ 1 w 391"/>
                <a:gd name="T27" fmla="*/ 186 h 267"/>
                <a:gd name="T28" fmla="*/ 5 w 391"/>
                <a:gd name="T29" fmla="*/ 162 h 267"/>
                <a:gd name="T30" fmla="*/ 5 w 391"/>
                <a:gd name="T31" fmla="*/ 152 h 267"/>
                <a:gd name="T32" fmla="*/ 5 w 391"/>
                <a:gd name="T33" fmla="*/ 82 h 267"/>
                <a:gd name="T34" fmla="*/ 5 w 391"/>
                <a:gd name="T35" fmla="*/ 65 h 267"/>
                <a:gd name="T36" fmla="*/ 5 w 391"/>
                <a:gd name="T37" fmla="*/ 49 h 267"/>
                <a:gd name="T38" fmla="*/ 5 w 391"/>
                <a:gd name="T39" fmla="*/ 46 h 267"/>
                <a:gd name="T40" fmla="*/ 5 w 391"/>
                <a:gd name="T41" fmla="*/ 49 h 267"/>
                <a:gd name="T42" fmla="*/ 5 w 391"/>
                <a:gd name="T43" fmla="*/ 40 h 267"/>
                <a:gd name="T44" fmla="*/ 5 w 391"/>
                <a:gd name="T45" fmla="*/ 21 h 267"/>
                <a:gd name="T46" fmla="*/ 5 w 391"/>
                <a:gd name="T47" fmla="*/ 5 h 267"/>
                <a:gd name="T48" fmla="*/ 5 w 391"/>
                <a:gd name="T49" fmla="*/ 0 h 267"/>
                <a:gd name="T50" fmla="*/ 5 w 391"/>
                <a:gd name="T51" fmla="*/ 5 h 267"/>
                <a:gd name="T52" fmla="*/ 5 w 391"/>
                <a:gd name="T53" fmla="*/ 3 h 267"/>
                <a:gd name="T54" fmla="*/ 5 w 391"/>
                <a:gd name="T55" fmla="*/ 15 h 267"/>
                <a:gd name="T56" fmla="*/ 5 w 391"/>
                <a:gd name="T57" fmla="*/ 28 h 267"/>
                <a:gd name="T58" fmla="*/ 5 w 391"/>
                <a:gd name="T59" fmla="*/ 28 h 267"/>
                <a:gd name="T60" fmla="*/ 5 w 391"/>
                <a:gd name="T61" fmla="*/ 26 h 267"/>
                <a:gd name="T62" fmla="*/ 5 w 391"/>
                <a:gd name="T63" fmla="*/ 48 h 267"/>
                <a:gd name="T64" fmla="*/ 5 w 391"/>
                <a:gd name="T65" fmla="*/ 35 h 2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91"/>
                <a:gd name="T100" fmla="*/ 0 h 267"/>
                <a:gd name="T101" fmla="*/ 391 w 391"/>
                <a:gd name="T102" fmla="*/ 267 h 2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91" h="267">
                  <a:moveTo>
                    <a:pt x="239" y="40"/>
                  </a:moveTo>
                  <a:lnTo>
                    <a:pt x="233" y="52"/>
                  </a:lnTo>
                  <a:lnTo>
                    <a:pt x="209" y="51"/>
                  </a:lnTo>
                  <a:lnTo>
                    <a:pt x="203" y="60"/>
                  </a:lnTo>
                  <a:lnTo>
                    <a:pt x="186" y="62"/>
                  </a:lnTo>
                  <a:lnTo>
                    <a:pt x="174" y="84"/>
                  </a:lnTo>
                  <a:lnTo>
                    <a:pt x="154" y="99"/>
                  </a:lnTo>
                  <a:lnTo>
                    <a:pt x="141" y="128"/>
                  </a:lnTo>
                  <a:lnTo>
                    <a:pt x="146" y="139"/>
                  </a:lnTo>
                  <a:lnTo>
                    <a:pt x="117" y="148"/>
                  </a:lnTo>
                  <a:lnTo>
                    <a:pt x="114" y="173"/>
                  </a:lnTo>
                  <a:lnTo>
                    <a:pt x="124" y="199"/>
                  </a:lnTo>
                  <a:lnTo>
                    <a:pt x="117" y="203"/>
                  </a:lnTo>
                  <a:lnTo>
                    <a:pt x="119" y="225"/>
                  </a:lnTo>
                  <a:lnTo>
                    <a:pt x="108" y="232"/>
                  </a:lnTo>
                  <a:lnTo>
                    <a:pt x="106" y="247"/>
                  </a:lnTo>
                  <a:lnTo>
                    <a:pt x="100" y="244"/>
                  </a:lnTo>
                  <a:lnTo>
                    <a:pt x="91" y="238"/>
                  </a:lnTo>
                  <a:lnTo>
                    <a:pt x="44" y="267"/>
                  </a:lnTo>
                  <a:lnTo>
                    <a:pt x="16" y="260"/>
                  </a:lnTo>
                  <a:lnTo>
                    <a:pt x="10" y="254"/>
                  </a:lnTo>
                  <a:lnTo>
                    <a:pt x="20" y="238"/>
                  </a:lnTo>
                  <a:lnTo>
                    <a:pt x="7" y="240"/>
                  </a:lnTo>
                  <a:lnTo>
                    <a:pt x="11" y="226"/>
                  </a:lnTo>
                  <a:lnTo>
                    <a:pt x="3" y="217"/>
                  </a:lnTo>
                  <a:lnTo>
                    <a:pt x="0" y="200"/>
                  </a:lnTo>
                  <a:lnTo>
                    <a:pt x="6" y="193"/>
                  </a:lnTo>
                  <a:lnTo>
                    <a:pt x="1" y="186"/>
                  </a:lnTo>
                  <a:lnTo>
                    <a:pt x="35" y="164"/>
                  </a:lnTo>
                  <a:lnTo>
                    <a:pt x="51" y="162"/>
                  </a:lnTo>
                  <a:lnTo>
                    <a:pt x="66" y="147"/>
                  </a:lnTo>
                  <a:lnTo>
                    <a:pt x="75" y="152"/>
                  </a:lnTo>
                  <a:lnTo>
                    <a:pt x="117" y="117"/>
                  </a:lnTo>
                  <a:lnTo>
                    <a:pt x="141" y="82"/>
                  </a:lnTo>
                  <a:lnTo>
                    <a:pt x="169" y="57"/>
                  </a:lnTo>
                  <a:lnTo>
                    <a:pt x="127" y="65"/>
                  </a:lnTo>
                  <a:lnTo>
                    <a:pt x="158" y="54"/>
                  </a:lnTo>
                  <a:lnTo>
                    <a:pt x="149" y="49"/>
                  </a:lnTo>
                  <a:lnTo>
                    <a:pt x="175" y="37"/>
                  </a:lnTo>
                  <a:lnTo>
                    <a:pt x="171" y="46"/>
                  </a:lnTo>
                  <a:lnTo>
                    <a:pt x="181" y="42"/>
                  </a:lnTo>
                  <a:lnTo>
                    <a:pt x="182" y="49"/>
                  </a:lnTo>
                  <a:lnTo>
                    <a:pt x="195" y="42"/>
                  </a:lnTo>
                  <a:lnTo>
                    <a:pt x="187" y="40"/>
                  </a:lnTo>
                  <a:lnTo>
                    <a:pt x="187" y="34"/>
                  </a:lnTo>
                  <a:lnTo>
                    <a:pt x="214" y="21"/>
                  </a:lnTo>
                  <a:lnTo>
                    <a:pt x="251" y="18"/>
                  </a:lnTo>
                  <a:lnTo>
                    <a:pt x="275" y="5"/>
                  </a:lnTo>
                  <a:lnTo>
                    <a:pt x="290" y="10"/>
                  </a:lnTo>
                  <a:lnTo>
                    <a:pt x="309" y="0"/>
                  </a:lnTo>
                  <a:lnTo>
                    <a:pt x="309" y="11"/>
                  </a:lnTo>
                  <a:lnTo>
                    <a:pt x="323" y="5"/>
                  </a:lnTo>
                  <a:lnTo>
                    <a:pt x="328" y="14"/>
                  </a:lnTo>
                  <a:lnTo>
                    <a:pt x="340" y="3"/>
                  </a:lnTo>
                  <a:lnTo>
                    <a:pt x="359" y="5"/>
                  </a:lnTo>
                  <a:lnTo>
                    <a:pt x="391" y="15"/>
                  </a:lnTo>
                  <a:lnTo>
                    <a:pt x="357" y="20"/>
                  </a:lnTo>
                  <a:lnTo>
                    <a:pt x="391" y="28"/>
                  </a:lnTo>
                  <a:lnTo>
                    <a:pt x="365" y="42"/>
                  </a:lnTo>
                  <a:lnTo>
                    <a:pt x="364" y="28"/>
                  </a:lnTo>
                  <a:lnTo>
                    <a:pt x="343" y="22"/>
                  </a:lnTo>
                  <a:lnTo>
                    <a:pt x="320" y="26"/>
                  </a:lnTo>
                  <a:lnTo>
                    <a:pt x="315" y="43"/>
                  </a:lnTo>
                  <a:lnTo>
                    <a:pt x="303" y="48"/>
                  </a:lnTo>
                  <a:lnTo>
                    <a:pt x="271" y="46"/>
                  </a:lnTo>
                  <a:lnTo>
                    <a:pt x="249" y="35"/>
                  </a:lnTo>
                  <a:lnTo>
                    <a:pt x="239" y="4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24" name="Freeform 106"/>
            <p:cNvSpPr>
              <a:spLocks noChangeAspect="1"/>
            </p:cNvSpPr>
            <p:nvPr/>
          </p:nvSpPr>
          <p:spPr bwMode="auto">
            <a:xfrm>
              <a:off x="3307" y="933"/>
              <a:ext cx="163" cy="203"/>
            </a:xfrm>
            <a:custGeom>
              <a:avLst/>
              <a:gdLst>
                <a:gd name="T0" fmla="*/ 5 w 181"/>
                <a:gd name="T1" fmla="*/ 20 h 203"/>
                <a:gd name="T2" fmla="*/ 5 w 181"/>
                <a:gd name="T3" fmla="*/ 22 h 203"/>
                <a:gd name="T4" fmla="*/ 5 w 181"/>
                <a:gd name="T5" fmla="*/ 34 h 203"/>
                <a:gd name="T6" fmla="*/ 5 w 181"/>
                <a:gd name="T7" fmla="*/ 45 h 203"/>
                <a:gd name="T8" fmla="*/ 5 w 181"/>
                <a:gd name="T9" fmla="*/ 58 h 203"/>
                <a:gd name="T10" fmla="*/ 5 w 181"/>
                <a:gd name="T11" fmla="*/ 80 h 203"/>
                <a:gd name="T12" fmla="*/ 5 w 181"/>
                <a:gd name="T13" fmla="*/ 100 h 203"/>
                <a:gd name="T14" fmla="*/ 5 w 181"/>
                <a:gd name="T15" fmla="*/ 114 h 203"/>
                <a:gd name="T16" fmla="*/ 5 w 181"/>
                <a:gd name="T17" fmla="*/ 125 h 203"/>
                <a:gd name="T18" fmla="*/ 5 w 181"/>
                <a:gd name="T19" fmla="*/ 146 h 203"/>
                <a:gd name="T20" fmla="*/ 5 w 181"/>
                <a:gd name="T21" fmla="*/ 191 h 203"/>
                <a:gd name="T22" fmla="*/ 5 w 181"/>
                <a:gd name="T23" fmla="*/ 203 h 203"/>
                <a:gd name="T24" fmla="*/ 5 w 181"/>
                <a:gd name="T25" fmla="*/ 188 h 203"/>
                <a:gd name="T26" fmla="*/ 5 w 181"/>
                <a:gd name="T27" fmla="*/ 171 h 203"/>
                <a:gd name="T28" fmla="*/ 5 w 181"/>
                <a:gd name="T29" fmla="*/ 151 h 203"/>
                <a:gd name="T30" fmla="*/ 5 w 181"/>
                <a:gd name="T31" fmla="*/ 140 h 203"/>
                <a:gd name="T32" fmla="*/ 5 w 181"/>
                <a:gd name="T33" fmla="*/ 100 h 203"/>
                <a:gd name="T34" fmla="*/ 5 w 181"/>
                <a:gd name="T35" fmla="*/ 89 h 203"/>
                <a:gd name="T36" fmla="*/ 5 w 181"/>
                <a:gd name="T37" fmla="*/ 83 h 203"/>
                <a:gd name="T38" fmla="*/ 5 w 181"/>
                <a:gd name="T39" fmla="*/ 81 h 203"/>
                <a:gd name="T40" fmla="*/ 5 w 181"/>
                <a:gd name="T41" fmla="*/ 38 h 203"/>
                <a:gd name="T42" fmla="*/ 0 w 181"/>
                <a:gd name="T43" fmla="*/ 18 h 203"/>
                <a:gd name="T44" fmla="*/ 5 w 181"/>
                <a:gd name="T45" fmla="*/ 13 h 203"/>
                <a:gd name="T46" fmla="*/ 5 w 181"/>
                <a:gd name="T47" fmla="*/ 24 h 203"/>
                <a:gd name="T48" fmla="*/ 5 w 181"/>
                <a:gd name="T49" fmla="*/ 26 h 203"/>
                <a:gd name="T50" fmla="*/ 5 w 181"/>
                <a:gd name="T51" fmla="*/ 21 h 203"/>
                <a:gd name="T52" fmla="*/ 5 w 181"/>
                <a:gd name="T53" fmla="*/ 4 h 203"/>
                <a:gd name="T54" fmla="*/ 5 w 181"/>
                <a:gd name="T55" fmla="*/ 0 h 203"/>
                <a:gd name="T56" fmla="*/ 5 w 181"/>
                <a:gd name="T57" fmla="*/ 6 h 203"/>
                <a:gd name="T58" fmla="*/ 5 w 181"/>
                <a:gd name="T59" fmla="*/ 20 h 20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81"/>
                <a:gd name="T91" fmla="*/ 0 h 203"/>
                <a:gd name="T92" fmla="*/ 181 w 181"/>
                <a:gd name="T93" fmla="*/ 203 h 20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81" h="203">
                  <a:moveTo>
                    <a:pt x="126" y="20"/>
                  </a:moveTo>
                  <a:lnTo>
                    <a:pt x="120" y="22"/>
                  </a:lnTo>
                  <a:lnTo>
                    <a:pt x="121" y="34"/>
                  </a:lnTo>
                  <a:lnTo>
                    <a:pt x="143" y="45"/>
                  </a:lnTo>
                  <a:lnTo>
                    <a:pt x="136" y="58"/>
                  </a:lnTo>
                  <a:lnTo>
                    <a:pt x="150" y="80"/>
                  </a:lnTo>
                  <a:lnTo>
                    <a:pt x="148" y="100"/>
                  </a:lnTo>
                  <a:lnTo>
                    <a:pt x="164" y="114"/>
                  </a:lnTo>
                  <a:lnTo>
                    <a:pt x="160" y="125"/>
                  </a:lnTo>
                  <a:lnTo>
                    <a:pt x="181" y="146"/>
                  </a:lnTo>
                  <a:lnTo>
                    <a:pt x="127" y="191"/>
                  </a:lnTo>
                  <a:lnTo>
                    <a:pt x="62" y="203"/>
                  </a:lnTo>
                  <a:lnTo>
                    <a:pt x="26" y="188"/>
                  </a:lnTo>
                  <a:lnTo>
                    <a:pt x="29" y="171"/>
                  </a:lnTo>
                  <a:lnTo>
                    <a:pt x="19" y="151"/>
                  </a:lnTo>
                  <a:lnTo>
                    <a:pt x="26" y="140"/>
                  </a:lnTo>
                  <a:lnTo>
                    <a:pt x="80" y="100"/>
                  </a:lnTo>
                  <a:lnTo>
                    <a:pt x="79" y="89"/>
                  </a:lnTo>
                  <a:lnTo>
                    <a:pt x="66" y="83"/>
                  </a:lnTo>
                  <a:lnTo>
                    <a:pt x="58" y="81"/>
                  </a:lnTo>
                  <a:lnTo>
                    <a:pt x="44" y="38"/>
                  </a:lnTo>
                  <a:lnTo>
                    <a:pt x="0" y="18"/>
                  </a:lnTo>
                  <a:lnTo>
                    <a:pt x="10" y="13"/>
                  </a:lnTo>
                  <a:lnTo>
                    <a:pt x="32" y="24"/>
                  </a:lnTo>
                  <a:lnTo>
                    <a:pt x="64" y="26"/>
                  </a:lnTo>
                  <a:lnTo>
                    <a:pt x="76" y="21"/>
                  </a:lnTo>
                  <a:lnTo>
                    <a:pt x="81" y="4"/>
                  </a:lnTo>
                  <a:lnTo>
                    <a:pt x="104" y="0"/>
                  </a:lnTo>
                  <a:lnTo>
                    <a:pt x="125" y="6"/>
                  </a:lnTo>
                  <a:lnTo>
                    <a:pt x="126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25" name="Freeform 107"/>
            <p:cNvSpPr>
              <a:spLocks noChangeAspect="1"/>
            </p:cNvSpPr>
            <p:nvPr/>
          </p:nvSpPr>
          <p:spPr bwMode="auto">
            <a:xfrm>
              <a:off x="3364" y="1144"/>
              <a:ext cx="64" cy="41"/>
            </a:xfrm>
            <a:custGeom>
              <a:avLst/>
              <a:gdLst>
                <a:gd name="T0" fmla="*/ 4 w 72"/>
                <a:gd name="T1" fmla="*/ 35 h 41"/>
                <a:gd name="T2" fmla="*/ 4 w 72"/>
                <a:gd name="T3" fmla="*/ 28 h 41"/>
                <a:gd name="T4" fmla="*/ 4 w 72"/>
                <a:gd name="T5" fmla="*/ 27 h 41"/>
                <a:gd name="T6" fmla="*/ 0 w 72"/>
                <a:gd name="T7" fmla="*/ 9 h 41"/>
                <a:gd name="T8" fmla="*/ 4 w 72"/>
                <a:gd name="T9" fmla="*/ 0 h 41"/>
                <a:gd name="T10" fmla="*/ 4 w 72"/>
                <a:gd name="T11" fmla="*/ 4 h 41"/>
                <a:gd name="T12" fmla="*/ 4 w 72"/>
                <a:gd name="T13" fmla="*/ 11 h 41"/>
                <a:gd name="T14" fmla="*/ 4 w 72"/>
                <a:gd name="T15" fmla="*/ 16 h 41"/>
                <a:gd name="T16" fmla="*/ 4 w 72"/>
                <a:gd name="T17" fmla="*/ 33 h 41"/>
                <a:gd name="T18" fmla="*/ 4 w 72"/>
                <a:gd name="T19" fmla="*/ 41 h 41"/>
                <a:gd name="T20" fmla="*/ 4 w 72"/>
                <a:gd name="T21" fmla="*/ 33 h 41"/>
                <a:gd name="T22" fmla="*/ 4 w 72"/>
                <a:gd name="T23" fmla="*/ 35 h 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2"/>
                <a:gd name="T37" fmla="*/ 0 h 41"/>
                <a:gd name="T38" fmla="*/ 72 w 72"/>
                <a:gd name="T39" fmla="*/ 41 h 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2" h="41">
                  <a:moveTo>
                    <a:pt x="17" y="35"/>
                  </a:moveTo>
                  <a:lnTo>
                    <a:pt x="16" y="28"/>
                  </a:lnTo>
                  <a:lnTo>
                    <a:pt x="6" y="27"/>
                  </a:lnTo>
                  <a:lnTo>
                    <a:pt x="0" y="9"/>
                  </a:lnTo>
                  <a:lnTo>
                    <a:pt x="39" y="0"/>
                  </a:lnTo>
                  <a:lnTo>
                    <a:pt x="72" y="4"/>
                  </a:lnTo>
                  <a:lnTo>
                    <a:pt x="69" y="11"/>
                  </a:lnTo>
                  <a:lnTo>
                    <a:pt x="56" y="16"/>
                  </a:lnTo>
                  <a:lnTo>
                    <a:pt x="71" y="33"/>
                  </a:lnTo>
                  <a:lnTo>
                    <a:pt x="67" y="41"/>
                  </a:lnTo>
                  <a:lnTo>
                    <a:pt x="29" y="33"/>
                  </a:lnTo>
                  <a:lnTo>
                    <a:pt x="17" y="3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26" name="Freeform 108"/>
            <p:cNvSpPr>
              <a:spLocks noChangeAspect="1"/>
            </p:cNvSpPr>
            <p:nvPr/>
          </p:nvSpPr>
          <p:spPr bwMode="auto">
            <a:xfrm>
              <a:off x="3330" y="1177"/>
              <a:ext cx="109" cy="51"/>
            </a:xfrm>
            <a:custGeom>
              <a:avLst/>
              <a:gdLst>
                <a:gd name="T0" fmla="*/ 0 w 121"/>
                <a:gd name="T1" fmla="*/ 41 h 51"/>
                <a:gd name="T2" fmla="*/ 1 w 121"/>
                <a:gd name="T3" fmla="*/ 28 h 51"/>
                <a:gd name="T4" fmla="*/ 5 w 121"/>
                <a:gd name="T5" fmla="*/ 10 h 51"/>
                <a:gd name="T6" fmla="*/ 5 w 121"/>
                <a:gd name="T7" fmla="*/ 8 h 51"/>
                <a:gd name="T8" fmla="*/ 5 w 121"/>
                <a:gd name="T9" fmla="*/ 22 h 51"/>
                <a:gd name="T10" fmla="*/ 5 w 121"/>
                <a:gd name="T11" fmla="*/ 17 h 51"/>
                <a:gd name="T12" fmla="*/ 5 w 121"/>
                <a:gd name="T13" fmla="*/ 2 h 51"/>
                <a:gd name="T14" fmla="*/ 5 w 121"/>
                <a:gd name="T15" fmla="*/ 0 h 51"/>
                <a:gd name="T16" fmla="*/ 5 w 121"/>
                <a:gd name="T17" fmla="*/ 8 h 51"/>
                <a:gd name="T18" fmla="*/ 5 w 121"/>
                <a:gd name="T19" fmla="*/ 39 h 51"/>
                <a:gd name="T20" fmla="*/ 5 w 121"/>
                <a:gd name="T21" fmla="*/ 51 h 51"/>
                <a:gd name="T22" fmla="*/ 5 w 121"/>
                <a:gd name="T23" fmla="*/ 33 h 51"/>
                <a:gd name="T24" fmla="*/ 5 w 121"/>
                <a:gd name="T25" fmla="*/ 34 h 51"/>
                <a:gd name="T26" fmla="*/ 0 w 121"/>
                <a:gd name="T27" fmla="*/ 41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1"/>
                <a:gd name="T43" fmla="*/ 0 h 51"/>
                <a:gd name="T44" fmla="*/ 121 w 121"/>
                <a:gd name="T45" fmla="*/ 51 h 5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1" h="51">
                  <a:moveTo>
                    <a:pt x="0" y="41"/>
                  </a:moveTo>
                  <a:lnTo>
                    <a:pt x="1" y="28"/>
                  </a:lnTo>
                  <a:lnTo>
                    <a:pt x="10" y="10"/>
                  </a:lnTo>
                  <a:lnTo>
                    <a:pt x="23" y="8"/>
                  </a:lnTo>
                  <a:lnTo>
                    <a:pt x="47" y="22"/>
                  </a:lnTo>
                  <a:lnTo>
                    <a:pt x="55" y="17"/>
                  </a:lnTo>
                  <a:lnTo>
                    <a:pt x="54" y="2"/>
                  </a:lnTo>
                  <a:lnTo>
                    <a:pt x="66" y="0"/>
                  </a:lnTo>
                  <a:lnTo>
                    <a:pt x="104" y="8"/>
                  </a:lnTo>
                  <a:lnTo>
                    <a:pt x="121" y="39"/>
                  </a:lnTo>
                  <a:lnTo>
                    <a:pt x="98" y="51"/>
                  </a:lnTo>
                  <a:lnTo>
                    <a:pt x="64" y="33"/>
                  </a:lnTo>
                  <a:lnTo>
                    <a:pt x="18" y="34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27" name="Freeform 109"/>
            <p:cNvSpPr>
              <a:spLocks noChangeAspect="1"/>
            </p:cNvSpPr>
            <p:nvPr/>
          </p:nvSpPr>
          <p:spPr bwMode="auto">
            <a:xfrm>
              <a:off x="3328" y="1210"/>
              <a:ext cx="91" cy="52"/>
            </a:xfrm>
            <a:custGeom>
              <a:avLst/>
              <a:gdLst>
                <a:gd name="T0" fmla="*/ 5 w 100"/>
                <a:gd name="T1" fmla="*/ 52 h 52"/>
                <a:gd name="T2" fmla="*/ 5 w 100"/>
                <a:gd name="T3" fmla="*/ 45 h 52"/>
                <a:gd name="T4" fmla="*/ 5 w 100"/>
                <a:gd name="T5" fmla="*/ 31 h 52"/>
                <a:gd name="T6" fmla="*/ 0 w 100"/>
                <a:gd name="T7" fmla="*/ 29 h 52"/>
                <a:gd name="T8" fmla="*/ 2 w 100"/>
                <a:gd name="T9" fmla="*/ 8 h 52"/>
                <a:gd name="T10" fmla="*/ 5 w 100"/>
                <a:gd name="T11" fmla="*/ 1 h 52"/>
                <a:gd name="T12" fmla="*/ 5 w 100"/>
                <a:gd name="T13" fmla="*/ 0 h 52"/>
                <a:gd name="T14" fmla="*/ 5 w 100"/>
                <a:gd name="T15" fmla="*/ 18 h 52"/>
                <a:gd name="T16" fmla="*/ 5 w 100"/>
                <a:gd name="T17" fmla="*/ 29 h 52"/>
                <a:gd name="T18" fmla="*/ 5 w 100"/>
                <a:gd name="T19" fmla="*/ 32 h 52"/>
                <a:gd name="T20" fmla="*/ 5 w 100"/>
                <a:gd name="T21" fmla="*/ 49 h 52"/>
                <a:gd name="T22" fmla="*/ 5 w 100"/>
                <a:gd name="T23" fmla="*/ 52 h 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0"/>
                <a:gd name="T37" fmla="*/ 0 h 52"/>
                <a:gd name="T38" fmla="*/ 100 w 100"/>
                <a:gd name="T39" fmla="*/ 52 h 5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0" h="52">
                  <a:moveTo>
                    <a:pt x="48" y="52"/>
                  </a:moveTo>
                  <a:lnTo>
                    <a:pt x="36" y="45"/>
                  </a:lnTo>
                  <a:lnTo>
                    <a:pt x="31" y="31"/>
                  </a:lnTo>
                  <a:lnTo>
                    <a:pt x="0" y="29"/>
                  </a:lnTo>
                  <a:lnTo>
                    <a:pt x="2" y="8"/>
                  </a:lnTo>
                  <a:lnTo>
                    <a:pt x="20" y="1"/>
                  </a:lnTo>
                  <a:lnTo>
                    <a:pt x="66" y="0"/>
                  </a:lnTo>
                  <a:lnTo>
                    <a:pt x="100" y="18"/>
                  </a:lnTo>
                  <a:lnTo>
                    <a:pt x="99" y="29"/>
                  </a:lnTo>
                  <a:lnTo>
                    <a:pt x="85" y="32"/>
                  </a:lnTo>
                  <a:lnTo>
                    <a:pt x="86" y="49"/>
                  </a:lnTo>
                  <a:lnTo>
                    <a:pt x="48" y="5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28" name="Freeform 110"/>
            <p:cNvSpPr>
              <a:spLocks noChangeAspect="1"/>
            </p:cNvSpPr>
            <p:nvPr/>
          </p:nvSpPr>
          <p:spPr bwMode="auto">
            <a:xfrm>
              <a:off x="3136" y="1187"/>
              <a:ext cx="41" cy="58"/>
            </a:xfrm>
            <a:custGeom>
              <a:avLst/>
              <a:gdLst>
                <a:gd name="T0" fmla="*/ 4 w 46"/>
                <a:gd name="T1" fmla="*/ 58 h 58"/>
                <a:gd name="T2" fmla="*/ 4 w 46"/>
                <a:gd name="T3" fmla="*/ 58 h 58"/>
                <a:gd name="T4" fmla="*/ 4 w 46"/>
                <a:gd name="T5" fmla="*/ 58 h 58"/>
                <a:gd name="T6" fmla="*/ 4 w 46"/>
                <a:gd name="T7" fmla="*/ 34 h 58"/>
                <a:gd name="T8" fmla="*/ 4 w 46"/>
                <a:gd name="T9" fmla="*/ 30 h 58"/>
                <a:gd name="T10" fmla="*/ 4 w 46"/>
                <a:gd name="T11" fmla="*/ 23 h 58"/>
                <a:gd name="T12" fmla="*/ 4 w 46"/>
                <a:gd name="T13" fmla="*/ 23 h 58"/>
                <a:gd name="T14" fmla="*/ 4 w 46"/>
                <a:gd name="T15" fmla="*/ 0 h 58"/>
                <a:gd name="T16" fmla="*/ 4 w 46"/>
                <a:gd name="T17" fmla="*/ 11 h 58"/>
                <a:gd name="T18" fmla="*/ 0 w 46"/>
                <a:gd name="T19" fmla="*/ 23 h 58"/>
                <a:gd name="T20" fmla="*/ 1 w 46"/>
                <a:gd name="T21" fmla="*/ 42 h 58"/>
                <a:gd name="T22" fmla="*/ 4 w 46"/>
                <a:gd name="T23" fmla="*/ 48 h 58"/>
                <a:gd name="T24" fmla="*/ 4 w 46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6"/>
                <a:gd name="T40" fmla="*/ 0 h 58"/>
                <a:gd name="T41" fmla="*/ 46 w 46"/>
                <a:gd name="T42" fmla="*/ 58 h 5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6" h="58">
                  <a:moveTo>
                    <a:pt x="12" y="58"/>
                  </a:moveTo>
                  <a:lnTo>
                    <a:pt x="23" y="58"/>
                  </a:lnTo>
                  <a:lnTo>
                    <a:pt x="24" y="58"/>
                  </a:lnTo>
                  <a:lnTo>
                    <a:pt x="34" y="34"/>
                  </a:lnTo>
                  <a:lnTo>
                    <a:pt x="46" y="30"/>
                  </a:lnTo>
                  <a:lnTo>
                    <a:pt x="46" y="23"/>
                  </a:lnTo>
                  <a:lnTo>
                    <a:pt x="36" y="23"/>
                  </a:lnTo>
                  <a:lnTo>
                    <a:pt x="40" y="0"/>
                  </a:lnTo>
                  <a:lnTo>
                    <a:pt x="10" y="11"/>
                  </a:lnTo>
                  <a:lnTo>
                    <a:pt x="0" y="23"/>
                  </a:lnTo>
                  <a:lnTo>
                    <a:pt x="1" y="42"/>
                  </a:lnTo>
                  <a:lnTo>
                    <a:pt x="10" y="48"/>
                  </a:lnTo>
                  <a:lnTo>
                    <a:pt x="12" y="5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29" name="Freeform 111"/>
            <p:cNvSpPr>
              <a:spLocks noChangeAspect="1"/>
            </p:cNvSpPr>
            <p:nvPr/>
          </p:nvSpPr>
          <p:spPr bwMode="auto">
            <a:xfrm>
              <a:off x="3154" y="1375"/>
              <a:ext cx="124" cy="55"/>
            </a:xfrm>
            <a:custGeom>
              <a:avLst/>
              <a:gdLst>
                <a:gd name="T0" fmla="*/ 0 w 138"/>
                <a:gd name="T1" fmla="*/ 33 h 55"/>
                <a:gd name="T2" fmla="*/ 4 w 138"/>
                <a:gd name="T3" fmla="*/ 35 h 55"/>
                <a:gd name="T4" fmla="*/ 4 w 138"/>
                <a:gd name="T5" fmla="*/ 40 h 55"/>
                <a:gd name="T6" fmla="*/ 4 w 138"/>
                <a:gd name="T7" fmla="*/ 45 h 55"/>
                <a:gd name="T8" fmla="*/ 4 w 138"/>
                <a:gd name="T9" fmla="*/ 47 h 55"/>
                <a:gd name="T10" fmla="*/ 4 w 138"/>
                <a:gd name="T11" fmla="*/ 47 h 55"/>
                <a:gd name="T12" fmla="*/ 4 w 138"/>
                <a:gd name="T13" fmla="*/ 42 h 55"/>
                <a:gd name="T14" fmla="*/ 4 w 138"/>
                <a:gd name="T15" fmla="*/ 48 h 55"/>
                <a:gd name="T16" fmla="*/ 4 w 138"/>
                <a:gd name="T17" fmla="*/ 55 h 55"/>
                <a:gd name="T18" fmla="*/ 4 w 138"/>
                <a:gd name="T19" fmla="*/ 46 h 55"/>
                <a:gd name="T20" fmla="*/ 4 w 138"/>
                <a:gd name="T21" fmla="*/ 19 h 55"/>
                <a:gd name="T22" fmla="*/ 4 w 138"/>
                <a:gd name="T23" fmla="*/ 3 h 55"/>
                <a:gd name="T24" fmla="*/ 4 w 138"/>
                <a:gd name="T25" fmla="*/ 0 h 55"/>
                <a:gd name="T26" fmla="*/ 4 w 138"/>
                <a:gd name="T27" fmla="*/ 7 h 55"/>
                <a:gd name="T28" fmla="*/ 4 w 138"/>
                <a:gd name="T29" fmla="*/ 4 h 55"/>
                <a:gd name="T30" fmla="*/ 4 w 138"/>
                <a:gd name="T31" fmla="*/ 19 h 55"/>
                <a:gd name="T32" fmla="*/ 4 w 138"/>
                <a:gd name="T33" fmla="*/ 28 h 55"/>
                <a:gd name="T34" fmla="*/ 0 w 138"/>
                <a:gd name="T35" fmla="*/ 33 h 5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55"/>
                <a:gd name="T56" fmla="*/ 138 w 138"/>
                <a:gd name="T57" fmla="*/ 55 h 5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55">
                  <a:moveTo>
                    <a:pt x="0" y="33"/>
                  </a:moveTo>
                  <a:lnTo>
                    <a:pt x="5" y="35"/>
                  </a:lnTo>
                  <a:lnTo>
                    <a:pt x="8" y="40"/>
                  </a:lnTo>
                  <a:lnTo>
                    <a:pt x="7" y="45"/>
                  </a:lnTo>
                  <a:lnTo>
                    <a:pt x="17" y="47"/>
                  </a:lnTo>
                  <a:lnTo>
                    <a:pt x="19" y="47"/>
                  </a:lnTo>
                  <a:lnTo>
                    <a:pt x="48" y="42"/>
                  </a:lnTo>
                  <a:lnTo>
                    <a:pt x="50" y="48"/>
                  </a:lnTo>
                  <a:lnTo>
                    <a:pt x="76" y="55"/>
                  </a:lnTo>
                  <a:lnTo>
                    <a:pt x="119" y="46"/>
                  </a:lnTo>
                  <a:lnTo>
                    <a:pt x="138" y="19"/>
                  </a:lnTo>
                  <a:lnTo>
                    <a:pt x="130" y="3"/>
                  </a:lnTo>
                  <a:lnTo>
                    <a:pt x="100" y="0"/>
                  </a:lnTo>
                  <a:lnTo>
                    <a:pt x="94" y="7"/>
                  </a:lnTo>
                  <a:lnTo>
                    <a:pt x="77" y="4"/>
                  </a:lnTo>
                  <a:lnTo>
                    <a:pt x="60" y="19"/>
                  </a:lnTo>
                  <a:lnTo>
                    <a:pt x="62" y="28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30" name="Freeform 112"/>
            <p:cNvSpPr>
              <a:spLocks noChangeAspect="1"/>
            </p:cNvSpPr>
            <p:nvPr/>
          </p:nvSpPr>
          <p:spPr bwMode="auto">
            <a:xfrm>
              <a:off x="3099" y="1405"/>
              <a:ext cx="70" cy="39"/>
            </a:xfrm>
            <a:custGeom>
              <a:avLst/>
              <a:gdLst>
                <a:gd name="T0" fmla="*/ 4 w 78"/>
                <a:gd name="T1" fmla="*/ 39 h 39"/>
                <a:gd name="T2" fmla="*/ 4 w 78"/>
                <a:gd name="T3" fmla="*/ 27 h 39"/>
                <a:gd name="T4" fmla="*/ 2 w 78"/>
                <a:gd name="T5" fmla="*/ 32 h 39"/>
                <a:gd name="T6" fmla="*/ 0 w 78"/>
                <a:gd name="T7" fmla="*/ 25 h 39"/>
                <a:gd name="T8" fmla="*/ 4 w 78"/>
                <a:gd name="T9" fmla="*/ 2 h 39"/>
                <a:gd name="T10" fmla="*/ 4 w 78"/>
                <a:gd name="T11" fmla="*/ 0 h 39"/>
                <a:gd name="T12" fmla="*/ 4 w 78"/>
                <a:gd name="T13" fmla="*/ 3 h 39"/>
                <a:gd name="T14" fmla="*/ 4 w 78"/>
                <a:gd name="T15" fmla="*/ 15 h 39"/>
                <a:gd name="T16" fmla="*/ 4 w 78"/>
                <a:gd name="T17" fmla="*/ 17 h 39"/>
                <a:gd name="T18" fmla="*/ 4 w 78"/>
                <a:gd name="T19" fmla="*/ 29 h 39"/>
                <a:gd name="T20" fmla="*/ 4 w 78"/>
                <a:gd name="T21" fmla="*/ 27 h 39"/>
                <a:gd name="T22" fmla="*/ 4 w 78"/>
                <a:gd name="T23" fmla="*/ 36 h 39"/>
                <a:gd name="T24" fmla="*/ 4 w 78"/>
                <a:gd name="T25" fmla="*/ 28 h 39"/>
                <a:gd name="T26" fmla="*/ 4 w 78"/>
                <a:gd name="T27" fmla="*/ 39 h 3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8"/>
                <a:gd name="T43" fmla="*/ 0 h 39"/>
                <a:gd name="T44" fmla="*/ 78 w 78"/>
                <a:gd name="T45" fmla="*/ 39 h 3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8" h="39">
                  <a:moveTo>
                    <a:pt x="17" y="39"/>
                  </a:moveTo>
                  <a:lnTo>
                    <a:pt x="12" y="27"/>
                  </a:lnTo>
                  <a:lnTo>
                    <a:pt x="2" y="32"/>
                  </a:lnTo>
                  <a:lnTo>
                    <a:pt x="0" y="25"/>
                  </a:lnTo>
                  <a:lnTo>
                    <a:pt x="17" y="2"/>
                  </a:lnTo>
                  <a:lnTo>
                    <a:pt x="28" y="0"/>
                  </a:lnTo>
                  <a:lnTo>
                    <a:pt x="61" y="3"/>
                  </a:lnTo>
                  <a:lnTo>
                    <a:pt x="68" y="15"/>
                  </a:lnTo>
                  <a:lnTo>
                    <a:pt x="78" y="17"/>
                  </a:lnTo>
                  <a:lnTo>
                    <a:pt x="72" y="29"/>
                  </a:lnTo>
                  <a:lnTo>
                    <a:pt x="60" y="27"/>
                  </a:lnTo>
                  <a:lnTo>
                    <a:pt x="53" y="36"/>
                  </a:lnTo>
                  <a:lnTo>
                    <a:pt x="43" y="28"/>
                  </a:lnTo>
                  <a:lnTo>
                    <a:pt x="17" y="3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31" name="Freeform 113"/>
            <p:cNvSpPr>
              <a:spLocks noChangeAspect="1"/>
            </p:cNvSpPr>
            <p:nvPr/>
          </p:nvSpPr>
          <p:spPr bwMode="auto">
            <a:xfrm>
              <a:off x="4806" y="860"/>
              <a:ext cx="46" cy="15"/>
            </a:xfrm>
            <a:custGeom>
              <a:avLst/>
              <a:gdLst>
                <a:gd name="T0" fmla="*/ 2 w 51"/>
                <a:gd name="T1" fmla="*/ 8 h 15"/>
                <a:gd name="T2" fmla="*/ 5 w 51"/>
                <a:gd name="T3" fmla="*/ 15 h 15"/>
                <a:gd name="T4" fmla="*/ 5 w 51"/>
                <a:gd name="T5" fmla="*/ 0 h 15"/>
                <a:gd name="T6" fmla="*/ 0 w 51"/>
                <a:gd name="T7" fmla="*/ 2 h 15"/>
                <a:gd name="T8" fmla="*/ 2 w 51"/>
                <a:gd name="T9" fmla="*/ 8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1"/>
                <a:gd name="T16" fmla="*/ 0 h 15"/>
                <a:gd name="T17" fmla="*/ 51 w 51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1" h="15">
                  <a:moveTo>
                    <a:pt x="2" y="8"/>
                  </a:moveTo>
                  <a:lnTo>
                    <a:pt x="51" y="15"/>
                  </a:lnTo>
                  <a:lnTo>
                    <a:pt x="16" y="0"/>
                  </a:lnTo>
                  <a:lnTo>
                    <a:pt x="0" y="2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32" name="Freeform 114"/>
            <p:cNvSpPr>
              <a:spLocks noChangeAspect="1"/>
            </p:cNvSpPr>
            <p:nvPr/>
          </p:nvSpPr>
          <p:spPr bwMode="auto">
            <a:xfrm>
              <a:off x="4786" y="854"/>
              <a:ext cx="16" cy="5"/>
            </a:xfrm>
            <a:custGeom>
              <a:avLst/>
              <a:gdLst>
                <a:gd name="T0" fmla="*/ 0 w 18"/>
                <a:gd name="T1" fmla="*/ 0 h 5"/>
                <a:gd name="T2" fmla="*/ 4 w 18"/>
                <a:gd name="T3" fmla="*/ 5 h 5"/>
                <a:gd name="T4" fmla="*/ 0 w 18"/>
                <a:gd name="T5" fmla="*/ 0 h 5"/>
                <a:gd name="T6" fmla="*/ 0 60000 65536"/>
                <a:gd name="T7" fmla="*/ 0 60000 65536"/>
                <a:gd name="T8" fmla="*/ 0 60000 65536"/>
                <a:gd name="T9" fmla="*/ 0 w 18"/>
                <a:gd name="T10" fmla="*/ 0 h 5"/>
                <a:gd name="T11" fmla="*/ 18 w 18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5">
                  <a:moveTo>
                    <a:pt x="0" y="0"/>
                  </a:moveTo>
                  <a:lnTo>
                    <a:pt x="18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33" name="Freeform 115"/>
            <p:cNvSpPr>
              <a:spLocks noChangeAspect="1"/>
            </p:cNvSpPr>
            <p:nvPr/>
          </p:nvSpPr>
          <p:spPr bwMode="auto">
            <a:xfrm>
              <a:off x="4716" y="820"/>
              <a:ext cx="103" cy="27"/>
            </a:xfrm>
            <a:custGeom>
              <a:avLst/>
              <a:gdLst>
                <a:gd name="T0" fmla="*/ 5 w 114"/>
                <a:gd name="T1" fmla="*/ 16 h 27"/>
                <a:gd name="T2" fmla="*/ 5 w 114"/>
                <a:gd name="T3" fmla="*/ 27 h 27"/>
                <a:gd name="T4" fmla="*/ 5 w 114"/>
                <a:gd name="T5" fmla="*/ 25 h 27"/>
                <a:gd name="T6" fmla="*/ 5 w 114"/>
                <a:gd name="T7" fmla="*/ 14 h 27"/>
                <a:gd name="T8" fmla="*/ 5 w 114"/>
                <a:gd name="T9" fmla="*/ 0 h 27"/>
                <a:gd name="T10" fmla="*/ 5 w 114"/>
                <a:gd name="T11" fmla="*/ 8 h 27"/>
                <a:gd name="T12" fmla="*/ 5 w 114"/>
                <a:gd name="T13" fmla="*/ 0 h 27"/>
                <a:gd name="T14" fmla="*/ 0 w 114"/>
                <a:gd name="T15" fmla="*/ 5 h 27"/>
                <a:gd name="T16" fmla="*/ 5 w 114"/>
                <a:gd name="T17" fmla="*/ 16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4"/>
                <a:gd name="T28" fmla="*/ 0 h 27"/>
                <a:gd name="T29" fmla="*/ 114 w 114"/>
                <a:gd name="T30" fmla="*/ 27 h 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4" h="27">
                  <a:moveTo>
                    <a:pt x="12" y="16"/>
                  </a:moveTo>
                  <a:lnTo>
                    <a:pt x="54" y="27"/>
                  </a:lnTo>
                  <a:lnTo>
                    <a:pt x="99" y="25"/>
                  </a:lnTo>
                  <a:lnTo>
                    <a:pt x="114" y="14"/>
                  </a:lnTo>
                  <a:lnTo>
                    <a:pt x="53" y="0"/>
                  </a:lnTo>
                  <a:lnTo>
                    <a:pt x="51" y="8"/>
                  </a:lnTo>
                  <a:lnTo>
                    <a:pt x="13" y="0"/>
                  </a:lnTo>
                  <a:lnTo>
                    <a:pt x="0" y="5"/>
                  </a:lnTo>
                  <a:lnTo>
                    <a:pt x="12" y="1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34" name="Freeform 116"/>
            <p:cNvSpPr>
              <a:spLocks noChangeAspect="1"/>
            </p:cNvSpPr>
            <p:nvPr/>
          </p:nvSpPr>
          <p:spPr bwMode="auto">
            <a:xfrm>
              <a:off x="4220" y="766"/>
              <a:ext cx="58" cy="24"/>
            </a:xfrm>
            <a:custGeom>
              <a:avLst/>
              <a:gdLst>
                <a:gd name="T0" fmla="*/ 1 w 66"/>
                <a:gd name="T1" fmla="*/ 24 h 24"/>
                <a:gd name="T2" fmla="*/ 4 w 66"/>
                <a:gd name="T3" fmla="*/ 18 h 24"/>
                <a:gd name="T4" fmla="*/ 4 w 66"/>
                <a:gd name="T5" fmla="*/ 9 h 24"/>
                <a:gd name="T6" fmla="*/ 4 w 66"/>
                <a:gd name="T7" fmla="*/ 0 h 24"/>
                <a:gd name="T8" fmla="*/ 0 w 66"/>
                <a:gd name="T9" fmla="*/ 2 h 24"/>
                <a:gd name="T10" fmla="*/ 1 w 66"/>
                <a:gd name="T11" fmla="*/ 24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6"/>
                <a:gd name="T19" fmla="*/ 0 h 24"/>
                <a:gd name="T20" fmla="*/ 66 w 66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6" h="24">
                  <a:moveTo>
                    <a:pt x="1" y="24"/>
                  </a:moveTo>
                  <a:lnTo>
                    <a:pt x="66" y="18"/>
                  </a:lnTo>
                  <a:lnTo>
                    <a:pt x="55" y="9"/>
                  </a:lnTo>
                  <a:lnTo>
                    <a:pt x="9" y="0"/>
                  </a:lnTo>
                  <a:lnTo>
                    <a:pt x="0" y="2"/>
                  </a:lnTo>
                  <a:lnTo>
                    <a:pt x="1" y="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35" name="Freeform 117"/>
            <p:cNvSpPr>
              <a:spLocks noChangeAspect="1"/>
            </p:cNvSpPr>
            <p:nvPr/>
          </p:nvSpPr>
          <p:spPr bwMode="auto">
            <a:xfrm>
              <a:off x="4089" y="738"/>
              <a:ext cx="122" cy="37"/>
            </a:xfrm>
            <a:custGeom>
              <a:avLst/>
              <a:gdLst>
                <a:gd name="T0" fmla="*/ 0 w 133"/>
                <a:gd name="T1" fmla="*/ 17 h 37"/>
                <a:gd name="T2" fmla="*/ 6 w 133"/>
                <a:gd name="T3" fmla="*/ 33 h 37"/>
                <a:gd name="T4" fmla="*/ 6 w 133"/>
                <a:gd name="T5" fmla="*/ 37 h 37"/>
                <a:gd name="T6" fmla="*/ 6 w 133"/>
                <a:gd name="T7" fmla="*/ 30 h 37"/>
                <a:gd name="T8" fmla="*/ 6 w 133"/>
                <a:gd name="T9" fmla="*/ 23 h 37"/>
                <a:gd name="T10" fmla="*/ 6 w 133"/>
                <a:gd name="T11" fmla="*/ 0 h 37"/>
                <a:gd name="T12" fmla="*/ 6 w 133"/>
                <a:gd name="T13" fmla="*/ 5 h 37"/>
                <a:gd name="T14" fmla="*/ 6 w 133"/>
                <a:gd name="T15" fmla="*/ 11 h 37"/>
                <a:gd name="T16" fmla="*/ 0 w 133"/>
                <a:gd name="T17" fmla="*/ 17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3"/>
                <a:gd name="T28" fmla="*/ 0 h 37"/>
                <a:gd name="T29" fmla="*/ 133 w 133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3" h="37">
                  <a:moveTo>
                    <a:pt x="0" y="17"/>
                  </a:moveTo>
                  <a:lnTo>
                    <a:pt x="61" y="33"/>
                  </a:lnTo>
                  <a:lnTo>
                    <a:pt x="133" y="37"/>
                  </a:lnTo>
                  <a:lnTo>
                    <a:pt x="121" y="30"/>
                  </a:lnTo>
                  <a:lnTo>
                    <a:pt x="121" y="23"/>
                  </a:lnTo>
                  <a:lnTo>
                    <a:pt x="35" y="0"/>
                  </a:lnTo>
                  <a:lnTo>
                    <a:pt x="10" y="5"/>
                  </a:lnTo>
                  <a:lnTo>
                    <a:pt x="12" y="11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36" name="Freeform 118"/>
            <p:cNvSpPr>
              <a:spLocks noChangeAspect="1"/>
            </p:cNvSpPr>
            <p:nvPr/>
          </p:nvSpPr>
          <p:spPr bwMode="auto">
            <a:xfrm>
              <a:off x="3700" y="806"/>
              <a:ext cx="176" cy="114"/>
            </a:xfrm>
            <a:custGeom>
              <a:avLst/>
              <a:gdLst>
                <a:gd name="T0" fmla="*/ 3 w 196"/>
                <a:gd name="T1" fmla="*/ 98 h 114"/>
                <a:gd name="T2" fmla="*/ 4 w 196"/>
                <a:gd name="T3" fmla="*/ 111 h 114"/>
                <a:gd name="T4" fmla="*/ 4 w 196"/>
                <a:gd name="T5" fmla="*/ 114 h 114"/>
                <a:gd name="T6" fmla="*/ 4 w 196"/>
                <a:gd name="T7" fmla="*/ 99 h 114"/>
                <a:gd name="T8" fmla="*/ 4 w 196"/>
                <a:gd name="T9" fmla="*/ 81 h 114"/>
                <a:gd name="T10" fmla="*/ 4 w 196"/>
                <a:gd name="T11" fmla="*/ 73 h 114"/>
                <a:gd name="T12" fmla="*/ 4 w 196"/>
                <a:gd name="T13" fmla="*/ 35 h 114"/>
                <a:gd name="T14" fmla="*/ 4 w 196"/>
                <a:gd name="T15" fmla="*/ 12 h 114"/>
                <a:gd name="T16" fmla="*/ 4 w 196"/>
                <a:gd name="T17" fmla="*/ 3 h 114"/>
                <a:gd name="T18" fmla="*/ 4 w 196"/>
                <a:gd name="T19" fmla="*/ 0 h 114"/>
                <a:gd name="T20" fmla="*/ 4 w 196"/>
                <a:gd name="T21" fmla="*/ 11 h 114"/>
                <a:gd name="T22" fmla="*/ 4 w 196"/>
                <a:gd name="T23" fmla="*/ 13 h 114"/>
                <a:gd name="T24" fmla="*/ 4 w 196"/>
                <a:gd name="T25" fmla="*/ 34 h 114"/>
                <a:gd name="T26" fmla="*/ 4 w 196"/>
                <a:gd name="T27" fmla="*/ 49 h 114"/>
                <a:gd name="T28" fmla="*/ 4 w 196"/>
                <a:gd name="T29" fmla="*/ 58 h 114"/>
                <a:gd name="T30" fmla="*/ 4 w 196"/>
                <a:gd name="T31" fmla="*/ 64 h 114"/>
                <a:gd name="T32" fmla="*/ 4 w 196"/>
                <a:gd name="T33" fmla="*/ 77 h 114"/>
                <a:gd name="T34" fmla="*/ 4 w 196"/>
                <a:gd name="T35" fmla="*/ 83 h 114"/>
                <a:gd name="T36" fmla="*/ 0 w 196"/>
                <a:gd name="T37" fmla="*/ 88 h 114"/>
                <a:gd name="T38" fmla="*/ 3 w 196"/>
                <a:gd name="T39" fmla="*/ 98 h 11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6"/>
                <a:gd name="T61" fmla="*/ 0 h 114"/>
                <a:gd name="T62" fmla="*/ 196 w 196"/>
                <a:gd name="T63" fmla="*/ 114 h 11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6" h="114">
                  <a:moveTo>
                    <a:pt x="3" y="98"/>
                  </a:moveTo>
                  <a:lnTo>
                    <a:pt x="40" y="111"/>
                  </a:lnTo>
                  <a:lnTo>
                    <a:pt x="97" y="114"/>
                  </a:lnTo>
                  <a:lnTo>
                    <a:pt x="63" y="99"/>
                  </a:lnTo>
                  <a:lnTo>
                    <a:pt x="52" y="81"/>
                  </a:lnTo>
                  <a:lnTo>
                    <a:pt x="57" y="73"/>
                  </a:lnTo>
                  <a:lnTo>
                    <a:pt x="102" y="35"/>
                  </a:lnTo>
                  <a:lnTo>
                    <a:pt x="196" y="12"/>
                  </a:lnTo>
                  <a:lnTo>
                    <a:pt x="194" y="3"/>
                  </a:lnTo>
                  <a:lnTo>
                    <a:pt x="174" y="0"/>
                  </a:lnTo>
                  <a:lnTo>
                    <a:pt x="147" y="11"/>
                  </a:lnTo>
                  <a:lnTo>
                    <a:pt x="94" y="13"/>
                  </a:lnTo>
                  <a:lnTo>
                    <a:pt x="32" y="34"/>
                  </a:lnTo>
                  <a:lnTo>
                    <a:pt x="29" y="49"/>
                  </a:lnTo>
                  <a:lnTo>
                    <a:pt x="18" y="58"/>
                  </a:lnTo>
                  <a:lnTo>
                    <a:pt x="26" y="64"/>
                  </a:lnTo>
                  <a:lnTo>
                    <a:pt x="7" y="77"/>
                  </a:lnTo>
                  <a:lnTo>
                    <a:pt x="13" y="83"/>
                  </a:lnTo>
                  <a:lnTo>
                    <a:pt x="0" y="88"/>
                  </a:lnTo>
                  <a:lnTo>
                    <a:pt x="3" y="9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37" name="Freeform 119"/>
            <p:cNvSpPr>
              <a:spLocks noChangeAspect="1"/>
            </p:cNvSpPr>
            <p:nvPr/>
          </p:nvSpPr>
          <p:spPr bwMode="auto">
            <a:xfrm>
              <a:off x="3676" y="942"/>
              <a:ext cx="25" cy="15"/>
            </a:xfrm>
            <a:custGeom>
              <a:avLst/>
              <a:gdLst>
                <a:gd name="T0" fmla="*/ 4 w 28"/>
                <a:gd name="T1" fmla="*/ 15 h 15"/>
                <a:gd name="T2" fmla="*/ 4 w 28"/>
                <a:gd name="T3" fmla="*/ 13 h 15"/>
                <a:gd name="T4" fmla="*/ 4 w 28"/>
                <a:gd name="T5" fmla="*/ 6 h 15"/>
                <a:gd name="T6" fmla="*/ 4 w 28"/>
                <a:gd name="T7" fmla="*/ 0 h 15"/>
                <a:gd name="T8" fmla="*/ 0 w 28"/>
                <a:gd name="T9" fmla="*/ 6 h 15"/>
                <a:gd name="T10" fmla="*/ 4 w 28"/>
                <a:gd name="T11" fmla="*/ 15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8"/>
                <a:gd name="T19" fmla="*/ 0 h 15"/>
                <a:gd name="T20" fmla="*/ 28 w 28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8" h="15">
                  <a:moveTo>
                    <a:pt x="7" y="15"/>
                  </a:moveTo>
                  <a:lnTo>
                    <a:pt x="24" y="13"/>
                  </a:lnTo>
                  <a:lnTo>
                    <a:pt x="28" y="6"/>
                  </a:lnTo>
                  <a:lnTo>
                    <a:pt x="9" y="0"/>
                  </a:lnTo>
                  <a:lnTo>
                    <a:pt x="0" y="6"/>
                  </a:lnTo>
                  <a:lnTo>
                    <a:pt x="7" y="1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38" name="Freeform 120"/>
            <p:cNvSpPr>
              <a:spLocks noChangeAspect="1"/>
            </p:cNvSpPr>
            <p:nvPr/>
          </p:nvSpPr>
          <p:spPr bwMode="auto">
            <a:xfrm>
              <a:off x="2907" y="1167"/>
              <a:ext cx="19" cy="20"/>
            </a:xfrm>
            <a:custGeom>
              <a:avLst/>
              <a:gdLst>
                <a:gd name="T0" fmla="*/ 0 w 21"/>
                <a:gd name="T1" fmla="*/ 20 h 20"/>
                <a:gd name="T2" fmla="*/ 5 w 21"/>
                <a:gd name="T3" fmla="*/ 18 h 20"/>
                <a:gd name="T4" fmla="*/ 5 w 21"/>
                <a:gd name="T5" fmla="*/ 0 h 20"/>
                <a:gd name="T6" fmla="*/ 5 w 21"/>
                <a:gd name="T7" fmla="*/ 8 h 20"/>
                <a:gd name="T8" fmla="*/ 0 w 21"/>
                <a:gd name="T9" fmla="*/ 20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0"/>
                <a:gd name="T17" fmla="*/ 21 w 21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0">
                  <a:moveTo>
                    <a:pt x="0" y="20"/>
                  </a:moveTo>
                  <a:lnTo>
                    <a:pt x="9" y="18"/>
                  </a:lnTo>
                  <a:lnTo>
                    <a:pt x="21" y="0"/>
                  </a:lnTo>
                  <a:lnTo>
                    <a:pt x="6" y="8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39" name="Freeform 121"/>
            <p:cNvSpPr>
              <a:spLocks noChangeAspect="1"/>
            </p:cNvSpPr>
            <p:nvPr/>
          </p:nvSpPr>
          <p:spPr bwMode="auto">
            <a:xfrm>
              <a:off x="3341" y="1165"/>
              <a:ext cx="20" cy="11"/>
            </a:xfrm>
            <a:custGeom>
              <a:avLst/>
              <a:gdLst>
                <a:gd name="T0" fmla="*/ 0 w 22"/>
                <a:gd name="T1" fmla="*/ 6 h 11"/>
                <a:gd name="T2" fmla="*/ 5 w 22"/>
                <a:gd name="T3" fmla="*/ 11 h 11"/>
                <a:gd name="T4" fmla="*/ 5 w 22"/>
                <a:gd name="T5" fmla="*/ 2 h 11"/>
                <a:gd name="T6" fmla="*/ 5 w 22"/>
                <a:gd name="T7" fmla="*/ 0 h 11"/>
                <a:gd name="T8" fmla="*/ 0 w 22"/>
                <a:gd name="T9" fmla="*/ 6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1"/>
                <a:gd name="T17" fmla="*/ 22 w 22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1">
                  <a:moveTo>
                    <a:pt x="0" y="6"/>
                  </a:moveTo>
                  <a:lnTo>
                    <a:pt x="6" y="11"/>
                  </a:lnTo>
                  <a:lnTo>
                    <a:pt x="22" y="2"/>
                  </a:lnTo>
                  <a:lnTo>
                    <a:pt x="7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0" name="Freeform 122"/>
            <p:cNvSpPr>
              <a:spLocks noChangeAspect="1"/>
            </p:cNvSpPr>
            <p:nvPr/>
          </p:nvSpPr>
          <p:spPr bwMode="auto">
            <a:xfrm>
              <a:off x="3346" y="1155"/>
              <a:ext cx="11" cy="5"/>
            </a:xfrm>
            <a:custGeom>
              <a:avLst/>
              <a:gdLst>
                <a:gd name="T0" fmla="*/ 0 w 11"/>
                <a:gd name="T1" fmla="*/ 4 h 5"/>
                <a:gd name="T2" fmla="*/ 11 w 11"/>
                <a:gd name="T3" fmla="*/ 5 h 5"/>
                <a:gd name="T4" fmla="*/ 2 w 11"/>
                <a:gd name="T5" fmla="*/ 0 h 5"/>
                <a:gd name="T6" fmla="*/ 0 w 11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5"/>
                <a:gd name="T14" fmla="*/ 11 w 11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5">
                  <a:moveTo>
                    <a:pt x="0" y="4"/>
                  </a:moveTo>
                  <a:lnTo>
                    <a:pt x="11" y="5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1" name="Freeform 123"/>
            <p:cNvSpPr>
              <a:spLocks noChangeAspect="1"/>
            </p:cNvSpPr>
            <p:nvPr/>
          </p:nvSpPr>
          <p:spPr bwMode="auto">
            <a:xfrm>
              <a:off x="2917" y="1165"/>
              <a:ext cx="119" cy="185"/>
            </a:xfrm>
            <a:custGeom>
              <a:avLst/>
              <a:gdLst>
                <a:gd name="T0" fmla="*/ 0 w 133"/>
                <a:gd name="T1" fmla="*/ 185 h 185"/>
                <a:gd name="T2" fmla="*/ 4 w 133"/>
                <a:gd name="T3" fmla="*/ 179 h 185"/>
                <a:gd name="T4" fmla="*/ 4 w 133"/>
                <a:gd name="T5" fmla="*/ 183 h 185"/>
                <a:gd name="T6" fmla="*/ 4 w 133"/>
                <a:gd name="T7" fmla="*/ 174 h 185"/>
                <a:gd name="T8" fmla="*/ 4 w 133"/>
                <a:gd name="T9" fmla="*/ 172 h 185"/>
                <a:gd name="T10" fmla="*/ 4 w 133"/>
                <a:gd name="T11" fmla="*/ 176 h 185"/>
                <a:gd name="T12" fmla="*/ 4 w 133"/>
                <a:gd name="T13" fmla="*/ 168 h 185"/>
                <a:gd name="T14" fmla="*/ 4 w 133"/>
                <a:gd name="T15" fmla="*/ 159 h 185"/>
                <a:gd name="T16" fmla="*/ 4 w 133"/>
                <a:gd name="T17" fmla="*/ 157 h 185"/>
                <a:gd name="T18" fmla="*/ 4 w 133"/>
                <a:gd name="T19" fmla="*/ 133 h 185"/>
                <a:gd name="T20" fmla="*/ 4 w 133"/>
                <a:gd name="T21" fmla="*/ 122 h 185"/>
                <a:gd name="T22" fmla="*/ 4 w 133"/>
                <a:gd name="T23" fmla="*/ 125 h 185"/>
                <a:gd name="T24" fmla="*/ 4 w 133"/>
                <a:gd name="T25" fmla="*/ 119 h 185"/>
                <a:gd name="T26" fmla="*/ 4 w 133"/>
                <a:gd name="T27" fmla="*/ 90 h 185"/>
                <a:gd name="T28" fmla="*/ 4 w 133"/>
                <a:gd name="T29" fmla="*/ 86 h 185"/>
                <a:gd name="T30" fmla="*/ 4 w 133"/>
                <a:gd name="T31" fmla="*/ 59 h 185"/>
                <a:gd name="T32" fmla="*/ 4 w 133"/>
                <a:gd name="T33" fmla="*/ 56 h 185"/>
                <a:gd name="T34" fmla="*/ 4 w 133"/>
                <a:gd name="T35" fmla="*/ 26 h 185"/>
                <a:gd name="T36" fmla="*/ 4 w 133"/>
                <a:gd name="T37" fmla="*/ 20 h 185"/>
                <a:gd name="T38" fmla="*/ 4 w 133"/>
                <a:gd name="T39" fmla="*/ 22 h 185"/>
                <a:gd name="T40" fmla="*/ 4 w 133"/>
                <a:gd name="T41" fmla="*/ 6 h 185"/>
                <a:gd name="T42" fmla="*/ 4 w 133"/>
                <a:gd name="T43" fmla="*/ 0 h 185"/>
                <a:gd name="T44" fmla="*/ 4 w 133"/>
                <a:gd name="T45" fmla="*/ 2 h 185"/>
                <a:gd name="T46" fmla="*/ 4 w 133"/>
                <a:gd name="T47" fmla="*/ 25 h 185"/>
                <a:gd name="T48" fmla="*/ 4 w 133"/>
                <a:gd name="T49" fmla="*/ 30 h 185"/>
                <a:gd name="T50" fmla="*/ 4 w 133"/>
                <a:gd name="T51" fmla="*/ 48 h 185"/>
                <a:gd name="T52" fmla="*/ 4 w 133"/>
                <a:gd name="T53" fmla="*/ 45 h 185"/>
                <a:gd name="T54" fmla="*/ 4 w 133"/>
                <a:gd name="T55" fmla="*/ 54 h 185"/>
                <a:gd name="T56" fmla="*/ 4 w 133"/>
                <a:gd name="T57" fmla="*/ 60 h 185"/>
                <a:gd name="T58" fmla="*/ 4 w 133"/>
                <a:gd name="T59" fmla="*/ 60 h 185"/>
                <a:gd name="T60" fmla="*/ 4 w 133"/>
                <a:gd name="T61" fmla="*/ 68 h 185"/>
                <a:gd name="T62" fmla="*/ 4 w 133"/>
                <a:gd name="T63" fmla="*/ 59 h 185"/>
                <a:gd name="T64" fmla="*/ 4 w 133"/>
                <a:gd name="T65" fmla="*/ 67 h 185"/>
                <a:gd name="T66" fmla="*/ 4 w 133"/>
                <a:gd name="T67" fmla="*/ 79 h 185"/>
                <a:gd name="T68" fmla="*/ 4 w 133"/>
                <a:gd name="T69" fmla="*/ 86 h 185"/>
                <a:gd name="T70" fmla="*/ 4 w 133"/>
                <a:gd name="T71" fmla="*/ 79 h 185"/>
                <a:gd name="T72" fmla="*/ 4 w 133"/>
                <a:gd name="T73" fmla="*/ 88 h 185"/>
                <a:gd name="T74" fmla="*/ 4 w 133"/>
                <a:gd name="T75" fmla="*/ 96 h 185"/>
                <a:gd name="T76" fmla="*/ 4 w 133"/>
                <a:gd name="T77" fmla="*/ 114 h 185"/>
                <a:gd name="T78" fmla="*/ 4 w 133"/>
                <a:gd name="T79" fmla="*/ 114 h 185"/>
                <a:gd name="T80" fmla="*/ 4 w 133"/>
                <a:gd name="T81" fmla="*/ 126 h 185"/>
                <a:gd name="T82" fmla="*/ 4 w 133"/>
                <a:gd name="T83" fmla="*/ 126 h 185"/>
                <a:gd name="T84" fmla="*/ 4 w 133"/>
                <a:gd name="T85" fmla="*/ 137 h 185"/>
                <a:gd name="T86" fmla="*/ 4 w 133"/>
                <a:gd name="T87" fmla="*/ 147 h 185"/>
                <a:gd name="T88" fmla="*/ 4 w 133"/>
                <a:gd name="T89" fmla="*/ 151 h 185"/>
                <a:gd name="T90" fmla="*/ 4 w 133"/>
                <a:gd name="T91" fmla="*/ 157 h 185"/>
                <a:gd name="T92" fmla="*/ 4 w 133"/>
                <a:gd name="T93" fmla="*/ 151 h 185"/>
                <a:gd name="T94" fmla="*/ 4 w 133"/>
                <a:gd name="T95" fmla="*/ 161 h 185"/>
                <a:gd name="T96" fmla="*/ 4 w 133"/>
                <a:gd name="T97" fmla="*/ 161 h 185"/>
                <a:gd name="T98" fmla="*/ 0 w 133"/>
                <a:gd name="T99" fmla="*/ 185 h 1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3"/>
                <a:gd name="T151" fmla="*/ 0 h 185"/>
                <a:gd name="T152" fmla="*/ 133 w 133"/>
                <a:gd name="T153" fmla="*/ 185 h 1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3" h="185">
                  <a:moveTo>
                    <a:pt x="0" y="185"/>
                  </a:moveTo>
                  <a:lnTo>
                    <a:pt x="21" y="179"/>
                  </a:lnTo>
                  <a:lnTo>
                    <a:pt x="34" y="183"/>
                  </a:lnTo>
                  <a:lnTo>
                    <a:pt x="39" y="174"/>
                  </a:lnTo>
                  <a:lnTo>
                    <a:pt x="50" y="172"/>
                  </a:lnTo>
                  <a:lnTo>
                    <a:pt x="63" y="176"/>
                  </a:lnTo>
                  <a:lnTo>
                    <a:pt x="116" y="168"/>
                  </a:lnTo>
                  <a:lnTo>
                    <a:pt x="125" y="159"/>
                  </a:lnTo>
                  <a:lnTo>
                    <a:pt x="110" y="157"/>
                  </a:lnTo>
                  <a:lnTo>
                    <a:pt x="133" y="133"/>
                  </a:lnTo>
                  <a:lnTo>
                    <a:pt x="120" y="122"/>
                  </a:lnTo>
                  <a:lnTo>
                    <a:pt x="103" y="125"/>
                  </a:lnTo>
                  <a:lnTo>
                    <a:pt x="109" y="119"/>
                  </a:lnTo>
                  <a:lnTo>
                    <a:pt x="97" y="90"/>
                  </a:lnTo>
                  <a:lnTo>
                    <a:pt x="85" y="86"/>
                  </a:lnTo>
                  <a:lnTo>
                    <a:pt x="74" y="59"/>
                  </a:lnTo>
                  <a:lnTo>
                    <a:pt x="52" y="56"/>
                  </a:lnTo>
                  <a:lnTo>
                    <a:pt x="79" y="26"/>
                  </a:lnTo>
                  <a:lnTo>
                    <a:pt x="79" y="20"/>
                  </a:lnTo>
                  <a:lnTo>
                    <a:pt x="41" y="22"/>
                  </a:lnTo>
                  <a:lnTo>
                    <a:pt x="62" y="6"/>
                  </a:lnTo>
                  <a:lnTo>
                    <a:pt x="59" y="0"/>
                  </a:lnTo>
                  <a:lnTo>
                    <a:pt x="29" y="2"/>
                  </a:lnTo>
                  <a:lnTo>
                    <a:pt x="13" y="25"/>
                  </a:lnTo>
                  <a:lnTo>
                    <a:pt x="17" y="30"/>
                  </a:lnTo>
                  <a:lnTo>
                    <a:pt x="7" y="48"/>
                  </a:lnTo>
                  <a:lnTo>
                    <a:pt x="18" y="45"/>
                  </a:lnTo>
                  <a:lnTo>
                    <a:pt x="16" y="54"/>
                  </a:lnTo>
                  <a:lnTo>
                    <a:pt x="4" y="60"/>
                  </a:lnTo>
                  <a:lnTo>
                    <a:pt x="13" y="60"/>
                  </a:lnTo>
                  <a:lnTo>
                    <a:pt x="12" y="68"/>
                  </a:lnTo>
                  <a:lnTo>
                    <a:pt x="22" y="59"/>
                  </a:lnTo>
                  <a:lnTo>
                    <a:pt x="28" y="67"/>
                  </a:lnTo>
                  <a:lnTo>
                    <a:pt x="19" y="79"/>
                  </a:lnTo>
                  <a:lnTo>
                    <a:pt x="24" y="86"/>
                  </a:lnTo>
                  <a:lnTo>
                    <a:pt x="51" y="79"/>
                  </a:lnTo>
                  <a:lnTo>
                    <a:pt x="45" y="88"/>
                  </a:lnTo>
                  <a:lnTo>
                    <a:pt x="59" y="96"/>
                  </a:lnTo>
                  <a:lnTo>
                    <a:pt x="52" y="114"/>
                  </a:lnTo>
                  <a:lnTo>
                    <a:pt x="27" y="114"/>
                  </a:lnTo>
                  <a:lnTo>
                    <a:pt x="22" y="126"/>
                  </a:lnTo>
                  <a:lnTo>
                    <a:pt x="33" y="126"/>
                  </a:lnTo>
                  <a:lnTo>
                    <a:pt x="32" y="137"/>
                  </a:lnTo>
                  <a:lnTo>
                    <a:pt x="11" y="147"/>
                  </a:lnTo>
                  <a:lnTo>
                    <a:pt x="15" y="151"/>
                  </a:lnTo>
                  <a:lnTo>
                    <a:pt x="43" y="157"/>
                  </a:lnTo>
                  <a:lnTo>
                    <a:pt x="55" y="151"/>
                  </a:lnTo>
                  <a:lnTo>
                    <a:pt x="47" y="161"/>
                  </a:lnTo>
                  <a:lnTo>
                    <a:pt x="29" y="161"/>
                  </a:lnTo>
                  <a:lnTo>
                    <a:pt x="0" y="18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2" name="Freeform 124"/>
            <p:cNvSpPr>
              <a:spLocks noChangeAspect="1"/>
            </p:cNvSpPr>
            <p:nvPr/>
          </p:nvSpPr>
          <p:spPr bwMode="auto">
            <a:xfrm>
              <a:off x="3166" y="1229"/>
              <a:ext cx="9" cy="12"/>
            </a:xfrm>
            <a:custGeom>
              <a:avLst/>
              <a:gdLst>
                <a:gd name="T0" fmla="*/ 0 w 11"/>
                <a:gd name="T1" fmla="*/ 3 h 12"/>
                <a:gd name="T2" fmla="*/ 0 w 11"/>
                <a:gd name="T3" fmla="*/ 12 h 12"/>
                <a:gd name="T4" fmla="*/ 2 w 11"/>
                <a:gd name="T5" fmla="*/ 12 h 12"/>
                <a:gd name="T6" fmla="*/ 2 w 11"/>
                <a:gd name="T7" fmla="*/ 0 h 12"/>
                <a:gd name="T8" fmla="*/ 0 w 11"/>
                <a:gd name="T9" fmla="*/ 3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2"/>
                <a:gd name="T17" fmla="*/ 11 w 11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2">
                  <a:moveTo>
                    <a:pt x="0" y="3"/>
                  </a:moveTo>
                  <a:lnTo>
                    <a:pt x="0" y="12"/>
                  </a:lnTo>
                  <a:lnTo>
                    <a:pt x="11" y="12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3" name="Freeform 125"/>
            <p:cNvSpPr>
              <a:spLocks noChangeAspect="1"/>
            </p:cNvSpPr>
            <p:nvPr/>
          </p:nvSpPr>
          <p:spPr bwMode="auto">
            <a:xfrm>
              <a:off x="3181" y="1218"/>
              <a:ext cx="24" cy="21"/>
            </a:xfrm>
            <a:custGeom>
              <a:avLst/>
              <a:gdLst>
                <a:gd name="T0" fmla="*/ 0 w 25"/>
                <a:gd name="T1" fmla="*/ 9 h 21"/>
                <a:gd name="T2" fmla="*/ 3 w 25"/>
                <a:gd name="T3" fmla="*/ 20 h 21"/>
                <a:gd name="T4" fmla="*/ 12 w 25"/>
                <a:gd name="T5" fmla="*/ 21 h 21"/>
                <a:gd name="T6" fmla="*/ 12 w 25"/>
                <a:gd name="T7" fmla="*/ 18 h 21"/>
                <a:gd name="T8" fmla="*/ 12 w 25"/>
                <a:gd name="T9" fmla="*/ 14 h 21"/>
                <a:gd name="T10" fmla="*/ 12 w 25"/>
                <a:gd name="T11" fmla="*/ 9 h 21"/>
                <a:gd name="T12" fmla="*/ 12 w 25"/>
                <a:gd name="T13" fmla="*/ 0 h 21"/>
                <a:gd name="T14" fmla="*/ 0 w 25"/>
                <a:gd name="T15" fmla="*/ 9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5"/>
                <a:gd name="T25" fmla="*/ 0 h 21"/>
                <a:gd name="T26" fmla="*/ 25 w 25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5" h="21">
                  <a:moveTo>
                    <a:pt x="0" y="9"/>
                  </a:moveTo>
                  <a:lnTo>
                    <a:pt x="3" y="20"/>
                  </a:lnTo>
                  <a:lnTo>
                    <a:pt x="13" y="21"/>
                  </a:lnTo>
                  <a:lnTo>
                    <a:pt x="23" y="18"/>
                  </a:lnTo>
                  <a:lnTo>
                    <a:pt x="18" y="14"/>
                  </a:lnTo>
                  <a:lnTo>
                    <a:pt x="25" y="9"/>
                  </a:lnTo>
                  <a:lnTo>
                    <a:pt x="23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4" name="Freeform 126"/>
            <p:cNvSpPr>
              <a:spLocks noChangeAspect="1"/>
            </p:cNvSpPr>
            <p:nvPr/>
          </p:nvSpPr>
          <p:spPr bwMode="auto">
            <a:xfrm>
              <a:off x="3179" y="1246"/>
              <a:ext cx="17" cy="5"/>
            </a:xfrm>
            <a:custGeom>
              <a:avLst/>
              <a:gdLst>
                <a:gd name="T0" fmla="*/ 0 w 19"/>
                <a:gd name="T1" fmla="*/ 0 h 5"/>
                <a:gd name="T2" fmla="*/ 4 w 19"/>
                <a:gd name="T3" fmla="*/ 5 h 5"/>
                <a:gd name="T4" fmla="*/ 4 w 19"/>
                <a:gd name="T5" fmla="*/ 0 h 5"/>
                <a:gd name="T6" fmla="*/ 0 w 19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5"/>
                <a:gd name="T14" fmla="*/ 19 w 19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5">
                  <a:moveTo>
                    <a:pt x="0" y="0"/>
                  </a:moveTo>
                  <a:lnTo>
                    <a:pt x="6" y="5"/>
                  </a:lnTo>
                  <a:lnTo>
                    <a:pt x="1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5" name="Freeform 127"/>
            <p:cNvSpPr>
              <a:spLocks noChangeAspect="1"/>
            </p:cNvSpPr>
            <p:nvPr/>
          </p:nvSpPr>
          <p:spPr bwMode="auto">
            <a:xfrm>
              <a:off x="2846" y="1240"/>
              <a:ext cx="71" cy="79"/>
            </a:xfrm>
            <a:custGeom>
              <a:avLst/>
              <a:gdLst>
                <a:gd name="T0" fmla="*/ 5 w 78"/>
                <a:gd name="T1" fmla="*/ 13 h 79"/>
                <a:gd name="T2" fmla="*/ 5 w 78"/>
                <a:gd name="T3" fmla="*/ 22 h 79"/>
                <a:gd name="T4" fmla="*/ 5 w 78"/>
                <a:gd name="T5" fmla="*/ 16 h 79"/>
                <a:gd name="T6" fmla="*/ 5 w 78"/>
                <a:gd name="T7" fmla="*/ 24 h 79"/>
                <a:gd name="T8" fmla="*/ 5 w 78"/>
                <a:gd name="T9" fmla="*/ 46 h 79"/>
                <a:gd name="T10" fmla="*/ 5 w 78"/>
                <a:gd name="T11" fmla="*/ 64 h 79"/>
                <a:gd name="T12" fmla="*/ 5 w 78"/>
                <a:gd name="T13" fmla="*/ 79 h 79"/>
                <a:gd name="T14" fmla="*/ 0 w 78"/>
                <a:gd name="T15" fmla="*/ 64 h 79"/>
                <a:gd name="T16" fmla="*/ 5 w 78"/>
                <a:gd name="T17" fmla="*/ 64 h 79"/>
                <a:gd name="T18" fmla="*/ 5 w 78"/>
                <a:gd name="T19" fmla="*/ 42 h 79"/>
                <a:gd name="T20" fmla="*/ 5 w 78"/>
                <a:gd name="T21" fmla="*/ 35 h 79"/>
                <a:gd name="T22" fmla="*/ 5 w 78"/>
                <a:gd name="T23" fmla="*/ 29 h 79"/>
                <a:gd name="T24" fmla="*/ 5 w 78"/>
                <a:gd name="T25" fmla="*/ 25 h 79"/>
                <a:gd name="T26" fmla="*/ 5 w 78"/>
                <a:gd name="T27" fmla="*/ 18 h 79"/>
                <a:gd name="T28" fmla="*/ 5 w 78"/>
                <a:gd name="T29" fmla="*/ 18 h 79"/>
                <a:gd name="T30" fmla="*/ 5 w 78"/>
                <a:gd name="T31" fmla="*/ 13 h 79"/>
                <a:gd name="T32" fmla="*/ 5 w 78"/>
                <a:gd name="T33" fmla="*/ 10 h 79"/>
                <a:gd name="T34" fmla="*/ 5 w 78"/>
                <a:gd name="T35" fmla="*/ 0 h 79"/>
                <a:gd name="T36" fmla="*/ 5 w 78"/>
                <a:gd name="T37" fmla="*/ 0 h 79"/>
                <a:gd name="T38" fmla="*/ 5 w 78"/>
                <a:gd name="T39" fmla="*/ 13 h 7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8"/>
                <a:gd name="T61" fmla="*/ 0 h 79"/>
                <a:gd name="T62" fmla="*/ 78 w 78"/>
                <a:gd name="T63" fmla="*/ 79 h 7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8" h="79">
                  <a:moveTo>
                    <a:pt x="48" y="13"/>
                  </a:moveTo>
                  <a:lnTo>
                    <a:pt x="57" y="22"/>
                  </a:lnTo>
                  <a:lnTo>
                    <a:pt x="76" y="16"/>
                  </a:lnTo>
                  <a:lnTo>
                    <a:pt x="78" y="24"/>
                  </a:lnTo>
                  <a:lnTo>
                    <a:pt x="78" y="46"/>
                  </a:lnTo>
                  <a:lnTo>
                    <a:pt x="70" y="64"/>
                  </a:lnTo>
                  <a:lnTo>
                    <a:pt x="11" y="79"/>
                  </a:lnTo>
                  <a:lnTo>
                    <a:pt x="0" y="64"/>
                  </a:lnTo>
                  <a:lnTo>
                    <a:pt x="11" y="64"/>
                  </a:lnTo>
                  <a:lnTo>
                    <a:pt x="27" y="42"/>
                  </a:lnTo>
                  <a:lnTo>
                    <a:pt x="10" y="35"/>
                  </a:lnTo>
                  <a:lnTo>
                    <a:pt x="20" y="29"/>
                  </a:lnTo>
                  <a:lnTo>
                    <a:pt x="11" y="25"/>
                  </a:lnTo>
                  <a:lnTo>
                    <a:pt x="16" y="18"/>
                  </a:lnTo>
                  <a:lnTo>
                    <a:pt x="38" y="18"/>
                  </a:lnTo>
                  <a:lnTo>
                    <a:pt x="44" y="13"/>
                  </a:lnTo>
                  <a:lnTo>
                    <a:pt x="37" y="10"/>
                  </a:lnTo>
                  <a:lnTo>
                    <a:pt x="44" y="0"/>
                  </a:lnTo>
                  <a:lnTo>
                    <a:pt x="56" y="0"/>
                  </a:lnTo>
                  <a:lnTo>
                    <a:pt x="48" y="1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6" name="Freeform 128"/>
            <p:cNvSpPr>
              <a:spLocks noChangeAspect="1"/>
            </p:cNvSpPr>
            <p:nvPr/>
          </p:nvSpPr>
          <p:spPr bwMode="auto">
            <a:xfrm>
              <a:off x="3063" y="1272"/>
              <a:ext cx="59" cy="63"/>
            </a:xfrm>
            <a:custGeom>
              <a:avLst/>
              <a:gdLst>
                <a:gd name="T0" fmla="*/ 0 w 65"/>
                <a:gd name="T1" fmla="*/ 48 h 63"/>
                <a:gd name="T2" fmla="*/ 5 w 65"/>
                <a:gd name="T3" fmla="*/ 18 h 63"/>
                <a:gd name="T4" fmla="*/ 5 w 65"/>
                <a:gd name="T5" fmla="*/ 15 h 63"/>
                <a:gd name="T6" fmla="*/ 5 w 65"/>
                <a:gd name="T7" fmla="*/ 26 h 63"/>
                <a:gd name="T8" fmla="*/ 5 w 65"/>
                <a:gd name="T9" fmla="*/ 30 h 63"/>
                <a:gd name="T10" fmla="*/ 5 w 65"/>
                <a:gd name="T11" fmla="*/ 25 h 63"/>
                <a:gd name="T12" fmla="*/ 5 w 65"/>
                <a:gd name="T13" fmla="*/ 8 h 63"/>
                <a:gd name="T14" fmla="*/ 5 w 65"/>
                <a:gd name="T15" fmla="*/ 0 h 63"/>
                <a:gd name="T16" fmla="*/ 5 w 65"/>
                <a:gd name="T17" fmla="*/ 24 h 63"/>
                <a:gd name="T18" fmla="*/ 5 w 65"/>
                <a:gd name="T19" fmla="*/ 29 h 63"/>
                <a:gd name="T20" fmla="*/ 5 w 65"/>
                <a:gd name="T21" fmla="*/ 40 h 63"/>
                <a:gd name="T22" fmla="*/ 5 w 65"/>
                <a:gd name="T23" fmla="*/ 63 h 63"/>
                <a:gd name="T24" fmla="*/ 5 w 65"/>
                <a:gd name="T25" fmla="*/ 49 h 63"/>
                <a:gd name="T26" fmla="*/ 1 w 65"/>
                <a:gd name="T27" fmla="*/ 48 h 63"/>
                <a:gd name="T28" fmla="*/ 0 w 65"/>
                <a:gd name="T29" fmla="*/ 48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5"/>
                <a:gd name="T46" fmla="*/ 0 h 63"/>
                <a:gd name="T47" fmla="*/ 65 w 65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5" h="63">
                  <a:moveTo>
                    <a:pt x="0" y="48"/>
                  </a:moveTo>
                  <a:lnTo>
                    <a:pt x="20" y="18"/>
                  </a:lnTo>
                  <a:lnTo>
                    <a:pt x="26" y="15"/>
                  </a:lnTo>
                  <a:lnTo>
                    <a:pt x="26" y="26"/>
                  </a:lnTo>
                  <a:lnTo>
                    <a:pt x="34" y="30"/>
                  </a:lnTo>
                  <a:lnTo>
                    <a:pt x="41" y="25"/>
                  </a:lnTo>
                  <a:lnTo>
                    <a:pt x="34" y="8"/>
                  </a:lnTo>
                  <a:lnTo>
                    <a:pt x="65" y="0"/>
                  </a:lnTo>
                  <a:lnTo>
                    <a:pt x="53" y="24"/>
                  </a:lnTo>
                  <a:lnTo>
                    <a:pt x="59" y="29"/>
                  </a:lnTo>
                  <a:lnTo>
                    <a:pt x="41" y="40"/>
                  </a:lnTo>
                  <a:lnTo>
                    <a:pt x="41" y="63"/>
                  </a:lnTo>
                  <a:lnTo>
                    <a:pt x="26" y="49"/>
                  </a:lnTo>
                  <a:lnTo>
                    <a:pt x="1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7" name="Freeform 129"/>
            <p:cNvSpPr>
              <a:spLocks noChangeAspect="1"/>
            </p:cNvSpPr>
            <p:nvPr/>
          </p:nvSpPr>
          <p:spPr bwMode="auto">
            <a:xfrm>
              <a:off x="3195" y="1326"/>
              <a:ext cx="89" cy="56"/>
            </a:xfrm>
            <a:custGeom>
              <a:avLst/>
              <a:gdLst>
                <a:gd name="T0" fmla="*/ 22 w 91"/>
                <a:gd name="T1" fmla="*/ 6 h 56"/>
                <a:gd name="T2" fmla="*/ 22 w 91"/>
                <a:gd name="T3" fmla="*/ 0 h 56"/>
                <a:gd name="T4" fmla="*/ 0 w 91"/>
                <a:gd name="T5" fmla="*/ 18 h 56"/>
                <a:gd name="T6" fmla="*/ 9 w 91"/>
                <a:gd name="T7" fmla="*/ 37 h 56"/>
                <a:gd name="T8" fmla="*/ 22 w 91"/>
                <a:gd name="T9" fmla="*/ 53 h 56"/>
                <a:gd name="T10" fmla="*/ 22 w 91"/>
                <a:gd name="T11" fmla="*/ 56 h 56"/>
                <a:gd name="T12" fmla="*/ 22 w 91"/>
                <a:gd name="T13" fmla="*/ 49 h 56"/>
                <a:gd name="T14" fmla="*/ 22 w 91"/>
                <a:gd name="T15" fmla="*/ 52 h 56"/>
                <a:gd name="T16" fmla="*/ 22 w 91"/>
                <a:gd name="T17" fmla="*/ 20 h 56"/>
                <a:gd name="T18" fmla="*/ 22 w 91"/>
                <a:gd name="T19" fmla="*/ 16 h 56"/>
                <a:gd name="T20" fmla="*/ 22 w 91"/>
                <a:gd name="T21" fmla="*/ 22 h 56"/>
                <a:gd name="T22" fmla="*/ 22 w 91"/>
                <a:gd name="T23" fmla="*/ 7 h 56"/>
                <a:gd name="T24" fmla="*/ 22 w 91"/>
                <a:gd name="T25" fmla="*/ 6 h 5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1"/>
                <a:gd name="T40" fmla="*/ 0 h 56"/>
                <a:gd name="T41" fmla="*/ 91 w 91"/>
                <a:gd name="T42" fmla="*/ 56 h 5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1" h="56">
                  <a:moveTo>
                    <a:pt x="44" y="6"/>
                  </a:moveTo>
                  <a:lnTo>
                    <a:pt x="37" y="0"/>
                  </a:lnTo>
                  <a:lnTo>
                    <a:pt x="0" y="18"/>
                  </a:lnTo>
                  <a:lnTo>
                    <a:pt x="9" y="37"/>
                  </a:lnTo>
                  <a:lnTo>
                    <a:pt x="29" y="53"/>
                  </a:lnTo>
                  <a:lnTo>
                    <a:pt x="45" y="56"/>
                  </a:lnTo>
                  <a:lnTo>
                    <a:pt x="51" y="49"/>
                  </a:lnTo>
                  <a:lnTo>
                    <a:pt x="78" y="52"/>
                  </a:lnTo>
                  <a:lnTo>
                    <a:pt x="91" y="20"/>
                  </a:lnTo>
                  <a:lnTo>
                    <a:pt x="79" y="16"/>
                  </a:lnTo>
                  <a:lnTo>
                    <a:pt x="77" y="22"/>
                  </a:lnTo>
                  <a:lnTo>
                    <a:pt x="61" y="7"/>
                  </a:lnTo>
                  <a:lnTo>
                    <a:pt x="44" y="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8" name="Freeform 130"/>
            <p:cNvSpPr>
              <a:spLocks noChangeAspect="1"/>
            </p:cNvSpPr>
            <p:nvPr/>
          </p:nvSpPr>
          <p:spPr bwMode="auto">
            <a:xfrm>
              <a:off x="3270" y="1346"/>
              <a:ext cx="91" cy="55"/>
            </a:xfrm>
            <a:custGeom>
              <a:avLst/>
              <a:gdLst>
                <a:gd name="T0" fmla="*/ 0 w 92"/>
                <a:gd name="T1" fmla="*/ 32 h 55"/>
                <a:gd name="T2" fmla="*/ 7 w 92"/>
                <a:gd name="T3" fmla="*/ 48 h 55"/>
                <a:gd name="T4" fmla="*/ 26 w 92"/>
                <a:gd name="T5" fmla="*/ 55 h 55"/>
                <a:gd name="T6" fmla="*/ 46 w 92"/>
                <a:gd name="T7" fmla="*/ 38 h 55"/>
                <a:gd name="T8" fmla="*/ 46 w 92"/>
                <a:gd name="T9" fmla="*/ 41 h 55"/>
                <a:gd name="T10" fmla="*/ 46 w 92"/>
                <a:gd name="T11" fmla="*/ 25 h 55"/>
                <a:gd name="T12" fmla="*/ 46 w 92"/>
                <a:gd name="T13" fmla="*/ 18 h 55"/>
                <a:gd name="T14" fmla="*/ 46 w 92"/>
                <a:gd name="T15" fmla="*/ 23 h 55"/>
                <a:gd name="T16" fmla="*/ 13 w 92"/>
                <a:gd name="T17" fmla="*/ 0 h 55"/>
                <a:gd name="T18" fmla="*/ 0 w 92"/>
                <a:gd name="T19" fmla="*/ 32 h 5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2"/>
                <a:gd name="T31" fmla="*/ 0 h 55"/>
                <a:gd name="T32" fmla="*/ 92 w 92"/>
                <a:gd name="T33" fmla="*/ 55 h 5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2" h="55">
                  <a:moveTo>
                    <a:pt x="0" y="32"/>
                  </a:moveTo>
                  <a:lnTo>
                    <a:pt x="7" y="48"/>
                  </a:lnTo>
                  <a:lnTo>
                    <a:pt x="26" y="55"/>
                  </a:lnTo>
                  <a:lnTo>
                    <a:pt x="65" y="38"/>
                  </a:lnTo>
                  <a:lnTo>
                    <a:pt x="87" y="41"/>
                  </a:lnTo>
                  <a:lnTo>
                    <a:pt x="92" y="25"/>
                  </a:lnTo>
                  <a:lnTo>
                    <a:pt x="76" y="18"/>
                  </a:lnTo>
                  <a:lnTo>
                    <a:pt x="52" y="23"/>
                  </a:lnTo>
                  <a:lnTo>
                    <a:pt x="13" y="0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9" name="Freeform 131"/>
            <p:cNvSpPr>
              <a:spLocks noChangeAspect="1"/>
            </p:cNvSpPr>
            <p:nvPr/>
          </p:nvSpPr>
          <p:spPr bwMode="auto">
            <a:xfrm>
              <a:off x="2835" y="1535"/>
              <a:ext cx="59" cy="110"/>
            </a:xfrm>
            <a:custGeom>
              <a:avLst/>
              <a:gdLst>
                <a:gd name="T0" fmla="*/ 4 w 66"/>
                <a:gd name="T1" fmla="*/ 83 h 110"/>
                <a:gd name="T2" fmla="*/ 4 w 66"/>
                <a:gd name="T3" fmla="*/ 52 h 110"/>
                <a:gd name="T4" fmla="*/ 4 w 66"/>
                <a:gd name="T5" fmla="*/ 42 h 110"/>
                <a:gd name="T6" fmla="*/ 4 w 66"/>
                <a:gd name="T7" fmla="*/ 24 h 110"/>
                <a:gd name="T8" fmla="*/ 4 w 66"/>
                <a:gd name="T9" fmla="*/ 9 h 110"/>
                <a:gd name="T10" fmla="*/ 4 w 66"/>
                <a:gd name="T11" fmla="*/ 1 h 110"/>
                <a:gd name="T12" fmla="*/ 4 w 66"/>
                <a:gd name="T13" fmla="*/ 0 h 110"/>
                <a:gd name="T14" fmla="*/ 4 w 66"/>
                <a:gd name="T15" fmla="*/ 17 h 110"/>
                <a:gd name="T16" fmla="*/ 0 w 66"/>
                <a:gd name="T17" fmla="*/ 70 h 110"/>
                <a:gd name="T18" fmla="*/ 4 w 66"/>
                <a:gd name="T19" fmla="*/ 78 h 110"/>
                <a:gd name="T20" fmla="*/ 4 w 66"/>
                <a:gd name="T21" fmla="*/ 110 h 110"/>
                <a:gd name="T22" fmla="*/ 4 w 66"/>
                <a:gd name="T23" fmla="*/ 106 h 110"/>
                <a:gd name="T24" fmla="*/ 4 w 66"/>
                <a:gd name="T25" fmla="*/ 83 h 11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6"/>
                <a:gd name="T40" fmla="*/ 0 h 110"/>
                <a:gd name="T41" fmla="*/ 66 w 66"/>
                <a:gd name="T42" fmla="*/ 110 h 11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6" h="110">
                  <a:moveTo>
                    <a:pt x="50" y="83"/>
                  </a:moveTo>
                  <a:lnTo>
                    <a:pt x="42" y="52"/>
                  </a:lnTo>
                  <a:lnTo>
                    <a:pt x="52" y="42"/>
                  </a:lnTo>
                  <a:lnTo>
                    <a:pt x="55" y="24"/>
                  </a:lnTo>
                  <a:lnTo>
                    <a:pt x="66" y="9"/>
                  </a:lnTo>
                  <a:lnTo>
                    <a:pt x="62" y="1"/>
                  </a:lnTo>
                  <a:lnTo>
                    <a:pt x="22" y="0"/>
                  </a:lnTo>
                  <a:lnTo>
                    <a:pt x="18" y="17"/>
                  </a:lnTo>
                  <a:lnTo>
                    <a:pt x="0" y="70"/>
                  </a:lnTo>
                  <a:lnTo>
                    <a:pt x="12" y="78"/>
                  </a:lnTo>
                  <a:lnTo>
                    <a:pt x="5" y="110"/>
                  </a:lnTo>
                  <a:lnTo>
                    <a:pt x="42" y="106"/>
                  </a:lnTo>
                  <a:lnTo>
                    <a:pt x="50" y="8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0" name="Freeform 132"/>
            <p:cNvSpPr>
              <a:spLocks noChangeAspect="1"/>
            </p:cNvSpPr>
            <p:nvPr/>
          </p:nvSpPr>
          <p:spPr bwMode="auto">
            <a:xfrm>
              <a:off x="3332" y="1537"/>
              <a:ext cx="103" cy="97"/>
            </a:xfrm>
            <a:custGeom>
              <a:avLst/>
              <a:gdLst>
                <a:gd name="T0" fmla="*/ 5 w 114"/>
                <a:gd name="T1" fmla="*/ 0 h 97"/>
                <a:gd name="T2" fmla="*/ 5 w 114"/>
                <a:gd name="T3" fmla="*/ 12 h 97"/>
                <a:gd name="T4" fmla="*/ 5 w 114"/>
                <a:gd name="T5" fmla="*/ 5 h 97"/>
                <a:gd name="T6" fmla="*/ 5 w 114"/>
                <a:gd name="T7" fmla="*/ 10 h 97"/>
                <a:gd name="T8" fmla="*/ 5 w 114"/>
                <a:gd name="T9" fmla="*/ 22 h 97"/>
                <a:gd name="T10" fmla="*/ 5 w 114"/>
                <a:gd name="T11" fmla="*/ 29 h 97"/>
                <a:gd name="T12" fmla="*/ 0 w 114"/>
                <a:gd name="T13" fmla="*/ 48 h 97"/>
                <a:gd name="T14" fmla="*/ 0 w 114"/>
                <a:gd name="T15" fmla="*/ 50 h 97"/>
                <a:gd name="T16" fmla="*/ 5 w 114"/>
                <a:gd name="T17" fmla="*/ 80 h 97"/>
                <a:gd name="T18" fmla="*/ 5 w 114"/>
                <a:gd name="T19" fmla="*/ 80 h 97"/>
                <a:gd name="T20" fmla="*/ 5 w 114"/>
                <a:gd name="T21" fmla="*/ 97 h 97"/>
                <a:gd name="T22" fmla="*/ 5 w 114"/>
                <a:gd name="T23" fmla="*/ 84 h 97"/>
                <a:gd name="T24" fmla="*/ 5 w 114"/>
                <a:gd name="T25" fmla="*/ 87 h 97"/>
                <a:gd name="T26" fmla="*/ 5 w 114"/>
                <a:gd name="T27" fmla="*/ 67 h 97"/>
                <a:gd name="T28" fmla="*/ 5 w 114"/>
                <a:gd name="T29" fmla="*/ 41 h 97"/>
                <a:gd name="T30" fmla="*/ 5 w 114"/>
                <a:gd name="T31" fmla="*/ 28 h 97"/>
                <a:gd name="T32" fmla="*/ 5 w 114"/>
                <a:gd name="T33" fmla="*/ 38 h 97"/>
                <a:gd name="T34" fmla="*/ 5 w 114"/>
                <a:gd name="T35" fmla="*/ 27 h 97"/>
                <a:gd name="T36" fmla="*/ 5 w 114"/>
                <a:gd name="T37" fmla="*/ 21 h 97"/>
                <a:gd name="T38" fmla="*/ 5 w 114"/>
                <a:gd name="T39" fmla="*/ 23 h 97"/>
                <a:gd name="T40" fmla="*/ 5 w 114"/>
                <a:gd name="T41" fmla="*/ 30 h 97"/>
                <a:gd name="T42" fmla="*/ 5 w 114"/>
                <a:gd name="T43" fmla="*/ 0 h 9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14"/>
                <a:gd name="T67" fmla="*/ 0 h 97"/>
                <a:gd name="T68" fmla="*/ 114 w 114"/>
                <a:gd name="T69" fmla="*/ 97 h 9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14" h="97">
                  <a:moveTo>
                    <a:pt x="114" y="0"/>
                  </a:moveTo>
                  <a:lnTo>
                    <a:pt x="100" y="12"/>
                  </a:lnTo>
                  <a:lnTo>
                    <a:pt x="80" y="5"/>
                  </a:lnTo>
                  <a:lnTo>
                    <a:pt x="52" y="10"/>
                  </a:lnTo>
                  <a:lnTo>
                    <a:pt x="17" y="22"/>
                  </a:lnTo>
                  <a:lnTo>
                    <a:pt x="17" y="29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21" y="80"/>
                  </a:lnTo>
                  <a:lnTo>
                    <a:pt x="49" y="80"/>
                  </a:lnTo>
                  <a:lnTo>
                    <a:pt x="77" y="97"/>
                  </a:lnTo>
                  <a:lnTo>
                    <a:pt x="75" y="84"/>
                  </a:lnTo>
                  <a:lnTo>
                    <a:pt x="86" y="87"/>
                  </a:lnTo>
                  <a:lnTo>
                    <a:pt x="62" y="67"/>
                  </a:lnTo>
                  <a:lnTo>
                    <a:pt x="45" y="41"/>
                  </a:lnTo>
                  <a:lnTo>
                    <a:pt x="46" y="28"/>
                  </a:lnTo>
                  <a:lnTo>
                    <a:pt x="66" y="38"/>
                  </a:lnTo>
                  <a:lnTo>
                    <a:pt x="63" y="27"/>
                  </a:lnTo>
                  <a:lnTo>
                    <a:pt x="77" y="21"/>
                  </a:lnTo>
                  <a:lnTo>
                    <a:pt x="105" y="23"/>
                  </a:lnTo>
                  <a:lnTo>
                    <a:pt x="112" y="30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1" name="Freeform 133"/>
            <p:cNvSpPr>
              <a:spLocks noChangeAspect="1"/>
            </p:cNvSpPr>
            <p:nvPr/>
          </p:nvSpPr>
          <p:spPr bwMode="auto">
            <a:xfrm>
              <a:off x="3220" y="1421"/>
              <a:ext cx="45" cy="33"/>
            </a:xfrm>
            <a:custGeom>
              <a:avLst/>
              <a:gdLst>
                <a:gd name="T0" fmla="*/ 3 w 51"/>
                <a:gd name="T1" fmla="*/ 31 h 33"/>
                <a:gd name="T2" fmla="*/ 3 w 51"/>
                <a:gd name="T3" fmla="*/ 30 h 33"/>
                <a:gd name="T4" fmla="*/ 4 w 51"/>
                <a:gd name="T5" fmla="*/ 29 h 33"/>
                <a:gd name="T6" fmla="*/ 0 w 51"/>
                <a:gd name="T7" fmla="*/ 17 h 33"/>
                <a:gd name="T8" fmla="*/ 3 w 51"/>
                <a:gd name="T9" fmla="*/ 9 h 33"/>
                <a:gd name="T10" fmla="*/ 4 w 51"/>
                <a:gd name="T11" fmla="*/ 0 h 33"/>
                <a:gd name="T12" fmla="*/ 4 w 51"/>
                <a:gd name="T13" fmla="*/ 3 h 33"/>
                <a:gd name="T14" fmla="*/ 4 w 51"/>
                <a:gd name="T15" fmla="*/ 15 h 33"/>
                <a:gd name="T16" fmla="*/ 4 w 51"/>
                <a:gd name="T17" fmla="*/ 27 h 33"/>
                <a:gd name="T18" fmla="*/ 4 w 51"/>
                <a:gd name="T19" fmla="*/ 24 h 33"/>
                <a:gd name="T20" fmla="*/ 4 w 51"/>
                <a:gd name="T21" fmla="*/ 33 h 33"/>
                <a:gd name="T22" fmla="*/ 3 w 51"/>
                <a:gd name="T23" fmla="*/ 31 h 3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1"/>
                <a:gd name="T37" fmla="*/ 0 h 33"/>
                <a:gd name="T38" fmla="*/ 51 w 51"/>
                <a:gd name="T39" fmla="*/ 33 h 3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1" h="33">
                  <a:moveTo>
                    <a:pt x="3" y="31"/>
                  </a:moveTo>
                  <a:lnTo>
                    <a:pt x="3" y="30"/>
                  </a:lnTo>
                  <a:lnTo>
                    <a:pt x="8" y="29"/>
                  </a:lnTo>
                  <a:lnTo>
                    <a:pt x="0" y="17"/>
                  </a:lnTo>
                  <a:lnTo>
                    <a:pt x="3" y="9"/>
                  </a:lnTo>
                  <a:lnTo>
                    <a:pt x="46" y="0"/>
                  </a:lnTo>
                  <a:lnTo>
                    <a:pt x="51" y="3"/>
                  </a:lnTo>
                  <a:lnTo>
                    <a:pt x="34" y="15"/>
                  </a:lnTo>
                  <a:lnTo>
                    <a:pt x="33" y="27"/>
                  </a:lnTo>
                  <a:lnTo>
                    <a:pt x="21" y="24"/>
                  </a:lnTo>
                  <a:lnTo>
                    <a:pt x="9" y="33"/>
                  </a:lnTo>
                  <a:lnTo>
                    <a:pt x="3" y="3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2" name="Freeform 134"/>
            <p:cNvSpPr>
              <a:spLocks noChangeAspect="1"/>
            </p:cNvSpPr>
            <p:nvPr/>
          </p:nvSpPr>
          <p:spPr bwMode="auto">
            <a:xfrm>
              <a:off x="3051" y="1320"/>
              <a:ext cx="50" cy="40"/>
            </a:xfrm>
            <a:custGeom>
              <a:avLst/>
              <a:gdLst>
                <a:gd name="T0" fmla="*/ 5 w 55"/>
                <a:gd name="T1" fmla="*/ 0 h 40"/>
                <a:gd name="T2" fmla="*/ 5 w 55"/>
                <a:gd name="T3" fmla="*/ 1 h 40"/>
                <a:gd name="T4" fmla="*/ 5 w 55"/>
                <a:gd name="T5" fmla="*/ 15 h 40"/>
                <a:gd name="T6" fmla="*/ 5 w 55"/>
                <a:gd name="T7" fmla="*/ 28 h 40"/>
                <a:gd name="T8" fmla="*/ 5 w 55"/>
                <a:gd name="T9" fmla="*/ 40 h 40"/>
                <a:gd name="T10" fmla="*/ 5 w 55"/>
                <a:gd name="T11" fmla="*/ 38 h 40"/>
                <a:gd name="T12" fmla="*/ 5 w 55"/>
                <a:gd name="T13" fmla="*/ 29 h 40"/>
                <a:gd name="T14" fmla="*/ 5 w 55"/>
                <a:gd name="T15" fmla="*/ 32 h 40"/>
                <a:gd name="T16" fmla="*/ 0 w 55"/>
                <a:gd name="T17" fmla="*/ 7 h 40"/>
                <a:gd name="T18" fmla="*/ 5 w 55"/>
                <a:gd name="T19" fmla="*/ 0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5"/>
                <a:gd name="T31" fmla="*/ 0 h 40"/>
                <a:gd name="T32" fmla="*/ 55 w 55"/>
                <a:gd name="T33" fmla="*/ 40 h 4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5" h="40">
                  <a:moveTo>
                    <a:pt x="15" y="0"/>
                  </a:moveTo>
                  <a:lnTo>
                    <a:pt x="40" y="1"/>
                  </a:lnTo>
                  <a:lnTo>
                    <a:pt x="55" y="15"/>
                  </a:lnTo>
                  <a:lnTo>
                    <a:pt x="55" y="28"/>
                  </a:lnTo>
                  <a:lnTo>
                    <a:pt x="49" y="40"/>
                  </a:lnTo>
                  <a:lnTo>
                    <a:pt x="37" y="38"/>
                  </a:lnTo>
                  <a:lnTo>
                    <a:pt x="36" y="29"/>
                  </a:lnTo>
                  <a:lnTo>
                    <a:pt x="24" y="32"/>
                  </a:lnTo>
                  <a:lnTo>
                    <a:pt x="0" y="7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3" name="Freeform 135"/>
            <p:cNvSpPr>
              <a:spLocks noChangeAspect="1"/>
            </p:cNvSpPr>
            <p:nvPr/>
          </p:nvSpPr>
          <p:spPr bwMode="auto">
            <a:xfrm>
              <a:off x="3357" y="1299"/>
              <a:ext cx="287" cy="181"/>
            </a:xfrm>
            <a:custGeom>
              <a:avLst/>
              <a:gdLst>
                <a:gd name="T0" fmla="*/ 5 w 318"/>
                <a:gd name="T1" fmla="*/ 150 h 181"/>
                <a:gd name="T2" fmla="*/ 5 w 318"/>
                <a:gd name="T3" fmla="*/ 157 h 181"/>
                <a:gd name="T4" fmla="*/ 5 w 318"/>
                <a:gd name="T5" fmla="*/ 157 h 181"/>
                <a:gd name="T6" fmla="*/ 5 w 318"/>
                <a:gd name="T7" fmla="*/ 150 h 181"/>
                <a:gd name="T8" fmla="*/ 5 w 318"/>
                <a:gd name="T9" fmla="*/ 146 h 181"/>
                <a:gd name="T10" fmla="*/ 5 w 318"/>
                <a:gd name="T11" fmla="*/ 129 h 181"/>
                <a:gd name="T12" fmla="*/ 5 w 318"/>
                <a:gd name="T13" fmla="*/ 129 h 181"/>
                <a:gd name="T14" fmla="*/ 5 w 318"/>
                <a:gd name="T15" fmla="*/ 136 h 181"/>
                <a:gd name="T16" fmla="*/ 5 w 318"/>
                <a:gd name="T17" fmla="*/ 145 h 181"/>
                <a:gd name="T18" fmla="*/ 5 w 318"/>
                <a:gd name="T19" fmla="*/ 157 h 181"/>
                <a:gd name="T20" fmla="*/ 5 w 318"/>
                <a:gd name="T21" fmla="*/ 165 h 181"/>
                <a:gd name="T22" fmla="*/ 5 w 318"/>
                <a:gd name="T23" fmla="*/ 175 h 181"/>
                <a:gd name="T24" fmla="*/ 5 w 318"/>
                <a:gd name="T25" fmla="*/ 181 h 181"/>
                <a:gd name="T26" fmla="*/ 5 w 318"/>
                <a:gd name="T27" fmla="*/ 163 h 181"/>
                <a:gd name="T28" fmla="*/ 5 w 318"/>
                <a:gd name="T29" fmla="*/ 163 h 181"/>
                <a:gd name="T30" fmla="*/ 5 w 318"/>
                <a:gd name="T31" fmla="*/ 158 h 181"/>
                <a:gd name="T32" fmla="*/ 5 w 318"/>
                <a:gd name="T33" fmla="*/ 159 h 181"/>
                <a:gd name="T34" fmla="*/ 5 w 318"/>
                <a:gd name="T35" fmla="*/ 145 h 181"/>
                <a:gd name="T36" fmla="*/ 5 w 318"/>
                <a:gd name="T37" fmla="*/ 118 h 181"/>
                <a:gd name="T38" fmla="*/ 5 w 318"/>
                <a:gd name="T39" fmla="*/ 118 h 181"/>
                <a:gd name="T40" fmla="*/ 5 w 318"/>
                <a:gd name="T41" fmla="*/ 106 h 181"/>
                <a:gd name="T42" fmla="*/ 5 w 318"/>
                <a:gd name="T43" fmla="*/ 99 h 181"/>
                <a:gd name="T44" fmla="*/ 5 w 318"/>
                <a:gd name="T45" fmla="*/ 101 h 181"/>
                <a:gd name="T46" fmla="*/ 5 w 318"/>
                <a:gd name="T47" fmla="*/ 80 h 181"/>
                <a:gd name="T48" fmla="*/ 5 w 318"/>
                <a:gd name="T49" fmla="*/ 78 h 181"/>
                <a:gd name="T50" fmla="*/ 5 w 318"/>
                <a:gd name="T51" fmla="*/ 74 h 181"/>
                <a:gd name="T52" fmla="*/ 5 w 318"/>
                <a:gd name="T53" fmla="*/ 62 h 181"/>
                <a:gd name="T54" fmla="*/ 5 w 318"/>
                <a:gd name="T55" fmla="*/ 53 h 181"/>
                <a:gd name="T56" fmla="*/ 5 w 318"/>
                <a:gd name="T57" fmla="*/ 42 h 181"/>
                <a:gd name="T58" fmla="*/ 5 w 318"/>
                <a:gd name="T59" fmla="*/ 42 h 181"/>
                <a:gd name="T60" fmla="*/ 5 w 318"/>
                <a:gd name="T61" fmla="*/ 25 h 181"/>
                <a:gd name="T62" fmla="*/ 5 w 318"/>
                <a:gd name="T63" fmla="*/ 22 h 181"/>
                <a:gd name="T64" fmla="*/ 5 w 318"/>
                <a:gd name="T65" fmla="*/ 11 h 181"/>
                <a:gd name="T66" fmla="*/ 5 w 318"/>
                <a:gd name="T67" fmla="*/ 0 h 181"/>
                <a:gd name="T68" fmla="*/ 5 w 318"/>
                <a:gd name="T69" fmla="*/ 5 h 181"/>
                <a:gd name="T70" fmla="*/ 5 w 318"/>
                <a:gd name="T71" fmla="*/ 7 h 181"/>
                <a:gd name="T72" fmla="*/ 5 w 318"/>
                <a:gd name="T73" fmla="*/ 23 h 181"/>
                <a:gd name="T74" fmla="*/ 5 w 318"/>
                <a:gd name="T75" fmla="*/ 17 h 181"/>
                <a:gd name="T76" fmla="*/ 5 w 318"/>
                <a:gd name="T77" fmla="*/ 21 h 181"/>
                <a:gd name="T78" fmla="*/ 5 w 318"/>
                <a:gd name="T79" fmla="*/ 9 h 181"/>
                <a:gd name="T80" fmla="*/ 5 w 318"/>
                <a:gd name="T81" fmla="*/ 17 h 181"/>
                <a:gd name="T82" fmla="*/ 5 w 318"/>
                <a:gd name="T83" fmla="*/ 43 h 181"/>
                <a:gd name="T84" fmla="*/ 5 w 318"/>
                <a:gd name="T85" fmla="*/ 72 h 181"/>
                <a:gd name="T86" fmla="*/ 0 w 318"/>
                <a:gd name="T87" fmla="*/ 88 h 181"/>
                <a:gd name="T88" fmla="*/ 1 w 318"/>
                <a:gd name="T89" fmla="*/ 89 h 181"/>
                <a:gd name="T90" fmla="*/ 5 w 318"/>
                <a:gd name="T91" fmla="*/ 97 h 181"/>
                <a:gd name="T92" fmla="*/ 5 w 318"/>
                <a:gd name="T93" fmla="*/ 101 h 181"/>
                <a:gd name="T94" fmla="*/ 5 w 318"/>
                <a:gd name="T95" fmla="*/ 91 h 181"/>
                <a:gd name="T96" fmla="*/ 5 w 318"/>
                <a:gd name="T97" fmla="*/ 87 h 181"/>
                <a:gd name="T98" fmla="*/ 5 w 318"/>
                <a:gd name="T99" fmla="*/ 96 h 181"/>
                <a:gd name="T100" fmla="*/ 5 w 318"/>
                <a:gd name="T101" fmla="*/ 107 h 181"/>
                <a:gd name="T102" fmla="*/ 5 w 318"/>
                <a:gd name="T103" fmla="*/ 124 h 181"/>
                <a:gd name="T104" fmla="*/ 5 w 318"/>
                <a:gd name="T105" fmla="*/ 133 h 181"/>
                <a:gd name="T106" fmla="*/ 5 w 318"/>
                <a:gd name="T107" fmla="*/ 133 h 181"/>
                <a:gd name="T108" fmla="*/ 5 w 318"/>
                <a:gd name="T109" fmla="*/ 150 h 18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18"/>
                <a:gd name="T166" fmla="*/ 0 h 181"/>
                <a:gd name="T167" fmla="*/ 318 w 318"/>
                <a:gd name="T168" fmla="*/ 181 h 18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18" h="181">
                  <a:moveTo>
                    <a:pt x="118" y="150"/>
                  </a:moveTo>
                  <a:lnTo>
                    <a:pt x="120" y="157"/>
                  </a:lnTo>
                  <a:lnTo>
                    <a:pt x="142" y="157"/>
                  </a:lnTo>
                  <a:lnTo>
                    <a:pt x="139" y="150"/>
                  </a:lnTo>
                  <a:lnTo>
                    <a:pt x="150" y="146"/>
                  </a:lnTo>
                  <a:lnTo>
                    <a:pt x="160" y="129"/>
                  </a:lnTo>
                  <a:lnTo>
                    <a:pt x="183" y="129"/>
                  </a:lnTo>
                  <a:lnTo>
                    <a:pt x="179" y="136"/>
                  </a:lnTo>
                  <a:lnTo>
                    <a:pt x="215" y="145"/>
                  </a:lnTo>
                  <a:lnTo>
                    <a:pt x="196" y="157"/>
                  </a:lnTo>
                  <a:lnTo>
                    <a:pt x="213" y="165"/>
                  </a:lnTo>
                  <a:lnTo>
                    <a:pt x="212" y="175"/>
                  </a:lnTo>
                  <a:lnTo>
                    <a:pt x="218" y="181"/>
                  </a:lnTo>
                  <a:lnTo>
                    <a:pt x="250" y="163"/>
                  </a:lnTo>
                  <a:lnTo>
                    <a:pt x="266" y="163"/>
                  </a:lnTo>
                  <a:lnTo>
                    <a:pt x="266" y="158"/>
                  </a:lnTo>
                  <a:lnTo>
                    <a:pt x="249" y="159"/>
                  </a:lnTo>
                  <a:lnTo>
                    <a:pt x="227" y="145"/>
                  </a:lnTo>
                  <a:lnTo>
                    <a:pt x="280" y="118"/>
                  </a:lnTo>
                  <a:lnTo>
                    <a:pt x="291" y="118"/>
                  </a:lnTo>
                  <a:lnTo>
                    <a:pt x="291" y="106"/>
                  </a:lnTo>
                  <a:lnTo>
                    <a:pt x="299" y="99"/>
                  </a:lnTo>
                  <a:lnTo>
                    <a:pt x="315" y="101"/>
                  </a:lnTo>
                  <a:lnTo>
                    <a:pt x="312" y="80"/>
                  </a:lnTo>
                  <a:lnTo>
                    <a:pt x="318" y="78"/>
                  </a:lnTo>
                  <a:lnTo>
                    <a:pt x="310" y="74"/>
                  </a:lnTo>
                  <a:lnTo>
                    <a:pt x="316" y="62"/>
                  </a:lnTo>
                  <a:lnTo>
                    <a:pt x="278" y="53"/>
                  </a:lnTo>
                  <a:lnTo>
                    <a:pt x="267" y="42"/>
                  </a:lnTo>
                  <a:lnTo>
                    <a:pt x="234" y="42"/>
                  </a:lnTo>
                  <a:lnTo>
                    <a:pt x="222" y="25"/>
                  </a:lnTo>
                  <a:lnTo>
                    <a:pt x="207" y="22"/>
                  </a:lnTo>
                  <a:lnTo>
                    <a:pt x="209" y="11"/>
                  </a:lnTo>
                  <a:lnTo>
                    <a:pt x="196" y="0"/>
                  </a:lnTo>
                  <a:lnTo>
                    <a:pt x="162" y="5"/>
                  </a:lnTo>
                  <a:lnTo>
                    <a:pt x="149" y="7"/>
                  </a:lnTo>
                  <a:lnTo>
                    <a:pt x="141" y="23"/>
                  </a:lnTo>
                  <a:lnTo>
                    <a:pt x="116" y="17"/>
                  </a:lnTo>
                  <a:lnTo>
                    <a:pt x="92" y="21"/>
                  </a:lnTo>
                  <a:lnTo>
                    <a:pt x="61" y="9"/>
                  </a:lnTo>
                  <a:lnTo>
                    <a:pt x="20" y="17"/>
                  </a:lnTo>
                  <a:lnTo>
                    <a:pt x="30" y="43"/>
                  </a:lnTo>
                  <a:lnTo>
                    <a:pt x="5" y="72"/>
                  </a:lnTo>
                  <a:lnTo>
                    <a:pt x="0" y="88"/>
                  </a:lnTo>
                  <a:lnTo>
                    <a:pt x="1" y="89"/>
                  </a:lnTo>
                  <a:lnTo>
                    <a:pt x="13" y="97"/>
                  </a:lnTo>
                  <a:lnTo>
                    <a:pt x="52" y="101"/>
                  </a:lnTo>
                  <a:lnTo>
                    <a:pt x="79" y="91"/>
                  </a:lnTo>
                  <a:lnTo>
                    <a:pt x="94" y="87"/>
                  </a:lnTo>
                  <a:lnTo>
                    <a:pt x="126" y="96"/>
                  </a:lnTo>
                  <a:lnTo>
                    <a:pt x="127" y="107"/>
                  </a:lnTo>
                  <a:lnTo>
                    <a:pt x="143" y="124"/>
                  </a:lnTo>
                  <a:lnTo>
                    <a:pt x="144" y="133"/>
                  </a:lnTo>
                  <a:lnTo>
                    <a:pt x="128" y="133"/>
                  </a:lnTo>
                  <a:lnTo>
                    <a:pt x="118" y="15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4" name="Freeform 136"/>
            <p:cNvSpPr>
              <a:spLocks noChangeAspect="1"/>
            </p:cNvSpPr>
            <p:nvPr/>
          </p:nvSpPr>
          <p:spPr bwMode="auto">
            <a:xfrm>
              <a:off x="3351" y="1618"/>
              <a:ext cx="36" cy="43"/>
            </a:xfrm>
            <a:custGeom>
              <a:avLst/>
              <a:gdLst>
                <a:gd name="T0" fmla="*/ 0 w 40"/>
                <a:gd name="T1" fmla="*/ 12 h 43"/>
                <a:gd name="T2" fmla="*/ 5 w 40"/>
                <a:gd name="T3" fmla="*/ 20 h 43"/>
                <a:gd name="T4" fmla="*/ 5 w 40"/>
                <a:gd name="T5" fmla="*/ 34 h 43"/>
                <a:gd name="T6" fmla="*/ 5 w 40"/>
                <a:gd name="T7" fmla="*/ 43 h 43"/>
                <a:gd name="T8" fmla="*/ 5 w 40"/>
                <a:gd name="T9" fmla="*/ 34 h 43"/>
                <a:gd name="T10" fmla="*/ 5 w 40"/>
                <a:gd name="T11" fmla="*/ 43 h 43"/>
                <a:gd name="T12" fmla="*/ 5 w 40"/>
                <a:gd name="T13" fmla="*/ 20 h 43"/>
                <a:gd name="T14" fmla="*/ 5 w 40"/>
                <a:gd name="T15" fmla="*/ 22 h 43"/>
                <a:gd name="T16" fmla="*/ 5 w 40"/>
                <a:gd name="T17" fmla="*/ 10 h 43"/>
                <a:gd name="T18" fmla="*/ 5 w 40"/>
                <a:gd name="T19" fmla="*/ 0 h 43"/>
                <a:gd name="T20" fmla="*/ 0 w 40"/>
                <a:gd name="T21" fmla="*/ 12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43"/>
                <a:gd name="T35" fmla="*/ 40 w 40"/>
                <a:gd name="T36" fmla="*/ 43 h 4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43">
                  <a:moveTo>
                    <a:pt x="0" y="12"/>
                  </a:moveTo>
                  <a:lnTo>
                    <a:pt x="10" y="20"/>
                  </a:lnTo>
                  <a:lnTo>
                    <a:pt x="12" y="34"/>
                  </a:lnTo>
                  <a:lnTo>
                    <a:pt x="25" y="43"/>
                  </a:lnTo>
                  <a:lnTo>
                    <a:pt x="30" y="34"/>
                  </a:lnTo>
                  <a:lnTo>
                    <a:pt x="39" y="43"/>
                  </a:lnTo>
                  <a:lnTo>
                    <a:pt x="30" y="20"/>
                  </a:lnTo>
                  <a:lnTo>
                    <a:pt x="40" y="22"/>
                  </a:lnTo>
                  <a:lnTo>
                    <a:pt x="33" y="10"/>
                  </a:lnTo>
                  <a:lnTo>
                    <a:pt x="13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5" name="Freeform 137"/>
            <p:cNvSpPr>
              <a:spLocks noChangeAspect="1"/>
            </p:cNvSpPr>
            <p:nvPr/>
          </p:nvSpPr>
          <p:spPr bwMode="auto">
            <a:xfrm>
              <a:off x="3885" y="1900"/>
              <a:ext cx="17" cy="39"/>
            </a:xfrm>
            <a:custGeom>
              <a:avLst/>
              <a:gdLst>
                <a:gd name="T0" fmla="*/ 0 w 19"/>
                <a:gd name="T1" fmla="*/ 19 h 39"/>
                <a:gd name="T2" fmla="*/ 4 w 19"/>
                <a:gd name="T3" fmla="*/ 0 h 39"/>
                <a:gd name="T4" fmla="*/ 4 w 19"/>
                <a:gd name="T5" fmla="*/ 6 h 39"/>
                <a:gd name="T6" fmla="*/ 4 w 19"/>
                <a:gd name="T7" fmla="*/ 28 h 39"/>
                <a:gd name="T8" fmla="*/ 4 w 19"/>
                <a:gd name="T9" fmla="*/ 39 h 39"/>
                <a:gd name="T10" fmla="*/ 0 w 19"/>
                <a:gd name="T11" fmla="*/ 19 h 3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39"/>
                <a:gd name="T20" fmla="*/ 19 w 19"/>
                <a:gd name="T21" fmla="*/ 39 h 3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39">
                  <a:moveTo>
                    <a:pt x="0" y="19"/>
                  </a:moveTo>
                  <a:lnTo>
                    <a:pt x="7" y="0"/>
                  </a:lnTo>
                  <a:lnTo>
                    <a:pt x="17" y="6"/>
                  </a:lnTo>
                  <a:lnTo>
                    <a:pt x="19" y="28"/>
                  </a:lnTo>
                  <a:lnTo>
                    <a:pt x="13" y="3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6" name="Freeform 138"/>
            <p:cNvSpPr>
              <a:spLocks noChangeAspect="1"/>
            </p:cNvSpPr>
            <p:nvPr/>
          </p:nvSpPr>
          <p:spPr bwMode="auto">
            <a:xfrm>
              <a:off x="3980" y="1896"/>
              <a:ext cx="9" cy="23"/>
            </a:xfrm>
            <a:custGeom>
              <a:avLst/>
              <a:gdLst>
                <a:gd name="T0" fmla="*/ 2 w 11"/>
                <a:gd name="T1" fmla="*/ 23 h 23"/>
                <a:gd name="T2" fmla="*/ 2 w 11"/>
                <a:gd name="T3" fmla="*/ 1 h 23"/>
                <a:gd name="T4" fmla="*/ 2 w 11"/>
                <a:gd name="T5" fmla="*/ 0 h 23"/>
                <a:gd name="T6" fmla="*/ 0 w 11"/>
                <a:gd name="T7" fmla="*/ 6 h 23"/>
                <a:gd name="T8" fmla="*/ 2 w 11"/>
                <a:gd name="T9" fmla="*/ 23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23"/>
                <a:gd name="T17" fmla="*/ 11 w 11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23">
                  <a:moveTo>
                    <a:pt x="11" y="23"/>
                  </a:moveTo>
                  <a:lnTo>
                    <a:pt x="10" y="1"/>
                  </a:lnTo>
                  <a:lnTo>
                    <a:pt x="5" y="0"/>
                  </a:lnTo>
                  <a:lnTo>
                    <a:pt x="0" y="6"/>
                  </a:lnTo>
                  <a:lnTo>
                    <a:pt x="11" y="2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7" name="Freeform 139"/>
            <p:cNvSpPr>
              <a:spLocks noChangeAspect="1"/>
            </p:cNvSpPr>
            <p:nvPr/>
          </p:nvSpPr>
          <p:spPr bwMode="auto">
            <a:xfrm>
              <a:off x="3805" y="1810"/>
              <a:ext cx="34" cy="31"/>
            </a:xfrm>
            <a:custGeom>
              <a:avLst/>
              <a:gdLst>
                <a:gd name="T0" fmla="*/ 0 w 37"/>
                <a:gd name="T1" fmla="*/ 17 h 31"/>
                <a:gd name="T2" fmla="*/ 6 w 37"/>
                <a:gd name="T3" fmla="*/ 0 h 31"/>
                <a:gd name="T4" fmla="*/ 6 w 37"/>
                <a:gd name="T5" fmla="*/ 0 h 31"/>
                <a:gd name="T6" fmla="*/ 6 w 37"/>
                <a:gd name="T7" fmla="*/ 7 h 31"/>
                <a:gd name="T8" fmla="*/ 6 w 37"/>
                <a:gd name="T9" fmla="*/ 11 h 31"/>
                <a:gd name="T10" fmla="*/ 6 w 37"/>
                <a:gd name="T11" fmla="*/ 31 h 31"/>
                <a:gd name="T12" fmla="*/ 6 w 37"/>
                <a:gd name="T13" fmla="*/ 30 h 31"/>
                <a:gd name="T14" fmla="*/ 0 w 37"/>
                <a:gd name="T15" fmla="*/ 17 h 3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7"/>
                <a:gd name="T25" fmla="*/ 0 h 31"/>
                <a:gd name="T26" fmla="*/ 37 w 37"/>
                <a:gd name="T27" fmla="*/ 31 h 3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7" h="31">
                  <a:moveTo>
                    <a:pt x="0" y="17"/>
                  </a:moveTo>
                  <a:lnTo>
                    <a:pt x="15" y="0"/>
                  </a:lnTo>
                  <a:lnTo>
                    <a:pt x="36" y="0"/>
                  </a:lnTo>
                  <a:lnTo>
                    <a:pt x="33" y="7"/>
                  </a:lnTo>
                  <a:lnTo>
                    <a:pt x="22" y="11"/>
                  </a:lnTo>
                  <a:lnTo>
                    <a:pt x="37" y="31"/>
                  </a:lnTo>
                  <a:lnTo>
                    <a:pt x="36" y="3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8" name="Freeform 140"/>
            <p:cNvSpPr>
              <a:spLocks noChangeAspect="1"/>
            </p:cNvSpPr>
            <p:nvPr/>
          </p:nvSpPr>
          <p:spPr bwMode="auto">
            <a:xfrm>
              <a:off x="3774" y="1820"/>
              <a:ext cx="31" cy="15"/>
            </a:xfrm>
            <a:custGeom>
              <a:avLst/>
              <a:gdLst>
                <a:gd name="T0" fmla="*/ 0 w 35"/>
                <a:gd name="T1" fmla="*/ 6 h 15"/>
                <a:gd name="T2" fmla="*/ 4 w 35"/>
                <a:gd name="T3" fmla="*/ 0 h 15"/>
                <a:gd name="T4" fmla="*/ 4 w 35"/>
                <a:gd name="T5" fmla="*/ 7 h 15"/>
                <a:gd name="T6" fmla="*/ 4 w 35"/>
                <a:gd name="T7" fmla="*/ 15 h 15"/>
                <a:gd name="T8" fmla="*/ 0 w 35"/>
                <a:gd name="T9" fmla="*/ 6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15"/>
                <a:gd name="T17" fmla="*/ 35 w 3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15">
                  <a:moveTo>
                    <a:pt x="0" y="6"/>
                  </a:moveTo>
                  <a:lnTo>
                    <a:pt x="14" y="0"/>
                  </a:lnTo>
                  <a:lnTo>
                    <a:pt x="35" y="7"/>
                  </a:lnTo>
                  <a:lnTo>
                    <a:pt x="15" y="15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9" name="Freeform 141"/>
            <p:cNvSpPr>
              <a:spLocks noChangeAspect="1"/>
            </p:cNvSpPr>
            <p:nvPr/>
          </p:nvSpPr>
          <p:spPr bwMode="auto">
            <a:xfrm>
              <a:off x="5020" y="1981"/>
              <a:ext cx="10" cy="7"/>
            </a:xfrm>
            <a:custGeom>
              <a:avLst/>
              <a:gdLst>
                <a:gd name="T0" fmla="*/ 0 w 12"/>
                <a:gd name="T1" fmla="*/ 0 h 7"/>
                <a:gd name="T2" fmla="*/ 1 w 12"/>
                <a:gd name="T3" fmla="*/ 7 h 7"/>
                <a:gd name="T4" fmla="*/ 3 w 12"/>
                <a:gd name="T5" fmla="*/ 7 h 7"/>
                <a:gd name="T6" fmla="*/ 3 w 12"/>
                <a:gd name="T7" fmla="*/ 0 h 7"/>
                <a:gd name="T8" fmla="*/ 0 w 12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7"/>
                <a:gd name="T17" fmla="*/ 12 w 12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7">
                  <a:moveTo>
                    <a:pt x="0" y="0"/>
                  </a:moveTo>
                  <a:lnTo>
                    <a:pt x="1" y="7"/>
                  </a:lnTo>
                  <a:lnTo>
                    <a:pt x="12" y="7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0" name="Freeform 142"/>
            <p:cNvSpPr>
              <a:spLocks noChangeAspect="1"/>
            </p:cNvSpPr>
            <p:nvPr/>
          </p:nvSpPr>
          <p:spPr bwMode="auto">
            <a:xfrm>
              <a:off x="5020" y="1981"/>
              <a:ext cx="10" cy="1"/>
            </a:xfrm>
            <a:custGeom>
              <a:avLst/>
              <a:gdLst>
                <a:gd name="T0" fmla="*/ 3 w 12"/>
                <a:gd name="T1" fmla="*/ 0 h 1"/>
                <a:gd name="T2" fmla="*/ 0 w 12"/>
                <a:gd name="T3" fmla="*/ 0 h 1"/>
                <a:gd name="T4" fmla="*/ 3 w 12"/>
                <a:gd name="T5" fmla="*/ 0 h 1"/>
                <a:gd name="T6" fmla="*/ 0 60000 65536"/>
                <a:gd name="T7" fmla="*/ 0 60000 65536"/>
                <a:gd name="T8" fmla="*/ 0 60000 65536"/>
                <a:gd name="T9" fmla="*/ 0 w 12"/>
                <a:gd name="T10" fmla="*/ 0 h 1"/>
                <a:gd name="T11" fmla="*/ 12 w 1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1">
                  <a:moveTo>
                    <a:pt x="12" y="0"/>
                  </a:move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1" name="Freeform 143"/>
            <p:cNvSpPr>
              <a:spLocks noChangeAspect="1"/>
            </p:cNvSpPr>
            <p:nvPr/>
          </p:nvSpPr>
          <p:spPr bwMode="auto">
            <a:xfrm>
              <a:off x="2706" y="2204"/>
              <a:ext cx="133" cy="126"/>
            </a:xfrm>
            <a:custGeom>
              <a:avLst/>
              <a:gdLst>
                <a:gd name="T0" fmla="*/ 4 w 148"/>
                <a:gd name="T1" fmla="*/ 119 h 126"/>
                <a:gd name="T2" fmla="*/ 4 w 148"/>
                <a:gd name="T3" fmla="*/ 113 h 126"/>
                <a:gd name="T4" fmla="*/ 4 w 148"/>
                <a:gd name="T5" fmla="*/ 102 h 126"/>
                <a:gd name="T6" fmla="*/ 4 w 148"/>
                <a:gd name="T7" fmla="*/ 95 h 126"/>
                <a:gd name="T8" fmla="*/ 4 w 148"/>
                <a:gd name="T9" fmla="*/ 70 h 126"/>
                <a:gd name="T10" fmla="*/ 4 w 148"/>
                <a:gd name="T11" fmla="*/ 57 h 126"/>
                <a:gd name="T12" fmla="*/ 4 w 148"/>
                <a:gd name="T13" fmla="*/ 5 h 126"/>
                <a:gd name="T14" fmla="*/ 4 w 148"/>
                <a:gd name="T15" fmla="*/ 16 h 126"/>
                <a:gd name="T16" fmla="*/ 4 w 148"/>
                <a:gd name="T17" fmla="*/ 6 h 126"/>
                <a:gd name="T18" fmla="*/ 4 w 148"/>
                <a:gd name="T19" fmla="*/ 0 h 126"/>
                <a:gd name="T20" fmla="*/ 4 w 148"/>
                <a:gd name="T21" fmla="*/ 23 h 126"/>
                <a:gd name="T22" fmla="*/ 4 w 148"/>
                <a:gd name="T23" fmla="*/ 29 h 126"/>
                <a:gd name="T24" fmla="*/ 0 w 148"/>
                <a:gd name="T25" fmla="*/ 40 h 126"/>
                <a:gd name="T26" fmla="*/ 0 w 148"/>
                <a:gd name="T27" fmla="*/ 41 h 126"/>
                <a:gd name="T28" fmla="*/ 4 w 148"/>
                <a:gd name="T29" fmla="*/ 81 h 126"/>
                <a:gd name="T30" fmla="*/ 4 w 148"/>
                <a:gd name="T31" fmla="*/ 63 h 126"/>
                <a:gd name="T32" fmla="*/ 4 w 148"/>
                <a:gd name="T33" fmla="*/ 62 h 126"/>
                <a:gd name="T34" fmla="*/ 4 w 148"/>
                <a:gd name="T35" fmla="*/ 87 h 126"/>
                <a:gd name="T36" fmla="*/ 4 w 148"/>
                <a:gd name="T37" fmla="*/ 100 h 126"/>
                <a:gd name="T38" fmla="*/ 4 w 148"/>
                <a:gd name="T39" fmla="*/ 100 h 126"/>
                <a:gd name="T40" fmla="*/ 4 w 148"/>
                <a:gd name="T41" fmla="*/ 97 h 126"/>
                <a:gd name="T42" fmla="*/ 4 w 148"/>
                <a:gd name="T43" fmla="*/ 126 h 126"/>
                <a:gd name="T44" fmla="*/ 4 w 148"/>
                <a:gd name="T45" fmla="*/ 119 h 1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48"/>
                <a:gd name="T70" fmla="*/ 0 h 126"/>
                <a:gd name="T71" fmla="*/ 148 w 148"/>
                <a:gd name="T72" fmla="*/ 126 h 1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48" h="126">
                  <a:moveTo>
                    <a:pt x="132" y="119"/>
                  </a:moveTo>
                  <a:lnTo>
                    <a:pt x="140" y="113"/>
                  </a:lnTo>
                  <a:lnTo>
                    <a:pt x="137" y="102"/>
                  </a:lnTo>
                  <a:lnTo>
                    <a:pt x="148" y="95"/>
                  </a:lnTo>
                  <a:lnTo>
                    <a:pt x="140" y="70"/>
                  </a:lnTo>
                  <a:lnTo>
                    <a:pt x="143" y="57"/>
                  </a:lnTo>
                  <a:lnTo>
                    <a:pt x="120" y="5"/>
                  </a:lnTo>
                  <a:lnTo>
                    <a:pt x="87" y="16"/>
                  </a:lnTo>
                  <a:lnTo>
                    <a:pt x="77" y="6"/>
                  </a:lnTo>
                  <a:lnTo>
                    <a:pt x="29" y="0"/>
                  </a:lnTo>
                  <a:lnTo>
                    <a:pt x="26" y="23"/>
                  </a:lnTo>
                  <a:lnTo>
                    <a:pt x="9" y="29"/>
                  </a:lnTo>
                  <a:lnTo>
                    <a:pt x="0" y="40"/>
                  </a:lnTo>
                  <a:lnTo>
                    <a:pt x="0" y="41"/>
                  </a:lnTo>
                  <a:lnTo>
                    <a:pt x="35" y="81"/>
                  </a:lnTo>
                  <a:lnTo>
                    <a:pt x="54" y="63"/>
                  </a:lnTo>
                  <a:lnTo>
                    <a:pt x="73" y="62"/>
                  </a:lnTo>
                  <a:lnTo>
                    <a:pt x="91" y="87"/>
                  </a:lnTo>
                  <a:lnTo>
                    <a:pt x="89" y="100"/>
                  </a:lnTo>
                  <a:lnTo>
                    <a:pt x="95" y="100"/>
                  </a:lnTo>
                  <a:lnTo>
                    <a:pt x="108" y="97"/>
                  </a:lnTo>
                  <a:lnTo>
                    <a:pt x="120" y="126"/>
                  </a:lnTo>
                  <a:lnTo>
                    <a:pt x="132" y="11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2" name="Freeform 144"/>
            <p:cNvSpPr>
              <a:spLocks noChangeAspect="1"/>
            </p:cNvSpPr>
            <p:nvPr/>
          </p:nvSpPr>
          <p:spPr bwMode="auto">
            <a:xfrm>
              <a:off x="3205" y="2378"/>
              <a:ext cx="347" cy="420"/>
            </a:xfrm>
            <a:custGeom>
              <a:avLst/>
              <a:gdLst>
                <a:gd name="T0" fmla="*/ 5 w 385"/>
                <a:gd name="T1" fmla="*/ 8 h 420"/>
                <a:gd name="T2" fmla="*/ 5 w 385"/>
                <a:gd name="T3" fmla="*/ 19 h 420"/>
                <a:gd name="T4" fmla="*/ 5 w 385"/>
                <a:gd name="T5" fmla="*/ 15 h 420"/>
                <a:gd name="T6" fmla="*/ 5 w 385"/>
                <a:gd name="T7" fmla="*/ 0 h 420"/>
                <a:gd name="T8" fmla="*/ 5 w 385"/>
                <a:gd name="T9" fmla="*/ 0 h 420"/>
                <a:gd name="T10" fmla="*/ 5 w 385"/>
                <a:gd name="T11" fmla="*/ 34 h 420"/>
                <a:gd name="T12" fmla="*/ 5 w 385"/>
                <a:gd name="T13" fmla="*/ 74 h 420"/>
                <a:gd name="T14" fmla="*/ 5 w 385"/>
                <a:gd name="T15" fmla="*/ 134 h 420"/>
                <a:gd name="T16" fmla="*/ 5 w 385"/>
                <a:gd name="T17" fmla="*/ 166 h 420"/>
                <a:gd name="T18" fmla="*/ 5 w 385"/>
                <a:gd name="T19" fmla="*/ 208 h 420"/>
                <a:gd name="T20" fmla="*/ 5 w 385"/>
                <a:gd name="T21" fmla="*/ 229 h 420"/>
                <a:gd name="T22" fmla="*/ 5 w 385"/>
                <a:gd name="T23" fmla="*/ 220 h 420"/>
                <a:gd name="T24" fmla="*/ 5 w 385"/>
                <a:gd name="T25" fmla="*/ 229 h 420"/>
                <a:gd name="T26" fmla="*/ 5 w 385"/>
                <a:gd name="T27" fmla="*/ 226 h 420"/>
                <a:gd name="T28" fmla="*/ 4 w 385"/>
                <a:gd name="T29" fmla="*/ 232 h 420"/>
                <a:gd name="T30" fmla="*/ 0 w 385"/>
                <a:gd name="T31" fmla="*/ 253 h 420"/>
                <a:gd name="T32" fmla="*/ 4 w 385"/>
                <a:gd name="T33" fmla="*/ 263 h 420"/>
                <a:gd name="T34" fmla="*/ 5 w 385"/>
                <a:gd name="T35" fmla="*/ 252 h 420"/>
                <a:gd name="T36" fmla="*/ 5 w 385"/>
                <a:gd name="T37" fmla="*/ 251 h 420"/>
                <a:gd name="T38" fmla="*/ 5 w 385"/>
                <a:gd name="T39" fmla="*/ 258 h 420"/>
                <a:gd name="T40" fmla="*/ 5 w 385"/>
                <a:gd name="T41" fmla="*/ 286 h 420"/>
                <a:gd name="T42" fmla="*/ 5 w 385"/>
                <a:gd name="T43" fmla="*/ 305 h 420"/>
                <a:gd name="T44" fmla="*/ 5 w 385"/>
                <a:gd name="T45" fmla="*/ 302 h 420"/>
                <a:gd name="T46" fmla="*/ 5 w 385"/>
                <a:gd name="T47" fmla="*/ 280 h 420"/>
                <a:gd name="T48" fmla="*/ 5 w 385"/>
                <a:gd name="T49" fmla="*/ 276 h 420"/>
                <a:gd name="T50" fmla="*/ 5 w 385"/>
                <a:gd name="T51" fmla="*/ 283 h 420"/>
                <a:gd name="T52" fmla="*/ 5 w 385"/>
                <a:gd name="T53" fmla="*/ 286 h 420"/>
                <a:gd name="T54" fmla="*/ 5 w 385"/>
                <a:gd name="T55" fmla="*/ 292 h 420"/>
                <a:gd name="T56" fmla="*/ 5 w 385"/>
                <a:gd name="T57" fmla="*/ 338 h 420"/>
                <a:gd name="T58" fmla="*/ 5 w 385"/>
                <a:gd name="T59" fmla="*/ 360 h 420"/>
                <a:gd name="T60" fmla="*/ 5 w 385"/>
                <a:gd name="T61" fmla="*/ 371 h 420"/>
                <a:gd name="T62" fmla="*/ 5 w 385"/>
                <a:gd name="T63" fmla="*/ 377 h 420"/>
                <a:gd name="T64" fmla="*/ 5 w 385"/>
                <a:gd name="T65" fmla="*/ 367 h 420"/>
                <a:gd name="T66" fmla="*/ 5 w 385"/>
                <a:gd name="T67" fmla="*/ 390 h 420"/>
                <a:gd name="T68" fmla="*/ 5 w 385"/>
                <a:gd name="T69" fmla="*/ 388 h 420"/>
                <a:gd name="T70" fmla="*/ 5 w 385"/>
                <a:gd name="T71" fmla="*/ 416 h 420"/>
                <a:gd name="T72" fmla="*/ 5 w 385"/>
                <a:gd name="T73" fmla="*/ 420 h 420"/>
                <a:gd name="T74" fmla="*/ 5 w 385"/>
                <a:gd name="T75" fmla="*/ 397 h 420"/>
                <a:gd name="T76" fmla="*/ 5 w 385"/>
                <a:gd name="T77" fmla="*/ 399 h 420"/>
                <a:gd name="T78" fmla="*/ 5 w 385"/>
                <a:gd name="T79" fmla="*/ 389 h 420"/>
                <a:gd name="T80" fmla="*/ 5 w 385"/>
                <a:gd name="T81" fmla="*/ 327 h 420"/>
                <a:gd name="T82" fmla="*/ 5 w 385"/>
                <a:gd name="T83" fmla="*/ 315 h 420"/>
                <a:gd name="T84" fmla="*/ 5 w 385"/>
                <a:gd name="T85" fmla="*/ 306 h 420"/>
                <a:gd name="T86" fmla="*/ 5 w 385"/>
                <a:gd name="T87" fmla="*/ 305 h 420"/>
                <a:gd name="T88" fmla="*/ 5 w 385"/>
                <a:gd name="T89" fmla="*/ 260 h 420"/>
                <a:gd name="T90" fmla="*/ 5 w 385"/>
                <a:gd name="T91" fmla="*/ 219 h 420"/>
                <a:gd name="T92" fmla="*/ 5 w 385"/>
                <a:gd name="T93" fmla="*/ 195 h 420"/>
                <a:gd name="T94" fmla="*/ 5 w 385"/>
                <a:gd name="T95" fmla="*/ 180 h 420"/>
                <a:gd name="T96" fmla="*/ 5 w 385"/>
                <a:gd name="T97" fmla="*/ 172 h 420"/>
                <a:gd name="T98" fmla="*/ 5 w 385"/>
                <a:gd name="T99" fmla="*/ 148 h 420"/>
                <a:gd name="T100" fmla="*/ 5 w 385"/>
                <a:gd name="T101" fmla="*/ 108 h 420"/>
                <a:gd name="T102" fmla="*/ 5 w 385"/>
                <a:gd name="T103" fmla="*/ 89 h 420"/>
                <a:gd name="T104" fmla="*/ 5 w 385"/>
                <a:gd name="T105" fmla="*/ 67 h 420"/>
                <a:gd name="T106" fmla="*/ 5 w 385"/>
                <a:gd name="T107" fmla="*/ 57 h 420"/>
                <a:gd name="T108" fmla="*/ 5 w 385"/>
                <a:gd name="T109" fmla="*/ 35 h 420"/>
                <a:gd name="T110" fmla="*/ 5 w 385"/>
                <a:gd name="T111" fmla="*/ 14 h 420"/>
                <a:gd name="T112" fmla="*/ 5 w 385"/>
                <a:gd name="T113" fmla="*/ 17 h 420"/>
                <a:gd name="T114" fmla="*/ 5 w 385"/>
                <a:gd name="T115" fmla="*/ 0 h 420"/>
                <a:gd name="T116" fmla="*/ 5 w 385"/>
                <a:gd name="T117" fmla="*/ 8 h 4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85"/>
                <a:gd name="T178" fmla="*/ 0 h 420"/>
                <a:gd name="T179" fmla="*/ 385 w 385"/>
                <a:gd name="T180" fmla="*/ 420 h 4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85" h="420">
                  <a:moveTo>
                    <a:pt x="213" y="8"/>
                  </a:moveTo>
                  <a:lnTo>
                    <a:pt x="204" y="19"/>
                  </a:lnTo>
                  <a:lnTo>
                    <a:pt x="166" y="15"/>
                  </a:lnTo>
                  <a:lnTo>
                    <a:pt x="156" y="0"/>
                  </a:lnTo>
                  <a:lnTo>
                    <a:pt x="145" y="0"/>
                  </a:lnTo>
                  <a:lnTo>
                    <a:pt x="126" y="34"/>
                  </a:lnTo>
                  <a:lnTo>
                    <a:pt x="114" y="74"/>
                  </a:lnTo>
                  <a:lnTo>
                    <a:pt x="108" y="134"/>
                  </a:lnTo>
                  <a:lnTo>
                    <a:pt x="80" y="166"/>
                  </a:lnTo>
                  <a:lnTo>
                    <a:pt x="71" y="208"/>
                  </a:lnTo>
                  <a:lnTo>
                    <a:pt x="44" y="229"/>
                  </a:lnTo>
                  <a:lnTo>
                    <a:pt x="39" y="220"/>
                  </a:lnTo>
                  <a:lnTo>
                    <a:pt x="23" y="229"/>
                  </a:lnTo>
                  <a:lnTo>
                    <a:pt x="12" y="226"/>
                  </a:lnTo>
                  <a:lnTo>
                    <a:pt x="4" y="232"/>
                  </a:lnTo>
                  <a:lnTo>
                    <a:pt x="0" y="253"/>
                  </a:lnTo>
                  <a:lnTo>
                    <a:pt x="4" y="263"/>
                  </a:lnTo>
                  <a:lnTo>
                    <a:pt x="23" y="252"/>
                  </a:lnTo>
                  <a:lnTo>
                    <a:pt x="73" y="251"/>
                  </a:lnTo>
                  <a:lnTo>
                    <a:pt x="85" y="258"/>
                  </a:lnTo>
                  <a:lnTo>
                    <a:pt x="92" y="286"/>
                  </a:lnTo>
                  <a:lnTo>
                    <a:pt x="112" y="305"/>
                  </a:lnTo>
                  <a:lnTo>
                    <a:pt x="139" y="302"/>
                  </a:lnTo>
                  <a:lnTo>
                    <a:pt x="145" y="280"/>
                  </a:lnTo>
                  <a:lnTo>
                    <a:pt x="170" y="276"/>
                  </a:lnTo>
                  <a:lnTo>
                    <a:pt x="170" y="283"/>
                  </a:lnTo>
                  <a:lnTo>
                    <a:pt x="187" y="286"/>
                  </a:lnTo>
                  <a:lnTo>
                    <a:pt x="189" y="292"/>
                  </a:lnTo>
                  <a:lnTo>
                    <a:pt x="191" y="338"/>
                  </a:lnTo>
                  <a:lnTo>
                    <a:pt x="199" y="360"/>
                  </a:lnTo>
                  <a:lnTo>
                    <a:pt x="193" y="371"/>
                  </a:lnTo>
                  <a:lnTo>
                    <a:pt x="197" y="377"/>
                  </a:lnTo>
                  <a:lnTo>
                    <a:pt x="236" y="367"/>
                  </a:lnTo>
                  <a:lnTo>
                    <a:pt x="277" y="390"/>
                  </a:lnTo>
                  <a:lnTo>
                    <a:pt x="295" y="388"/>
                  </a:lnTo>
                  <a:lnTo>
                    <a:pt x="328" y="416"/>
                  </a:lnTo>
                  <a:lnTo>
                    <a:pt x="345" y="420"/>
                  </a:lnTo>
                  <a:lnTo>
                    <a:pt x="347" y="397"/>
                  </a:lnTo>
                  <a:lnTo>
                    <a:pt x="335" y="399"/>
                  </a:lnTo>
                  <a:lnTo>
                    <a:pt x="327" y="389"/>
                  </a:lnTo>
                  <a:lnTo>
                    <a:pt x="333" y="327"/>
                  </a:lnTo>
                  <a:lnTo>
                    <a:pt x="337" y="315"/>
                  </a:lnTo>
                  <a:lnTo>
                    <a:pt x="368" y="306"/>
                  </a:lnTo>
                  <a:lnTo>
                    <a:pt x="374" y="305"/>
                  </a:lnTo>
                  <a:lnTo>
                    <a:pt x="350" y="260"/>
                  </a:lnTo>
                  <a:lnTo>
                    <a:pt x="348" y="219"/>
                  </a:lnTo>
                  <a:lnTo>
                    <a:pt x="345" y="195"/>
                  </a:lnTo>
                  <a:lnTo>
                    <a:pt x="341" y="180"/>
                  </a:lnTo>
                  <a:lnTo>
                    <a:pt x="339" y="172"/>
                  </a:lnTo>
                  <a:lnTo>
                    <a:pt x="352" y="148"/>
                  </a:lnTo>
                  <a:lnTo>
                    <a:pt x="357" y="108"/>
                  </a:lnTo>
                  <a:lnTo>
                    <a:pt x="369" y="89"/>
                  </a:lnTo>
                  <a:lnTo>
                    <a:pt x="385" y="67"/>
                  </a:lnTo>
                  <a:lnTo>
                    <a:pt x="375" y="57"/>
                  </a:lnTo>
                  <a:lnTo>
                    <a:pt x="376" y="35"/>
                  </a:lnTo>
                  <a:lnTo>
                    <a:pt x="354" y="14"/>
                  </a:lnTo>
                  <a:lnTo>
                    <a:pt x="322" y="17"/>
                  </a:lnTo>
                  <a:lnTo>
                    <a:pt x="308" y="0"/>
                  </a:lnTo>
                  <a:lnTo>
                    <a:pt x="213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3" name="Freeform 145"/>
            <p:cNvSpPr>
              <a:spLocks noChangeAspect="1"/>
            </p:cNvSpPr>
            <p:nvPr/>
          </p:nvSpPr>
          <p:spPr bwMode="auto">
            <a:xfrm>
              <a:off x="3244" y="2244"/>
              <a:ext cx="238" cy="187"/>
            </a:xfrm>
            <a:custGeom>
              <a:avLst/>
              <a:gdLst>
                <a:gd name="T0" fmla="*/ 3 w 265"/>
                <a:gd name="T1" fmla="*/ 142 h 187"/>
                <a:gd name="T2" fmla="*/ 0 w 265"/>
                <a:gd name="T3" fmla="*/ 120 h 187"/>
                <a:gd name="T4" fmla="*/ 4 w 265"/>
                <a:gd name="T5" fmla="*/ 81 h 187"/>
                <a:gd name="T6" fmla="*/ 4 w 265"/>
                <a:gd name="T7" fmla="*/ 68 h 187"/>
                <a:gd name="T8" fmla="*/ 4 w 265"/>
                <a:gd name="T9" fmla="*/ 55 h 187"/>
                <a:gd name="T10" fmla="*/ 4 w 265"/>
                <a:gd name="T11" fmla="*/ 49 h 187"/>
                <a:gd name="T12" fmla="*/ 4 w 265"/>
                <a:gd name="T13" fmla="*/ 41 h 187"/>
                <a:gd name="T14" fmla="*/ 4 w 265"/>
                <a:gd name="T15" fmla="*/ 6 h 187"/>
                <a:gd name="T16" fmla="*/ 4 w 265"/>
                <a:gd name="T17" fmla="*/ 0 h 187"/>
                <a:gd name="T18" fmla="*/ 4 w 265"/>
                <a:gd name="T19" fmla="*/ 26 h 187"/>
                <a:gd name="T20" fmla="*/ 4 w 265"/>
                <a:gd name="T21" fmla="*/ 47 h 187"/>
                <a:gd name="T22" fmla="*/ 4 w 265"/>
                <a:gd name="T23" fmla="*/ 64 h 187"/>
                <a:gd name="T24" fmla="*/ 4 w 265"/>
                <a:gd name="T25" fmla="*/ 134 h 187"/>
                <a:gd name="T26" fmla="*/ 4 w 265"/>
                <a:gd name="T27" fmla="*/ 142 h 187"/>
                <a:gd name="T28" fmla="*/ 4 w 265"/>
                <a:gd name="T29" fmla="*/ 153 h 187"/>
                <a:gd name="T30" fmla="*/ 4 w 265"/>
                <a:gd name="T31" fmla="*/ 149 h 187"/>
                <a:gd name="T32" fmla="*/ 4 w 265"/>
                <a:gd name="T33" fmla="*/ 134 h 187"/>
                <a:gd name="T34" fmla="*/ 4 w 265"/>
                <a:gd name="T35" fmla="*/ 134 h 187"/>
                <a:gd name="T36" fmla="*/ 4 w 265"/>
                <a:gd name="T37" fmla="*/ 168 h 187"/>
                <a:gd name="T38" fmla="*/ 4 w 265"/>
                <a:gd name="T39" fmla="*/ 174 h 187"/>
                <a:gd name="T40" fmla="*/ 4 w 265"/>
                <a:gd name="T41" fmla="*/ 168 h 187"/>
                <a:gd name="T42" fmla="*/ 4 w 265"/>
                <a:gd name="T43" fmla="*/ 175 h 187"/>
                <a:gd name="T44" fmla="*/ 4 w 265"/>
                <a:gd name="T45" fmla="*/ 187 h 187"/>
                <a:gd name="T46" fmla="*/ 3 w 265"/>
                <a:gd name="T47" fmla="*/ 142 h 18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5"/>
                <a:gd name="T73" fmla="*/ 0 h 187"/>
                <a:gd name="T74" fmla="*/ 265 w 265"/>
                <a:gd name="T75" fmla="*/ 187 h 18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5" h="187">
                  <a:moveTo>
                    <a:pt x="3" y="142"/>
                  </a:moveTo>
                  <a:lnTo>
                    <a:pt x="0" y="120"/>
                  </a:lnTo>
                  <a:lnTo>
                    <a:pt x="17" y="81"/>
                  </a:lnTo>
                  <a:lnTo>
                    <a:pt x="80" y="68"/>
                  </a:lnTo>
                  <a:lnTo>
                    <a:pt x="93" y="55"/>
                  </a:lnTo>
                  <a:lnTo>
                    <a:pt x="89" y="49"/>
                  </a:lnTo>
                  <a:lnTo>
                    <a:pt x="121" y="41"/>
                  </a:lnTo>
                  <a:lnTo>
                    <a:pt x="148" y="6"/>
                  </a:lnTo>
                  <a:lnTo>
                    <a:pt x="167" y="0"/>
                  </a:lnTo>
                  <a:lnTo>
                    <a:pt x="184" y="26"/>
                  </a:lnTo>
                  <a:lnTo>
                    <a:pt x="182" y="47"/>
                  </a:lnTo>
                  <a:lnTo>
                    <a:pt x="212" y="64"/>
                  </a:lnTo>
                  <a:lnTo>
                    <a:pt x="265" y="134"/>
                  </a:lnTo>
                  <a:lnTo>
                    <a:pt x="170" y="142"/>
                  </a:lnTo>
                  <a:lnTo>
                    <a:pt x="161" y="153"/>
                  </a:lnTo>
                  <a:lnTo>
                    <a:pt x="123" y="149"/>
                  </a:lnTo>
                  <a:lnTo>
                    <a:pt x="113" y="134"/>
                  </a:lnTo>
                  <a:lnTo>
                    <a:pt x="102" y="134"/>
                  </a:lnTo>
                  <a:lnTo>
                    <a:pt x="83" y="168"/>
                  </a:lnTo>
                  <a:lnTo>
                    <a:pt x="70" y="174"/>
                  </a:lnTo>
                  <a:lnTo>
                    <a:pt x="58" y="168"/>
                  </a:lnTo>
                  <a:lnTo>
                    <a:pt x="42" y="175"/>
                  </a:lnTo>
                  <a:lnTo>
                    <a:pt x="32" y="187"/>
                  </a:lnTo>
                  <a:lnTo>
                    <a:pt x="3" y="14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4" name="Freeform 146"/>
            <p:cNvSpPr>
              <a:spLocks noChangeAspect="1"/>
            </p:cNvSpPr>
            <p:nvPr/>
          </p:nvSpPr>
          <p:spPr bwMode="auto">
            <a:xfrm>
              <a:off x="2886" y="2152"/>
              <a:ext cx="138" cy="125"/>
            </a:xfrm>
            <a:custGeom>
              <a:avLst/>
              <a:gdLst>
                <a:gd name="T0" fmla="*/ 5 w 153"/>
                <a:gd name="T1" fmla="*/ 52 h 125"/>
                <a:gd name="T2" fmla="*/ 5 w 153"/>
                <a:gd name="T3" fmla="*/ 53 h 125"/>
                <a:gd name="T4" fmla="*/ 5 w 153"/>
                <a:gd name="T5" fmla="*/ 21 h 125"/>
                <a:gd name="T6" fmla="*/ 5 w 153"/>
                <a:gd name="T7" fmla="*/ 0 h 125"/>
                <a:gd name="T8" fmla="*/ 5 w 153"/>
                <a:gd name="T9" fmla="*/ 2 h 125"/>
                <a:gd name="T10" fmla="*/ 5 w 153"/>
                <a:gd name="T11" fmla="*/ 31 h 125"/>
                <a:gd name="T12" fmla="*/ 5 w 153"/>
                <a:gd name="T13" fmla="*/ 39 h 125"/>
                <a:gd name="T14" fmla="*/ 5 w 153"/>
                <a:gd name="T15" fmla="*/ 79 h 125"/>
                <a:gd name="T16" fmla="*/ 0 w 153"/>
                <a:gd name="T17" fmla="*/ 106 h 125"/>
                <a:gd name="T18" fmla="*/ 5 w 153"/>
                <a:gd name="T19" fmla="*/ 118 h 125"/>
                <a:gd name="T20" fmla="*/ 5 w 153"/>
                <a:gd name="T21" fmla="*/ 114 h 125"/>
                <a:gd name="T22" fmla="*/ 5 w 153"/>
                <a:gd name="T23" fmla="*/ 125 h 125"/>
                <a:gd name="T24" fmla="*/ 5 w 153"/>
                <a:gd name="T25" fmla="*/ 96 h 125"/>
                <a:gd name="T26" fmla="*/ 5 w 153"/>
                <a:gd name="T27" fmla="*/ 91 h 125"/>
                <a:gd name="T28" fmla="*/ 5 w 153"/>
                <a:gd name="T29" fmla="*/ 89 h 125"/>
                <a:gd name="T30" fmla="*/ 5 w 153"/>
                <a:gd name="T31" fmla="*/ 91 h 125"/>
                <a:gd name="T32" fmla="*/ 5 w 153"/>
                <a:gd name="T33" fmla="*/ 80 h 125"/>
                <a:gd name="T34" fmla="*/ 5 w 153"/>
                <a:gd name="T35" fmla="*/ 82 h 125"/>
                <a:gd name="T36" fmla="*/ 5 w 153"/>
                <a:gd name="T37" fmla="*/ 70 h 125"/>
                <a:gd name="T38" fmla="*/ 5 w 153"/>
                <a:gd name="T39" fmla="*/ 52 h 12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53"/>
                <a:gd name="T61" fmla="*/ 0 h 125"/>
                <a:gd name="T62" fmla="*/ 153 w 153"/>
                <a:gd name="T63" fmla="*/ 125 h 12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53" h="125">
                  <a:moveTo>
                    <a:pt x="146" y="52"/>
                  </a:moveTo>
                  <a:lnTo>
                    <a:pt x="134" y="53"/>
                  </a:lnTo>
                  <a:lnTo>
                    <a:pt x="112" y="21"/>
                  </a:lnTo>
                  <a:lnTo>
                    <a:pt x="109" y="0"/>
                  </a:lnTo>
                  <a:lnTo>
                    <a:pt x="91" y="2"/>
                  </a:lnTo>
                  <a:lnTo>
                    <a:pt x="55" y="31"/>
                  </a:lnTo>
                  <a:lnTo>
                    <a:pt x="30" y="39"/>
                  </a:lnTo>
                  <a:lnTo>
                    <a:pt x="5" y="79"/>
                  </a:lnTo>
                  <a:lnTo>
                    <a:pt x="0" y="106"/>
                  </a:lnTo>
                  <a:lnTo>
                    <a:pt x="7" y="118"/>
                  </a:lnTo>
                  <a:lnTo>
                    <a:pt x="33" y="114"/>
                  </a:lnTo>
                  <a:lnTo>
                    <a:pt x="51" y="125"/>
                  </a:lnTo>
                  <a:lnTo>
                    <a:pt x="46" y="96"/>
                  </a:lnTo>
                  <a:lnTo>
                    <a:pt x="51" y="91"/>
                  </a:lnTo>
                  <a:lnTo>
                    <a:pt x="101" y="89"/>
                  </a:lnTo>
                  <a:lnTo>
                    <a:pt x="123" y="91"/>
                  </a:lnTo>
                  <a:lnTo>
                    <a:pt x="134" y="80"/>
                  </a:lnTo>
                  <a:lnTo>
                    <a:pt x="144" y="82"/>
                  </a:lnTo>
                  <a:lnTo>
                    <a:pt x="153" y="70"/>
                  </a:lnTo>
                  <a:lnTo>
                    <a:pt x="146" y="5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5" name="Freeform 147"/>
            <p:cNvSpPr>
              <a:spLocks noChangeAspect="1"/>
            </p:cNvSpPr>
            <p:nvPr/>
          </p:nvSpPr>
          <p:spPr bwMode="auto">
            <a:xfrm>
              <a:off x="2984" y="1955"/>
              <a:ext cx="286" cy="272"/>
            </a:xfrm>
            <a:custGeom>
              <a:avLst/>
              <a:gdLst>
                <a:gd name="T0" fmla="*/ 5 w 317"/>
                <a:gd name="T1" fmla="*/ 224 h 272"/>
                <a:gd name="T2" fmla="*/ 5 w 317"/>
                <a:gd name="T3" fmla="*/ 212 h 272"/>
                <a:gd name="T4" fmla="*/ 5 w 317"/>
                <a:gd name="T5" fmla="*/ 147 h 272"/>
                <a:gd name="T6" fmla="*/ 5 w 317"/>
                <a:gd name="T7" fmla="*/ 72 h 272"/>
                <a:gd name="T8" fmla="*/ 5 w 317"/>
                <a:gd name="T9" fmla="*/ 65 h 272"/>
                <a:gd name="T10" fmla="*/ 5 w 317"/>
                <a:gd name="T11" fmla="*/ 48 h 272"/>
                <a:gd name="T12" fmla="*/ 5 w 317"/>
                <a:gd name="T13" fmla="*/ 13 h 272"/>
                <a:gd name="T14" fmla="*/ 5 w 317"/>
                <a:gd name="T15" fmla="*/ 3 h 272"/>
                <a:gd name="T16" fmla="*/ 5 w 317"/>
                <a:gd name="T17" fmla="*/ 0 h 272"/>
                <a:gd name="T18" fmla="*/ 5 w 317"/>
                <a:gd name="T19" fmla="*/ 94 h 272"/>
                <a:gd name="T20" fmla="*/ 5 w 317"/>
                <a:gd name="T21" fmla="*/ 101 h 272"/>
                <a:gd name="T22" fmla="*/ 5 w 317"/>
                <a:gd name="T23" fmla="*/ 170 h 272"/>
                <a:gd name="T24" fmla="*/ 5 w 317"/>
                <a:gd name="T25" fmla="*/ 180 h 272"/>
                <a:gd name="T26" fmla="*/ 0 w 317"/>
                <a:gd name="T27" fmla="*/ 197 h 272"/>
                <a:gd name="T28" fmla="*/ 3 w 317"/>
                <a:gd name="T29" fmla="*/ 218 h 272"/>
                <a:gd name="T30" fmla="*/ 5 w 317"/>
                <a:gd name="T31" fmla="*/ 250 h 272"/>
                <a:gd name="T32" fmla="*/ 5 w 317"/>
                <a:gd name="T33" fmla="*/ 249 h 272"/>
                <a:gd name="T34" fmla="*/ 5 w 317"/>
                <a:gd name="T35" fmla="*/ 267 h 272"/>
                <a:gd name="T36" fmla="*/ 5 w 317"/>
                <a:gd name="T37" fmla="*/ 259 h 272"/>
                <a:gd name="T38" fmla="*/ 5 w 317"/>
                <a:gd name="T39" fmla="*/ 258 h 272"/>
                <a:gd name="T40" fmla="*/ 5 w 317"/>
                <a:gd name="T41" fmla="*/ 272 h 272"/>
                <a:gd name="T42" fmla="*/ 5 w 317"/>
                <a:gd name="T43" fmla="*/ 250 h 272"/>
                <a:gd name="T44" fmla="*/ 5 w 317"/>
                <a:gd name="T45" fmla="*/ 226 h 272"/>
                <a:gd name="T46" fmla="*/ 5 w 317"/>
                <a:gd name="T47" fmla="*/ 224 h 272"/>
                <a:gd name="T48" fmla="*/ 5 w 317"/>
                <a:gd name="T49" fmla="*/ 243 h 272"/>
                <a:gd name="T50" fmla="*/ 5 w 317"/>
                <a:gd name="T51" fmla="*/ 235 h 272"/>
                <a:gd name="T52" fmla="*/ 5 w 317"/>
                <a:gd name="T53" fmla="*/ 248 h 272"/>
                <a:gd name="T54" fmla="*/ 5 w 317"/>
                <a:gd name="T55" fmla="*/ 235 h 272"/>
                <a:gd name="T56" fmla="*/ 5 w 317"/>
                <a:gd name="T57" fmla="*/ 238 h 272"/>
                <a:gd name="T58" fmla="*/ 5 w 317"/>
                <a:gd name="T59" fmla="*/ 224 h 272"/>
                <a:gd name="T60" fmla="*/ 5 w 317"/>
                <a:gd name="T61" fmla="*/ 224 h 27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17"/>
                <a:gd name="T94" fmla="*/ 0 h 272"/>
                <a:gd name="T95" fmla="*/ 317 w 317"/>
                <a:gd name="T96" fmla="*/ 272 h 27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17" h="272">
                  <a:moveTo>
                    <a:pt x="267" y="224"/>
                  </a:moveTo>
                  <a:lnTo>
                    <a:pt x="265" y="212"/>
                  </a:lnTo>
                  <a:lnTo>
                    <a:pt x="305" y="147"/>
                  </a:lnTo>
                  <a:lnTo>
                    <a:pt x="317" y="72"/>
                  </a:lnTo>
                  <a:lnTo>
                    <a:pt x="306" y="65"/>
                  </a:lnTo>
                  <a:lnTo>
                    <a:pt x="297" y="48"/>
                  </a:lnTo>
                  <a:lnTo>
                    <a:pt x="297" y="13"/>
                  </a:lnTo>
                  <a:lnTo>
                    <a:pt x="277" y="3"/>
                  </a:lnTo>
                  <a:lnTo>
                    <a:pt x="233" y="0"/>
                  </a:lnTo>
                  <a:lnTo>
                    <a:pt x="109" y="94"/>
                  </a:lnTo>
                  <a:lnTo>
                    <a:pt x="80" y="101"/>
                  </a:lnTo>
                  <a:lnTo>
                    <a:pt x="80" y="170"/>
                  </a:lnTo>
                  <a:lnTo>
                    <a:pt x="73" y="180"/>
                  </a:lnTo>
                  <a:lnTo>
                    <a:pt x="0" y="197"/>
                  </a:lnTo>
                  <a:lnTo>
                    <a:pt x="3" y="218"/>
                  </a:lnTo>
                  <a:lnTo>
                    <a:pt x="25" y="250"/>
                  </a:lnTo>
                  <a:lnTo>
                    <a:pt x="37" y="249"/>
                  </a:lnTo>
                  <a:lnTo>
                    <a:pt x="44" y="267"/>
                  </a:lnTo>
                  <a:lnTo>
                    <a:pt x="49" y="259"/>
                  </a:lnTo>
                  <a:lnTo>
                    <a:pt x="61" y="258"/>
                  </a:lnTo>
                  <a:lnTo>
                    <a:pt x="68" y="272"/>
                  </a:lnTo>
                  <a:lnTo>
                    <a:pt x="71" y="250"/>
                  </a:lnTo>
                  <a:lnTo>
                    <a:pt x="90" y="226"/>
                  </a:lnTo>
                  <a:lnTo>
                    <a:pt x="109" y="224"/>
                  </a:lnTo>
                  <a:lnTo>
                    <a:pt x="137" y="243"/>
                  </a:lnTo>
                  <a:lnTo>
                    <a:pt x="153" y="235"/>
                  </a:lnTo>
                  <a:lnTo>
                    <a:pt x="182" y="248"/>
                  </a:lnTo>
                  <a:lnTo>
                    <a:pt x="206" y="235"/>
                  </a:lnTo>
                  <a:lnTo>
                    <a:pt x="243" y="238"/>
                  </a:lnTo>
                  <a:lnTo>
                    <a:pt x="261" y="224"/>
                  </a:lnTo>
                  <a:lnTo>
                    <a:pt x="267" y="2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6" name="Freeform 148"/>
            <p:cNvSpPr>
              <a:spLocks noChangeAspect="1"/>
            </p:cNvSpPr>
            <p:nvPr/>
          </p:nvSpPr>
          <p:spPr bwMode="auto">
            <a:xfrm>
              <a:off x="2761" y="1921"/>
              <a:ext cx="294" cy="340"/>
            </a:xfrm>
            <a:custGeom>
              <a:avLst/>
              <a:gdLst>
                <a:gd name="T0" fmla="*/ 4 w 327"/>
                <a:gd name="T1" fmla="*/ 231 h 340"/>
                <a:gd name="T2" fmla="*/ 4 w 327"/>
                <a:gd name="T3" fmla="*/ 214 h 340"/>
                <a:gd name="T4" fmla="*/ 4 w 327"/>
                <a:gd name="T5" fmla="*/ 204 h 340"/>
                <a:gd name="T6" fmla="*/ 4 w 327"/>
                <a:gd name="T7" fmla="*/ 135 h 340"/>
                <a:gd name="T8" fmla="*/ 4 w 327"/>
                <a:gd name="T9" fmla="*/ 138 h 340"/>
                <a:gd name="T10" fmla="*/ 4 w 327"/>
                <a:gd name="T11" fmla="*/ 117 h 340"/>
                <a:gd name="T12" fmla="*/ 4 w 327"/>
                <a:gd name="T13" fmla="*/ 106 h 340"/>
                <a:gd name="T14" fmla="*/ 4 w 327"/>
                <a:gd name="T15" fmla="*/ 87 h 340"/>
                <a:gd name="T16" fmla="*/ 4 w 327"/>
                <a:gd name="T17" fmla="*/ 0 h 340"/>
                <a:gd name="T18" fmla="*/ 4 w 327"/>
                <a:gd name="T19" fmla="*/ 0 h 340"/>
                <a:gd name="T20" fmla="*/ 4 w 327"/>
                <a:gd name="T21" fmla="*/ 218 h 340"/>
                <a:gd name="T22" fmla="*/ 4 w 327"/>
                <a:gd name="T23" fmla="*/ 218 h 340"/>
                <a:gd name="T24" fmla="*/ 4 w 327"/>
                <a:gd name="T25" fmla="*/ 226 h 340"/>
                <a:gd name="T26" fmla="*/ 4 w 327"/>
                <a:gd name="T27" fmla="*/ 210 h 340"/>
                <a:gd name="T28" fmla="*/ 0 w 327"/>
                <a:gd name="T29" fmla="*/ 236 h 340"/>
                <a:gd name="T30" fmla="*/ 4 w 327"/>
                <a:gd name="T31" fmla="*/ 289 h 340"/>
                <a:gd name="T32" fmla="*/ 4 w 327"/>
                <a:gd name="T33" fmla="*/ 299 h 340"/>
                <a:gd name="T34" fmla="*/ 4 w 327"/>
                <a:gd name="T35" fmla="*/ 288 h 340"/>
                <a:gd name="T36" fmla="*/ 4 w 327"/>
                <a:gd name="T37" fmla="*/ 340 h 340"/>
                <a:gd name="T38" fmla="*/ 4 w 327"/>
                <a:gd name="T39" fmla="*/ 335 h 340"/>
                <a:gd name="T40" fmla="*/ 4 w 327"/>
                <a:gd name="T41" fmla="*/ 340 h 340"/>
                <a:gd name="T42" fmla="*/ 4 w 327"/>
                <a:gd name="T43" fmla="*/ 329 h 340"/>
                <a:gd name="T44" fmla="*/ 4 w 327"/>
                <a:gd name="T45" fmla="*/ 339 h 340"/>
                <a:gd name="T46" fmla="*/ 4 w 327"/>
                <a:gd name="T47" fmla="*/ 337 h 340"/>
                <a:gd name="T48" fmla="*/ 4 w 327"/>
                <a:gd name="T49" fmla="*/ 310 h 340"/>
                <a:gd name="T50" fmla="*/ 4 w 327"/>
                <a:gd name="T51" fmla="*/ 270 h 340"/>
                <a:gd name="T52" fmla="*/ 4 w 327"/>
                <a:gd name="T53" fmla="*/ 262 h 340"/>
                <a:gd name="T54" fmla="*/ 4 w 327"/>
                <a:gd name="T55" fmla="*/ 233 h 340"/>
                <a:gd name="T56" fmla="*/ 4 w 327"/>
                <a:gd name="T57" fmla="*/ 231 h 34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27"/>
                <a:gd name="T88" fmla="*/ 0 h 340"/>
                <a:gd name="T89" fmla="*/ 327 w 327"/>
                <a:gd name="T90" fmla="*/ 340 h 34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27" h="340">
                  <a:moveTo>
                    <a:pt x="247" y="231"/>
                  </a:moveTo>
                  <a:lnTo>
                    <a:pt x="320" y="214"/>
                  </a:lnTo>
                  <a:lnTo>
                    <a:pt x="327" y="204"/>
                  </a:lnTo>
                  <a:lnTo>
                    <a:pt x="327" y="135"/>
                  </a:lnTo>
                  <a:lnTo>
                    <a:pt x="309" y="138"/>
                  </a:lnTo>
                  <a:lnTo>
                    <a:pt x="307" y="117"/>
                  </a:lnTo>
                  <a:lnTo>
                    <a:pt x="280" y="106"/>
                  </a:lnTo>
                  <a:lnTo>
                    <a:pt x="265" y="87"/>
                  </a:lnTo>
                  <a:lnTo>
                    <a:pt x="151" y="0"/>
                  </a:lnTo>
                  <a:lnTo>
                    <a:pt x="117" y="0"/>
                  </a:lnTo>
                  <a:lnTo>
                    <a:pt x="133" y="218"/>
                  </a:lnTo>
                  <a:lnTo>
                    <a:pt x="46" y="218"/>
                  </a:lnTo>
                  <a:lnTo>
                    <a:pt x="29" y="226"/>
                  </a:lnTo>
                  <a:lnTo>
                    <a:pt x="17" y="210"/>
                  </a:lnTo>
                  <a:lnTo>
                    <a:pt x="0" y="236"/>
                  </a:lnTo>
                  <a:lnTo>
                    <a:pt x="16" y="289"/>
                  </a:lnTo>
                  <a:lnTo>
                    <a:pt x="26" y="299"/>
                  </a:lnTo>
                  <a:lnTo>
                    <a:pt x="59" y="288"/>
                  </a:lnTo>
                  <a:lnTo>
                    <a:pt x="82" y="340"/>
                  </a:lnTo>
                  <a:lnTo>
                    <a:pt x="87" y="335"/>
                  </a:lnTo>
                  <a:lnTo>
                    <a:pt x="98" y="340"/>
                  </a:lnTo>
                  <a:lnTo>
                    <a:pt x="114" y="329"/>
                  </a:lnTo>
                  <a:lnTo>
                    <a:pt x="121" y="339"/>
                  </a:lnTo>
                  <a:lnTo>
                    <a:pt x="138" y="337"/>
                  </a:lnTo>
                  <a:lnTo>
                    <a:pt x="143" y="310"/>
                  </a:lnTo>
                  <a:lnTo>
                    <a:pt x="168" y="270"/>
                  </a:lnTo>
                  <a:lnTo>
                    <a:pt x="193" y="262"/>
                  </a:lnTo>
                  <a:lnTo>
                    <a:pt x="229" y="233"/>
                  </a:lnTo>
                  <a:lnTo>
                    <a:pt x="247" y="23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7" name="Freeform 149"/>
            <p:cNvSpPr>
              <a:spLocks noChangeAspect="1"/>
            </p:cNvSpPr>
            <p:nvPr/>
          </p:nvSpPr>
          <p:spPr bwMode="auto">
            <a:xfrm>
              <a:off x="3377" y="1966"/>
              <a:ext cx="299" cy="447"/>
            </a:xfrm>
            <a:custGeom>
              <a:avLst/>
              <a:gdLst>
                <a:gd name="T0" fmla="*/ 5 w 331"/>
                <a:gd name="T1" fmla="*/ 408 h 447"/>
                <a:gd name="T2" fmla="*/ 5 w 331"/>
                <a:gd name="T3" fmla="*/ 402 h 447"/>
                <a:gd name="T4" fmla="*/ 5 w 331"/>
                <a:gd name="T5" fmla="*/ 361 h 447"/>
                <a:gd name="T6" fmla="*/ 5 w 331"/>
                <a:gd name="T7" fmla="*/ 348 h 447"/>
                <a:gd name="T8" fmla="*/ 5 w 331"/>
                <a:gd name="T9" fmla="*/ 336 h 447"/>
                <a:gd name="T10" fmla="*/ 5 w 331"/>
                <a:gd name="T11" fmla="*/ 333 h 447"/>
                <a:gd name="T12" fmla="*/ 5 w 331"/>
                <a:gd name="T13" fmla="*/ 290 h 447"/>
                <a:gd name="T14" fmla="*/ 5 w 331"/>
                <a:gd name="T15" fmla="*/ 233 h 447"/>
                <a:gd name="T16" fmla="*/ 5 w 331"/>
                <a:gd name="T17" fmla="*/ 141 h 447"/>
                <a:gd name="T18" fmla="*/ 5 w 331"/>
                <a:gd name="T19" fmla="*/ 128 h 447"/>
                <a:gd name="T20" fmla="*/ 5 w 331"/>
                <a:gd name="T21" fmla="*/ 117 h 447"/>
                <a:gd name="T22" fmla="*/ 5 w 331"/>
                <a:gd name="T23" fmla="*/ 102 h 447"/>
                <a:gd name="T24" fmla="*/ 5 w 331"/>
                <a:gd name="T25" fmla="*/ 23 h 447"/>
                <a:gd name="T26" fmla="*/ 5 w 331"/>
                <a:gd name="T27" fmla="*/ 8 h 447"/>
                <a:gd name="T28" fmla="*/ 5 w 331"/>
                <a:gd name="T29" fmla="*/ 0 h 447"/>
                <a:gd name="T30" fmla="*/ 5 w 331"/>
                <a:gd name="T31" fmla="*/ 28 h 447"/>
                <a:gd name="T32" fmla="*/ 5 w 331"/>
                <a:gd name="T33" fmla="*/ 23 h 447"/>
                <a:gd name="T34" fmla="*/ 5 w 331"/>
                <a:gd name="T35" fmla="*/ 23 h 447"/>
                <a:gd name="T36" fmla="*/ 5 w 331"/>
                <a:gd name="T37" fmla="*/ 23 h 447"/>
                <a:gd name="T38" fmla="*/ 5 w 331"/>
                <a:gd name="T39" fmla="*/ 66 h 447"/>
                <a:gd name="T40" fmla="*/ 5 w 331"/>
                <a:gd name="T41" fmla="*/ 70 h 447"/>
                <a:gd name="T42" fmla="*/ 5 w 331"/>
                <a:gd name="T43" fmla="*/ 83 h 447"/>
                <a:gd name="T44" fmla="*/ 5 w 331"/>
                <a:gd name="T45" fmla="*/ 162 h 447"/>
                <a:gd name="T46" fmla="*/ 5 w 331"/>
                <a:gd name="T47" fmla="*/ 169 h 447"/>
                <a:gd name="T48" fmla="*/ 5 w 331"/>
                <a:gd name="T49" fmla="*/ 169 h 447"/>
                <a:gd name="T50" fmla="*/ 0 w 331"/>
                <a:gd name="T51" fmla="*/ 232 h 447"/>
                <a:gd name="T52" fmla="*/ 5 w 331"/>
                <a:gd name="T53" fmla="*/ 268 h 447"/>
                <a:gd name="T54" fmla="*/ 5 w 331"/>
                <a:gd name="T55" fmla="*/ 278 h 447"/>
                <a:gd name="T56" fmla="*/ 5 w 331"/>
                <a:gd name="T57" fmla="*/ 304 h 447"/>
                <a:gd name="T58" fmla="*/ 5 w 331"/>
                <a:gd name="T59" fmla="*/ 325 h 447"/>
                <a:gd name="T60" fmla="*/ 5 w 331"/>
                <a:gd name="T61" fmla="*/ 342 h 447"/>
                <a:gd name="T62" fmla="*/ 5 w 331"/>
                <a:gd name="T63" fmla="*/ 412 h 447"/>
                <a:gd name="T64" fmla="*/ 5 w 331"/>
                <a:gd name="T65" fmla="*/ 429 h 447"/>
                <a:gd name="T66" fmla="*/ 5 w 331"/>
                <a:gd name="T67" fmla="*/ 426 h 447"/>
                <a:gd name="T68" fmla="*/ 5 w 331"/>
                <a:gd name="T69" fmla="*/ 447 h 447"/>
                <a:gd name="T70" fmla="*/ 5 w 331"/>
                <a:gd name="T71" fmla="*/ 447 h 447"/>
                <a:gd name="T72" fmla="*/ 5 w 331"/>
                <a:gd name="T73" fmla="*/ 437 h 447"/>
                <a:gd name="T74" fmla="*/ 5 w 331"/>
                <a:gd name="T75" fmla="*/ 425 h 447"/>
                <a:gd name="T76" fmla="*/ 5 w 331"/>
                <a:gd name="T77" fmla="*/ 425 h 447"/>
                <a:gd name="T78" fmla="*/ 5 w 331"/>
                <a:gd name="T79" fmla="*/ 408 h 44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1"/>
                <a:gd name="T121" fmla="*/ 0 h 447"/>
                <a:gd name="T122" fmla="*/ 331 w 331"/>
                <a:gd name="T123" fmla="*/ 447 h 44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1" h="447">
                  <a:moveTo>
                    <a:pt x="284" y="408"/>
                  </a:moveTo>
                  <a:lnTo>
                    <a:pt x="269" y="402"/>
                  </a:lnTo>
                  <a:lnTo>
                    <a:pt x="246" y="361"/>
                  </a:lnTo>
                  <a:lnTo>
                    <a:pt x="226" y="348"/>
                  </a:lnTo>
                  <a:lnTo>
                    <a:pt x="233" y="336"/>
                  </a:lnTo>
                  <a:lnTo>
                    <a:pt x="249" y="333"/>
                  </a:lnTo>
                  <a:lnTo>
                    <a:pt x="251" y="290"/>
                  </a:lnTo>
                  <a:lnTo>
                    <a:pt x="287" y="233"/>
                  </a:lnTo>
                  <a:lnTo>
                    <a:pt x="301" y="141"/>
                  </a:lnTo>
                  <a:lnTo>
                    <a:pt x="325" y="128"/>
                  </a:lnTo>
                  <a:lnTo>
                    <a:pt x="331" y="117"/>
                  </a:lnTo>
                  <a:lnTo>
                    <a:pt x="312" y="102"/>
                  </a:lnTo>
                  <a:lnTo>
                    <a:pt x="295" y="23"/>
                  </a:lnTo>
                  <a:lnTo>
                    <a:pt x="273" y="8"/>
                  </a:lnTo>
                  <a:lnTo>
                    <a:pt x="268" y="0"/>
                  </a:lnTo>
                  <a:lnTo>
                    <a:pt x="239" y="28"/>
                  </a:lnTo>
                  <a:lnTo>
                    <a:pt x="221" y="23"/>
                  </a:lnTo>
                  <a:lnTo>
                    <a:pt x="59" y="23"/>
                  </a:lnTo>
                  <a:lnTo>
                    <a:pt x="58" y="23"/>
                  </a:lnTo>
                  <a:lnTo>
                    <a:pt x="59" y="66"/>
                  </a:lnTo>
                  <a:lnTo>
                    <a:pt x="42" y="70"/>
                  </a:lnTo>
                  <a:lnTo>
                    <a:pt x="40" y="83"/>
                  </a:lnTo>
                  <a:lnTo>
                    <a:pt x="41" y="162"/>
                  </a:lnTo>
                  <a:lnTo>
                    <a:pt x="40" y="169"/>
                  </a:lnTo>
                  <a:lnTo>
                    <a:pt x="22" y="169"/>
                  </a:lnTo>
                  <a:lnTo>
                    <a:pt x="0" y="232"/>
                  </a:lnTo>
                  <a:lnTo>
                    <a:pt x="19" y="268"/>
                  </a:lnTo>
                  <a:lnTo>
                    <a:pt x="18" y="278"/>
                  </a:lnTo>
                  <a:lnTo>
                    <a:pt x="35" y="304"/>
                  </a:lnTo>
                  <a:lnTo>
                    <a:pt x="33" y="325"/>
                  </a:lnTo>
                  <a:lnTo>
                    <a:pt x="63" y="342"/>
                  </a:lnTo>
                  <a:lnTo>
                    <a:pt x="116" y="412"/>
                  </a:lnTo>
                  <a:lnTo>
                    <a:pt x="130" y="429"/>
                  </a:lnTo>
                  <a:lnTo>
                    <a:pt x="162" y="426"/>
                  </a:lnTo>
                  <a:lnTo>
                    <a:pt x="184" y="447"/>
                  </a:lnTo>
                  <a:lnTo>
                    <a:pt x="206" y="447"/>
                  </a:lnTo>
                  <a:lnTo>
                    <a:pt x="246" y="437"/>
                  </a:lnTo>
                  <a:lnTo>
                    <a:pt x="256" y="425"/>
                  </a:lnTo>
                  <a:lnTo>
                    <a:pt x="284" y="425"/>
                  </a:lnTo>
                  <a:lnTo>
                    <a:pt x="284" y="40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8" name="Freeform 150"/>
            <p:cNvSpPr>
              <a:spLocks noChangeAspect="1"/>
            </p:cNvSpPr>
            <p:nvPr/>
          </p:nvSpPr>
          <p:spPr bwMode="auto">
            <a:xfrm>
              <a:off x="3147" y="1733"/>
              <a:ext cx="284" cy="316"/>
            </a:xfrm>
            <a:custGeom>
              <a:avLst/>
              <a:gdLst>
                <a:gd name="T0" fmla="*/ 5 w 315"/>
                <a:gd name="T1" fmla="*/ 256 h 316"/>
                <a:gd name="T2" fmla="*/ 5 w 315"/>
                <a:gd name="T3" fmla="*/ 105 h 316"/>
                <a:gd name="T4" fmla="*/ 5 w 315"/>
                <a:gd name="T5" fmla="*/ 78 h 316"/>
                <a:gd name="T6" fmla="*/ 5 w 315"/>
                <a:gd name="T7" fmla="*/ 33 h 316"/>
                <a:gd name="T8" fmla="*/ 5 w 315"/>
                <a:gd name="T9" fmla="*/ 25 h 316"/>
                <a:gd name="T10" fmla="*/ 5 w 315"/>
                <a:gd name="T11" fmla="*/ 15 h 316"/>
                <a:gd name="T12" fmla="*/ 5 w 315"/>
                <a:gd name="T13" fmla="*/ 9 h 316"/>
                <a:gd name="T14" fmla="*/ 5 w 315"/>
                <a:gd name="T15" fmla="*/ 25 h 316"/>
                <a:gd name="T16" fmla="*/ 5 w 315"/>
                <a:gd name="T17" fmla="*/ 60 h 316"/>
                <a:gd name="T18" fmla="*/ 5 w 315"/>
                <a:gd name="T19" fmla="*/ 68 h 316"/>
                <a:gd name="T20" fmla="*/ 5 w 315"/>
                <a:gd name="T21" fmla="*/ 67 h 316"/>
                <a:gd name="T22" fmla="*/ 5 w 315"/>
                <a:gd name="T23" fmla="*/ 51 h 316"/>
                <a:gd name="T24" fmla="*/ 5 w 315"/>
                <a:gd name="T25" fmla="*/ 41 h 316"/>
                <a:gd name="T26" fmla="*/ 5 w 315"/>
                <a:gd name="T27" fmla="*/ 24 h 316"/>
                <a:gd name="T28" fmla="*/ 5 w 315"/>
                <a:gd name="T29" fmla="*/ 14 h 316"/>
                <a:gd name="T30" fmla="*/ 5 w 315"/>
                <a:gd name="T31" fmla="*/ 9 h 316"/>
                <a:gd name="T32" fmla="*/ 5 w 315"/>
                <a:gd name="T33" fmla="*/ 0 h 316"/>
                <a:gd name="T34" fmla="*/ 5 w 315"/>
                <a:gd name="T35" fmla="*/ 20 h 316"/>
                <a:gd name="T36" fmla="*/ 5 w 315"/>
                <a:gd name="T37" fmla="*/ 41 h 316"/>
                <a:gd name="T38" fmla="*/ 5 w 315"/>
                <a:gd name="T39" fmla="*/ 61 h 316"/>
                <a:gd name="T40" fmla="*/ 5 w 315"/>
                <a:gd name="T41" fmla="*/ 67 h 316"/>
                <a:gd name="T42" fmla="*/ 0 w 315"/>
                <a:gd name="T43" fmla="*/ 77 h 316"/>
                <a:gd name="T44" fmla="*/ 5 w 315"/>
                <a:gd name="T45" fmla="*/ 89 h 316"/>
                <a:gd name="T46" fmla="*/ 5 w 315"/>
                <a:gd name="T47" fmla="*/ 125 h 316"/>
                <a:gd name="T48" fmla="*/ 5 w 315"/>
                <a:gd name="T49" fmla="*/ 151 h 316"/>
                <a:gd name="T50" fmla="*/ 2 w 315"/>
                <a:gd name="T51" fmla="*/ 162 h 316"/>
                <a:gd name="T52" fmla="*/ 5 w 315"/>
                <a:gd name="T53" fmla="*/ 199 h 316"/>
                <a:gd name="T54" fmla="*/ 5 w 315"/>
                <a:gd name="T55" fmla="*/ 201 h 316"/>
                <a:gd name="T56" fmla="*/ 5 w 315"/>
                <a:gd name="T57" fmla="*/ 222 h 316"/>
                <a:gd name="T58" fmla="*/ 5 w 315"/>
                <a:gd name="T59" fmla="*/ 225 h 316"/>
                <a:gd name="T60" fmla="*/ 5 w 315"/>
                <a:gd name="T61" fmla="*/ 235 h 316"/>
                <a:gd name="T62" fmla="*/ 5 w 315"/>
                <a:gd name="T63" fmla="*/ 230 h 316"/>
                <a:gd name="T64" fmla="*/ 5 w 315"/>
                <a:gd name="T65" fmla="*/ 316 h 316"/>
                <a:gd name="T66" fmla="*/ 5 w 315"/>
                <a:gd name="T67" fmla="*/ 303 h 316"/>
                <a:gd name="T68" fmla="*/ 5 w 315"/>
                <a:gd name="T69" fmla="*/ 299 h 316"/>
                <a:gd name="T70" fmla="*/ 5 w 315"/>
                <a:gd name="T71" fmla="*/ 256 h 3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15"/>
                <a:gd name="T109" fmla="*/ 0 h 316"/>
                <a:gd name="T110" fmla="*/ 315 w 315"/>
                <a:gd name="T111" fmla="*/ 316 h 31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15" h="316">
                  <a:moveTo>
                    <a:pt x="314" y="256"/>
                  </a:moveTo>
                  <a:lnTo>
                    <a:pt x="311" y="105"/>
                  </a:lnTo>
                  <a:lnTo>
                    <a:pt x="302" y="78"/>
                  </a:lnTo>
                  <a:lnTo>
                    <a:pt x="308" y="33"/>
                  </a:lnTo>
                  <a:lnTo>
                    <a:pt x="272" y="25"/>
                  </a:lnTo>
                  <a:lnTo>
                    <a:pt x="269" y="15"/>
                  </a:lnTo>
                  <a:lnTo>
                    <a:pt x="245" y="9"/>
                  </a:lnTo>
                  <a:lnTo>
                    <a:pt x="212" y="25"/>
                  </a:lnTo>
                  <a:lnTo>
                    <a:pt x="210" y="60"/>
                  </a:lnTo>
                  <a:lnTo>
                    <a:pt x="195" y="68"/>
                  </a:lnTo>
                  <a:lnTo>
                    <a:pt x="186" y="67"/>
                  </a:lnTo>
                  <a:lnTo>
                    <a:pt x="163" y="51"/>
                  </a:lnTo>
                  <a:lnTo>
                    <a:pt x="125" y="41"/>
                  </a:lnTo>
                  <a:lnTo>
                    <a:pt x="120" y="24"/>
                  </a:lnTo>
                  <a:lnTo>
                    <a:pt x="97" y="14"/>
                  </a:lnTo>
                  <a:lnTo>
                    <a:pt x="58" y="9"/>
                  </a:lnTo>
                  <a:lnTo>
                    <a:pt x="38" y="0"/>
                  </a:lnTo>
                  <a:lnTo>
                    <a:pt x="40" y="20"/>
                  </a:lnTo>
                  <a:lnTo>
                    <a:pt x="17" y="41"/>
                  </a:lnTo>
                  <a:lnTo>
                    <a:pt x="17" y="61"/>
                  </a:lnTo>
                  <a:lnTo>
                    <a:pt x="5" y="67"/>
                  </a:lnTo>
                  <a:lnTo>
                    <a:pt x="0" y="77"/>
                  </a:lnTo>
                  <a:lnTo>
                    <a:pt x="8" y="89"/>
                  </a:lnTo>
                  <a:lnTo>
                    <a:pt x="11" y="125"/>
                  </a:lnTo>
                  <a:lnTo>
                    <a:pt x="10" y="151"/>
                  </a:lnTo>
                  <a:lnTo>
                    <a:pt x="2" y="162"/>
                  </a:lnTo>
                  <a:lnTo>
                    <a:pt x="21" y="199"/>
                  </a:lnTo>
                  <a:lnTo>
                    <a:pt x="36" y="201"/>
                  </a:lnTo>
                  <a:lnTo>
                    <a:pt x="52" y="222"/>
                  </a:lnTo>
                  <a:lnTo>
                    <a:pt x="96" y="225"/>
                  </a:lnTo>
                  <a:lnTo>
                    <a:pt x="116" y="235"/>
                  </a:lnTo>
                  <a:lnTo>
                    <a:pt x="143" y="230"/>
                  </a:lnTo>
                  <a:lnTo>
                    <a:pt x="296" y="316"/>
                  </a:lnTo>
                  <a:lnTo>
                    <a:pt x="298" y="303"/>
                  </a:lnTo>
                  <a:lnTo>
                    <a:pt x="315" y="299"/>
                  </a:lnTo>
                  <a:lnTo>
                    <a:pt x="314" y="25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9" name="Freeform 151"/>
            <p:cNvSpPr>
              <a:spLocks noChangeAspect="1"/>
            </p:cNvSpPr>
            <p:nvPr/>
          </p:nvSpPr>
          <p:spPr bwMode="auto">
            <a:xfrm>
              <a:off x="2834" y="1647"/>
              <a:ext cx="360" cy="412"/>
            </a:xfrm>
            <a:custGeom>
              <a:avLst/>
              <a:gdLst>
                <a:gd name="T0" fmla="*/ 5 w 399"/>
                <a:gd name="T1" fmla="*/ 4 h 412"/>
                <a:gd name="T2" fmla="*/ 5 w 399"/>
                <a:gd name="T3" fmla="*/ 0 h 412"/>
                <a:gd name="T4" fmla="*/ 5 w 399"/>
                <a:gd name="T5" fmla="*/ 8 h 412"/>
                <a:gd name="T6" fmla="*/ 5 w 399"/>
                <a:gd name="T7" fmla="*/ 2 h 412"/>
                <a:gd name="T8" fmla="*/ 5 w 399"/>
                <a:gd name="T9" fmla="*/ 11 h 412"/>
                <a:gd name="T10" fmla="*/ 5 w 399"/>
                <a:gd name="T11" fmla="*/ 40 h 412"/>
                <a:gd name="T12" fmla="*/ 5 w 399"/>
                <a:gd name="T13" fmla="*/ 50 h 412"/>
                <a:gd name="T14" fmla="*/ 5 w 399"/>
                <a:gd name="T15" fmla="*/ 106 h 412"/>
                <a:gd name="T16" fmla="*/ 5 w 399"/>
                <a:gd name="T17" fmla="*/ 120 h 412"/>
                <a:gd name="T18" fmla="*/ 5 w 399"/>
                <a:gd name="T19" fmla="*/ 134 h 412"/>
                <a:gd name="T20" fmla="*/ 5 w 399"/>
                <a:gd name="T21" fmla="*/ 159 h 412"/>
                <a:gd name="T22" fmla="*/ 5 w 399"/>
                <a:gd name="T23" fmla="*/ 177 h 412"/>
                <a:gd name="T24" fmla="*/ 3 w 399"/>
                <a:gd name="T25" fmla="*/ 186 h 412"/>
                <a:gd name="T26" fmla="*/ 0 w 399"/>
                <a:gd name="T27" fmla="*/ 213 h 412"/>
                <a:gd name="T28" fmla="*/ 0 w 399"/>
                <a:gd name="T29" fmla="*/ 224 h 412"/>
                <a:gd name="T30" fmla="*/ 5 w 399"/>
                <a:gd name="T31" fmla="*/ 274 h 412"/>
                <a:gd name="T32" fmla="*/ 5 w 399"/>
                <a:gd name="T33" fmla="*/ 361 h 412"/>
                <a:gd name="T34" fmla="*/ 5 w 399"/>
                <a:gd name="T35" fmla="*/ 380 h 412"/>
                <a:gd name="T36" fmla="*/ 5 w 399"/>
                <a:gd name="T37" fmla="*/ 391 h 412"/>
                <a:gd name="T38" fmla="*/ 5 w 399"/>
                <a:gd name="T39" fmla="*/ 412 h 412"/>
                <a:gd name="T40" fmla="*/ 5 w 399"/>
                <a:gd name="T41" fmla="*/ 409 h 412"/>
                <a:gd name="T42" fmla="*/ 5 w 399"/>
                <a:gd name="T43" fmla="*/ 402 h 412"/>
                <a:gd name="T44" fmla="*/ 5 w 399"/>
                <a:gd name="T45" fmla="*/ 308 h 412"/>
                <a:gd name="T46" fmla="*/ 5 w 399"/>
                <a:gd name="T47" fmla="*/ 287 h 412"/>
                <a:gd name="T48" fmla="*/ 5 w 399"/>
                <a:gd name="T49" fmla="*/ 285 h 412"/>
                <a:gd name="T50" fmla="*/ 5 w 399"/>
                <a:gd name="T51" fmla="*/ 248 h 412"/>
                <a:gd name="T52" fmla="*/ 5 w 399"/>
                <a:gd name="T53" fmla="*/ 237 h 412"/>
                <a:gd name="T54" fmla="*/ 5 w 399"/>
                <a:gd name="T55" fmla="*/ 211 h 412"/>
                <a:gd name="T56" fmla="*/ 5 w 399"/>
                <a:gd name="T57" fmla="*/ 175 h 412"/>
                <a:gd name="T58" fmla="*/ 5 w 399"/>
                <a:gd name="T59" fmla="*/ 163 h 412"/>
                <a:gd name="T60" fmla="*/ 5 w 399"/>
                <a:gd name="T61" fmla="*/ 153 h 412"/>
                <a:gd name="T62" fmla="*/ 5 w 399"/>
                <a:gd name="T63" fmla="*/ 117 h 412"/>
                <a:gd name="T64" fmla="*/ 5 w 399"/>
                <a:gd name="T65" fmla="*/ 103 h 412"/>
                <a:gd name="T66" fmla="*/ 5 w 399"/>
                <a:gd name="T67" fmla="*/ 76 h 412"/>
                <a:gd name="T68" fmla="*/ 5 w 399"/>
                <a:gd name="T69" fmla="*/ 50 h 412"/>
                <a:gd name="T70" fmla="*/ 5 w 399"/>
                <a:gd name="T71" fmla="*/ 10 h 412"/>
                <a:gd name="T72" fmla="*/ 5 w 399"/>
                <a:gd name="T73" fmla="*/ 0 h 412"/>
                <a:gd name="T74" fmla="*/ 5 w 399"/>
                <a:gd name="T75" fmla="*/ 4 h 41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99"/>
                <a:gd name="T115" fmla="*/ 0 h 412"/>
                <a:gd name="T116" fmla="*/ 399 w 399"/>
                <a:gd name="T117" fmla="*/ 412 h 41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99" h="412">
                  <a:moveTo>
                    <a:pt x="330" y="4"/>
                  </a:moveTo>
                  <a:lnTo>
                    <a:pt x="294" y="0"/>
                  </a:lnTo>
                  <a:lnTo>
                    <a:pt x="275" y="8"/>
                  </a:lnTo>
                  <a:lnTo>
                    <a:pt x="248" y="2"/>
                  </a:lnTo>
                  <a:lnTo>
                    <a:pt x="193" y="11"/>
                  </a:lnTo>
                  <a:lnTo>
                    <a:pt x="134" y="40"/>
                  </a:lnTo>
                  <a:lnTo>
                    <a:pt x="141" y="50"/>
                  </a:lnTo>
                  <a:lnTo>
                    <a:pt x="148" y="106"/>
                  </a:lnTo>
                  <a:lnTo>
                    <a:pt x="98" y="120"/>
                  </a:lnTo>
                  <a:lnTo>
                    <a:pt x="100" y="134"/>
                  </a:lnTo>
                  <a:lnTo>
                    <a:pt x="64" y="159"/>
                  </a:lnTo>
                  <a:lnTo>
                    <a:pt x="12" y="177"/>
                  </a:lnTo>
                  <a:lnTo>
                    <a:pt x="3" y="186"/>
                  </a:lnTo>
                  <a:lnTo>
                    <a:pt x="0" y="213"/>
                  </a:lnTo>
                  <a:lnTo>
                    <a:pt x="0" y="224"/>
                  </a:lnTo>
                  <a:lnTo>
                    <a:pt x="70" y="274"/>
                  </a:lnTo>
                  <a:lnTo>
                    <a:pt x="184" y="361"/>
                  </a:lnTo>
                  <a:lnTo>
                    <a:pt x="199" y="380"/>
                  </a:lnTo>
                  <a:lnTo>
                    <a:pt x="226" y="391"/>
                  </a:lnTo>
                  <a:lnTo>
                    <a:pt x="228" y="412"/>
                  </a:lnTo>
                  <a:lnTo>
                    <a:pt x="246" y="409"/>
                  </a:lnTo>
                  <a:lnTo>
                    <a:pt x="275" y="402"/>
                  </a:lnTo>
                  <a:lnTo>
                    <a:pt x="399" y="308"/>
                  </a:lnTo>
                  <a:lnTo>
                    <a:pt x="383" y="287"/>
                  </a:lnTo>
                  <a:lnTo>
                    <a:pt x="368" y="285"/>
                  </a:lnTo>
                  <a:lnTo>
                    <a:pt x="349" y="248"/>
                  </a:lnTo>
                  <a:lnTo>
                    <a:pt x="357" y="237"/>
                  </a:lnTo>
                  <a:lnTo>
                    <a:pt x="358" y="211"/>
                  </a:lnTo>
                  <a:lnTo>
                    <a:pt x="355" y="175"/>
                  </a:lnTo>
                  <a:lnTo>
                    <a:pt x="347" y="163"/>
                  </a:lnTo>
                  <a:lnTo>
                    <a:pt x="352" y="153"/>
                  </a:lnTo>
                  <a:lnTo>
                    <a:pt x="346" y="117"/>
                  </a:lnTo>
                  <a:lnTo>
                    <a:pt x="329" y="103"/>
                  </a:lnTo>
                  <a:lnTo>
                    <a:pt x="315" y="76"/>
                  </a:lnTo>
                  <a:lnTo>
                    <a:pt x="332" y="50"/>
                  </a:lnTo>
                  <a:lnTo>
                    <a:pt x="332" y="10"/>
                  </a:lnTo>
                  <a:lnTo>
                    <a:pt x="342" y="0"/>
                  </a:lnTo>
                  <a:lnTo>
                    <a:pt x="330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0" name="Freeform 152"/>
            <p:cNvSpPr>
              <a:spLocks noChangeAspect="1"/>
            </p:cNvSpPr>
            <p:nvPr/>
          </p:nvSpPr>
          <p:spPr bwMode="auto">
            <a:xfrm>
              <a:off x="3222" y="1963"/>
              <a:ext cx="193" cy="362"/>
            </a:xfrm>
            <a:custGeom>
              <a:avLst/>
              <a:gdLst>
                <a:gd name="T0" fmla="*/ 5 w 213"/>
                <a:gd name="T1" fmla="*/ 40 h 362"/>
                <a:gd name="T2" fmla="*/ 5 w 213"/>
                <a:gd name="T3" fmla="*/ 57 h 362"/>
                <a:gd name="T4" fmla="*/ 5 w 213"/>
                <a:gd name="T5" fmla="*/ 64 h 362"/>
                <a:gd name="T6" fmla="*/ 5 w 213"/>
                <a:gd name="T7" fmla="*/ 139 h 362"/>
                <a:gd name="T8" fmla="*/ 0 w 213"/>
                <a:gd name="T9" fmla="*/ 204 h 362"/>
                <a:gd name="T10" fmla="*/ 2 w 213"/>
                <a:gd name="T11" fmla="*/ 216 h 362"/>
                <a:gd name="T12" fmla="*/ 5 w 213"/>
                <a:gd name="T13" fmla="*/ 231 h 362"/>
                <a:gd name="T14" fmla="*/ 5 w 213"/>
                <a:gd name="T15" fmla="*/ 239 h 362"/>
                <a:gd name="T16" fmla="*/ 5 w 213"/>
                <a:gd name="T17" fmla="*/ 279 h 362"/>
                <a:gd name="T18" fmla="*/ 5 w 213"/>
                <a:gd name="T19" fmla="*/ 299 h 362"/>
                <a:gd name="T20" fmla="*/ 5 w 213"/>
                <a:gd name="T21" fmla="*/ 303 h 362"/>
                <a:gd name="T22" fmla="*/ 5 w 213"/>
                <a:gd name="T23" fmla="*/ 318 h 362"/>
                <a:gd name="T24" fmla="*/ 5 w 213"/>
                <a:gd name="T25" fmla="*/ 335 h 362"/>
                <a:gd name="T26" fmla="*/ 5 w 213"/>
                <a:gd name="T27" fmla="*/ 362 h 362"/>
                <a:gd name="T28" fmla="*/ 5 w 213"/>
                <a:gd name="T29" fmla="*/ 349 h 362"/>
                <a:gd name="T30" fmla="*/ 5 w 213"/>
                <a:gd name="T31" fmla="*/ 336 h 362"/>
                <a:gd name="T32" fmla="*/ 5 w 213"/>
                <a:gd name="T33" fmla="*/ 330 h 362"/>
                <a:gd name="T34" fmla="*/ 5 w 213"/>
                <a:gd name="T35" fmla="*/ 322 h 362"/>
                <a:gd name="T36" fmla="*/ 5 w 213"/>
                <a:gd name="T37" fmla="*/ 287 h 362"/>
                <a:gd name="T38" fmla="*/ 5 w 213"/>
                <a:gd name="T39" fmla="*/ 281 h 362"/>
                <a:gd name="T40" fmla="*/ 5 w 213"/>
                <a:gd name="T41" fmla="*/ 271 h 362"/>
                <a:gd name="T42" fmla="*/ 5 w 213"/>
                <a:gd name="T43" fmla="*/ 235 h 362"/>
                <a:gd name="T44" fmla="*/ 5 w 213"/>
                <a:gd name="T45" fmla="*/ 172 h 362"/>
                <a:gd name="T46" fmla="*/ 5 w 213"/>
                <a:gd name="T47" fmla="*/ 172 h 362"/>
                <a:gd name="T48" fmla="*/ 5 w 213"/>
                <a:gd name="T49" fmla="*/ 165 h 362"/>
                <a:gd name="T50" fmla="*/ 5 w 213"/>
                <a:gd name="T51" fmla="*/ 86 h 362"/>
                <a:gd name="T52" fmla="*/ 5 w 213"/>
                <a:gd name="T53" fmla="*/ 0 h 362"/>
                <a:gd name="T54" fmla="*/ 5 w 213"/>
                <a:gd name="T55" fmla="*/ 5 h 362"/>
                <a:gd name="T56" fmla="*/ 5 w 213"/>
                <a:gd name="T57" fmla="*/ 40 h 3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3"/>
                <a:gd name="T88" fmla="*/ 0 h 362"/>
                <a:gd name="T89" fmla="*/ 213 w 213"/>
                <a:gd name="T90" fmla="*/ 362 h 36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3" h="362">
                  <a:moveTo>
                    <a:pt x="32" y="40"/>
                  </a:moveTo>
                  <a:lnTo>
                    <a:pt x="41" y="57"/>
                  </a:lnTo>
                  <a:lnTo>
                    <a:pt x="52" y="64"/>
                  </a:lnTo>
                  <a:lnTo>
                    <a:pt x="40" y="139"/>
                  </a:lnTo>
                  <a:lnTo>
                    <a:pt x="0" y="204"/>
                  </a:lnTo>
                  <a:lnTo>
                    <a:pt x="2" y="216"/>
                  </a:lnTo>
                  <a:lnTo>
                    <a:pt x="14" y="231"/>
                  </a:lnTo>
                  <a:lnTo>
                    <a:pt x="23" y="239"/>
                  </a:lnTo>
                  <a:lnTo>
                    <a:pt x="29" y="279"/>
                  </a:lnTo>
                  <a:lnTo>
                    <a:pt x="38" y="299"/>
                  </a:lnTo>
                  <a:lnTo>
                    <a:pt x="20" y="303"/>
                  </a:lnTo>
                  <a:lnTo>
                    <a:pt x="14" y="318"/>
                  </a:lnTo>
                  <a:lnTo>
                    <a:pt x="32" y="335"/>
                  </a:lnTo>
                  <a:lnTo>
                    <a:pt x="40" y="362"/>
                  </a:lnTo>
                  <a:lnTo>
                    <a:pt x="103" y="349"/>
                  </a:lnTo>
                  <a:lnTo>
                    <a:pt x="116" y="336"/>
                  </a:lnTo>
                  <a:lnTo>
                    <a:pt x="112" y="330"/>
                  </a:lnTo>
                  <a:lnTo>
                    <a:pt x="144" y="322"/>
                  </a:lnTo>
                  <a:lnTo>
                    <a:pt x="171" y="287"/>
                  </a:lnTo>
                  <a:lnTo>
                    <a:pt x="190" y="281"/>
                  </a:lnTo>
                  <a:lnTo>
                    <a:pt x="191" y="271"/>
                  </a:lnTo>
                  <a:lnTo>
                    <a:pt x="172" y="235"/>
                  </a:lnTo>
                  <a:lnTo>
                    <a:pt x="194" y="172"/>
                  </a:lnTo>
                  <a:lnTo>
                    <a:pt x="212" y="172"/>
                  </a:lnTo>
                  <a:lnTo>
                    <a:pt x="213" y="165"/>
                  </a:lnTo>
                  <a:lnTo>
                    <a:pt x="212" y="86"/>
                  </a:lnTo>
                  <a:lnTo>
                    <a:pt x="59" y="0"/>
                  </a:lnTo>
                  <a:lnTo>
                    <a:pt x="32" y="5"/>
                  </a:lnTo>
                  <a:lnTo>
                    <a:pt x="32" y="4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1" name="Freeform 153"/>
            <p:cNvSpPr>
              <a:spLocks noChangeAspect="1"/>
            </p:cNvSpPr>
            <p:nvPr/>
          </p:nvSpPr>
          <p:spPr bwMode="auto">
            <a:xfrm>
              <a:off x="3751" y="2090"/>
              <a:ext cx="187" cy="114"/>
            </a:xfrm>
            <a:custGeom>
              <a:avLst/>
              <a:gdLst>
                <a:gd name="T0" fmla="*/ 1 w 208"/>
                <a:gd name="T1" fmla="*/ 29 h 114"/>
                <a:gd name="T2" fmla="*/ 4 w 208"/>
                <a:gd name="T3" fmla="*/ 15 h 114"/>
                <a:gd name="T4" fmla="*/ 4 w 208"/>
                <a:gd name="T5" fmla="*/ 63 h 114"/>
                <a:gd name="T6" fmla="*/ 4 w 208"/>
                <a:gd name="T7" fmla="*/ 13 h 114"/>
                <a:gd name="T8" fmla="*/ 4 w 208"/>
                <a:gd name="T9" fmla="*/ 0 h 114"/>
                <a:gd name="T10" fmla="*/ 4 w 208"/>
                <a:gd name="T11" fmla="*/ 26 h 114"/>
                <a:gd name="T12" fmla="*/ 4 w 208"/>
                <a:gd name="T13" fmla="*/ 28 h 114"/>
                <a:gd name="T14" fmla="*/ 4 w 208"/>
                <a:gd name="T15" fmla="*/ 33 h 114"/>
                <a:gd name="T16" fmla="*/ 4 w 208"/>
                <a:gd name="T17" fmla="*/ 49 h 114"/>
                <a:gd name="T18" fmla="*/ 4 w 208"/>
                <a:gd name="T19" fmla="*/ 68 h 114"/>
                <a:gd name="T20" fmla="*/ 4 w 208"/>
                <a:gd name="T21" fmla="*/ 101 h 114"/>
                <a:gd name="T22" fmla="*/ 4 w 208"/>
                <a:gd name="T23" fmla="*/ 101 h 114"/>
                <a:gd name="T24" fmla="*/ 4 w 208"/>
                <a:gd name="T25" fmla="*/ 112 h 114"/>
                <a:gd name="T26" fmla="*/ 4 w 208"/>
                <a:gd name="T27" fmla="*/ 114 h 114"/>
                <a:gd name="T28" fmla="*/ 0 w 208"/>
                <a:gd name="T29" fmla="*/ 32 h 114"/>
                <a:gd name="T30" fmla="*/ 1 w 208"/>
                <a:gd name="T31" fmla="*/ 29 h 11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"/>
                <a:gd name="T49" fmla="*/ 0 h 114"/>
                <a:gd name="T50" fmla="*/ 208 w 208"/>
                <a:gd name="T51" fmla="*/ 114 h 11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" h="114">
                  <a:moveTo>
                    <a:pt x="1" y="29"/>
                  </a:moveTo>
                  <a:lnTo>
                    <a:pt x="20" y="15"/>
                  </a:lnTo>
                  <a:lnTo>
                    <a:pt x="61" y="63"/>
                  </a:lnTo>
                  <a:lnTo>
                    <a:pt x="132" y="13"/>
                  </a:lnTo>
                  <a:lnTo>
                    <a:pt x="196" y="0"/>
                  </a:lnTo>
                  <a:lnTo>
                    <a:pt x="208" y="26"/>
                  </a:lnTo>
                  <a:lnTo>
                    <a:pt x="206" y="28"/>
                  </a:lnTo>
                  <a:lnTo>
                    <a:pt x="196" y="33"/>
                  </a:lnTo>
                  <a:lnTo>
                    <a:pt x="194" y="49"/>
                  </a:lnTo>
                  <a:lnTo>
                    <a:pt x="143" y="68"/>
                  </a:lnTo>
                  <a:lnTo>
                    <a:pt x="92" y="101"/>
                  </a:lnTo>
                  <a:lnTo>
                    <a:pt x="64" y="101"/>
                  </a:lnTo>
                  <a:lnTo>
                    <a:pt x="49" y="112"/>
                  </a:lnTo>
                  <a:lnTo>
                    <a:pt x="20" y="114"/>
                  </a:lnTo>
                  <a:lnTo>
                    <a:pt x="0" y="32"/>
                  </a:lnTo>
                  <a:lnTo>
                    <a:pt x="1" y="2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2" name="Freeform 154"/>
            <p:cNvSpPr>
              <a:spLocks noChangeAspect="1"/>
            </p:cNvSpPr>
            <p:nvPr/>
          </p:nvSpPr>
          <p:spPr bwMode="auto">
            <a:xfrm>
              <a:off x="3928" y="1928"/>
              <a:ext cx="125" cy="188"/>
            </a:xfrm>
            <a:custGeom>
              <a:avLst/>
              <a:gdLst>
                <a:gd name="T0" fmla="*/ 4 w 139"/>
                <a:gd name="T1" fmla="*/ 180 h 188"/>
                <a:gd name="T2" fmla="*/ 4 w 139"/>
                <a:gd name="T3" fmla="*/ 180 h 188"/>
                <a:gd name="T4" fmla="*/ 4 w 139"/>
                <a:gd name="T5" fmla="*/ 163 h 188"/>
                <a:gd name="T6" fmla="*/ 4 w 139"/>
                <a:gd name="T7" fmla="*/ 157 h 188"/>
                <a:gd name="T8" fmla="*/ 4 w 139"/>
                <a:gd name="T9" fmla="*/ 137 h 188"/>
                <a:gd name="T10" fmla="*/ 4 w 139"/>
                <a:gd name="T11" fmla="*/ 131 h 188"/>
                <a:gd name="T12" fmla="*/ 4 w 139"/>
                <a:gd name="T13" fmla="*/ 109 h 188"/>
                <a:gd name="T14" fmla="*/ 4 w 139"/>
                <a:gd name="T15" fmla="*/ 77 h 188"/>
                <a:gd name="T16" fmla="*/ 4 w 139"/>
                <a:gd name="T17" fmla="*/ 54 h 188"/>
                <a:gd name="T18" fmla="*/ 4 w 139"/>
                <a:gd name="T19" fmla="*/ 29 h 188"/>
                <a:gd name="T20" fmla="*/ 4 w 139"/>
                <a:gd name="T21" fmla="*/ 18 h 188"/>
                <a:gd name="T22" fmla="*/ 4 w 139"/>
                <a:gd name="T23" fmla="*/ 0 h 188"/>
                <a:gd name="T24" fmla="*/ 4 w 139"/>
                <a:gd name="T25" fmla="*/ 15 h 188"/>
                <a:gd name="T26" fmla="*/ 4 w 139"/>
                <a:gd name="T27" fmla="*/ 27 h 188"/>
                <a:gd name="T28" fmla="*/ 4 w 139"/>
                <a:gd name="T29" fmla="*/ 30 h 188"/>
                <a:gd name="T30" fmla="*/ 4 w 139"/>
                <a:gd name="T31" fmla="*/ 30 h 188"/>
                <a:gd name="T32" fmla="*/ 4 w 139"/>
                <a:gd name="T33" fmla="*/ 36 h 188"/>
                <a:gd name="T34" fmla="*/ 4 w 139"/>
                <a:gd name="T35" fmla="*/ 52 h 188"/>
                <a:gd name="T36" fmla="*/ 4 w 139"/>
                <a:gd name="T37" fmla="*/ 77 h 188"/>
                <a:gd name="T38" fmla="*/ 4 w 139"/>
                <a:gd name="T39" fmla="*/ 117 h 188"/>
                <a:gd name="T40" fmla="*/ 0 w 139"/>
                <a:gd name="T41" fmla="*/ 162 h 188"/>
                <a:gd name="T42" fmla="*/ 4 w 139"/>
                <a:gd name="T43" fmla="*/ 188 h 188"/>
                <a:gd name="T44" fmla="*/ 4 w 139"/>
                <a:gd name="T45" fmla="*/ 180 h 18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39"/>
                <a:gd name="T70" fmla="*/ 0 h 188"/>
                <a:gd name="T71" fmla="*/ 139 w 139"/>
                <a:gd name="T72" fmla="*/ 188 h 18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39" h="188">
                  <a:moveTo>
                    <a:pt x="30" y="180"/>
                  </a:moveTo>
                  <a:lnTo>
                    <a:pt x="50" y="180"/>
                  </a:lnTo>
                  <a:lnTo>
                    <a:pt x="59" y="163"/>
                  </a:lnTo>
                  <a:lnTo>
                    <a:pt x="77" y="157"/>
                  </a:lnTo>
                  <a:lnTo>
                    <a:pt x="91" y="137"/>
                  </a:lnTo>
                  <a:lnTo>
                    <a:pt x="108" y="131"/>
                  </a:lnTo>
                  <a:lnTo>
                    <a:pt x="104" y="109"/>
                  </a:lnTo>
                  <a:lnTo>
                    <a:pt x="132" y="77"/>
                  </a:lnTo>
                  <a:lnTo>
                    <a:pt x="139" y="54"/>
                  </a:lnTo>
                  <a:lnTo>
                    <a:pt x="119" y="29"/>
                  </a:lnTo>
                  <a:lnTo>
                    <a:pt x="86" y="18"/>
                  </a:lnTo>
                  <a:lnTo>
                    <a:pt x="69" y="0"/>
                  </a:lnTo>
                  <a:lnTo>
                    <a:pt x="57" y="15"/>
                  </a:lnTo>
                  <a:lnTo>
                    <a:pt x="56" y="27"/>
                  </a:lnTo>
                  <a:lnTo>
                    <a:pt x="52" y="30"/>
                  </a:lnTo>
                  <a:lnTo>
                    <a:pt x="51" y="30"/>
                  </a:lnTo>
                  <a:lnTo>
                    <a:pt x="58" y="36"/>
                  </a:lnTo>
                  <a:lnTo>
                    <a:pt x="65" y="52"/>
                  </a:lnTo>
                  <a:lnTo>
                    <a:pt x="69" y="77"/>
                  </a:lnTo>
                  <a:lnTo>
                    <a:pt x="48" y="117"/>
                  </a:lnTo>
                  <a:lnTo>
                    <a:pt x="0" y="162"/>
                  </a:lnTo>
                  <a:lnTo>
                    <a:pt x="12" y="188"/>
                  </a:lnTo>
                  <a:lnTo>
                    <a:pt x="30" y="18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3" name="Freeform 155"/>
            <p:cNvSpPr>
              <a:spLocks noChangeAspect="1"/>
            </p:cNvSpPr>
            <p:nvPr/>
          </p:nvSpPr>
          <p:spPr bwMode="auto">
            <a:xfrm>
              <a:off x="3598" y="1757"/>
              <a:ext cx="392" cy="396"/>
            </a:xfrm>
            <a:custGeom>
              <a:avLst/>
              <a:gdLst>
                <a:gd name="T0" fmla="*/ 5 w 435"/>
                <a:gd name="T1" fmla="*/ 69 h 396"/>
                <a:gd name="T2" fmla="*/ 5 w 435"/>
                <a:gd name="T3" fmla="*/ 78 h 396"/>
                <a:gd name="T4" fmla="*/ 5 w 435"/>
                <a:gd name="T5" fmla="*/ 70 h 396"/>
                <a:gd name="T6" fmla="*/ 5 w 435"/>
                <a:gd name="T7" fmla="*/ 83 h 396"/>
                <a:gd name="T8" fmla="*/ 5 w 435"/>
                <a:gd name="T9" fmla="*/ 85 h 396"/>
                <a:gd name="T10" fmla="*/ 5 w 435"/>
                <a:gd name="T11" fmla="*/ 127 h 396"/>
                <a:gd name="T12" fmla="*/ 5 w 435"/>
                <a:gd name="T13" fmla="*/ 162 h 396"/>
                <a:gd name="T14" fmla="*/ 5 w 435"/>
                <a:gd name="T15" fmla="*/ 182 h 396"/>
                <a:gd name="T16" fmla="*/ 5 w 435"/>
                <a:gd name="T17" fmla="*/ 195 h 396"/>
                <a:gd name="T18" fmla="*/ 5 w 435"/>
                <a:gd name="T19" fmla="*/ 203 h 396"/>
                <a:gd name="T20" fmla="*/ 5 w 435"/>
                <a:gd name="T21" fmla="*/ 208 h 396"/>
                <a:gd name="T22" fmla="*/ 5 w 435"/>
                <a:gd name="T23" fmla="*/ 208 h 396"/>
                <a:gd name="T24" fmla="*/ 5 w 435"/>
                <a:gd name="T25" fmla="*/ 208 h 396"/>
                <a:gd name="T26" fmla="*/ 5 w 435"/>
                <a:gd name="T27" fmla="*/ 206 h 396"/>
                <a:gd name="T28" fmla="*/ 5 w 435"/>
                <a:gd name="T29" fmla="*/ 203 h 396"/>
                <a:gd name="T30" fmla="*/ 5 w 435"/>
                <a:gd name="T31" fmla="*/ 201 h 396"/>
                <a:gd name="T32" fmla="*/ 5 w 435"/>
                <a:gd name="T33" fmla="*/ 199 h 396"/>
                <a:gd name="T34" fmla="*/ 5 w 435"/>
                <a:gd name="T35" fmla="*/ 201 h 396"/>
                <a:gd name="T36" fmla="*/ 5 w 435"/>
                <a:gd name="T37" fmla="*/ 207 h 396"/>
                <a:gd name="T38" fmla="*/ 5 w 435"/>
                <a:gd name="T39" fmla="*/ 223 h 396"/>
                <a:gd name="T40" fmla="*/ 5 w 435"/>
                <a:gd name="T41" fmla="*/ 248 h 396"/>
                <a:gd name="T42" fmla="*/ 5 w 435"/>
                <a:gd name="T43" fmla="*/ 288 h 396"/>
                <a:gd name="T44" fmla="*/ 5 w 435"/>
                <a:gd name="T45" fmla="*/ 333 h 396"/>
                <a:gd name="T46" fmla="*/ 5 w 435"/>
                <a:gd name="T47" fmla="*/ 347 h 396"/>
                <a:gd name="T48" fmla="*/ 5 w 435"/>
                <a:gd name="T49" fmla="*/ 396 h 396"/>
                <a:gd name="T50" fmla="*/ 5 w 435"/>
                <a:gd name="T51" fmla="*/ 348 h 396"/>
                <a:gd name="T52" fmla="*/ 5 w 435"/>
                <a:gd name="T53" fmla="*/ 362 h 396"/>
                <a:gd name="T54" fmla="*/ 5 w 435"/>
                <a:gd name="T55" fmla="*/ 365 h 396"/>
                <a:gd name="T56" fmla="*/ 5 w 435"/>
                <a:gd name="T57" fmla="*/ 349 h 396"/>
                <a:gd name="T58" fmla="*/ 5 w 435"/>
                <a:gd name="T59" fmla="*/ 288 h 396"/>
                <a:gd name="T60" fmla="*/ 5 w 435"/>
                <a:gd name="T61" fmla="*/ 275 h 396"/>
                <a:gd name="T62" fmla="*/ 5 w 435"/>
                <a:gd name="T63" fmla="*/ 259 h 396"/>
                <a:gd name="T64" fmla="*/ 5 w 435"/>
                <a:gd name="T65" fmla="*/ 217 h 396"/>
                <a:gd name="T66" fmla="*/ 5 w 435"/>
                <a:gd name="T67" fmla="*/ 194 h 396"/>
                <a:gd name="T68" fmla="*/ 5 w 435"/>
                <a:gd name="T69" fmla="*/ 180 h 396"/>
                <a:gd name="T70" fmla="*/ 5 w 435"/>
                <a:gd name="T71" fmla="*/ 97 h 396"/>
                <a:gd name="T72" fmla="*/ 0 w 435"/>
                <a:gd name="T73" fmla="*/ 97 h 396"/>
                <a:gd name="T74" fmla="*/ 2 w 435"/>
                <a:gd name="T75" fmla="*/ 65 h 396"/>
                <a:gd name="T76" fmla="*/ 5 w 435"/>
                <a:gd name="T77" fmla="*/ 68 h 396"/>
                <a:gd name="T78" fmla="*/ 5 w 435"/>
                <a:gd name="T79" fmla="*/ 53 h 396"/>
                <a:gd name="T80" fmla="*/ 5 w 435"/>
                <a:gd name="T81" fmla="*/ 52 h 396"/>
                <a:gd name="T82" fmla="*/ 5 w 435"/>
                <a:gd name="T83" fmla="*/ 37 h 396"/>
                <a:gd name="T84" fmla="*/ 5 w 435"/>
                <a:gd name="T85" fmla="*/ 17 h 396"/>
                <a:gd name="T86" fmla="*/ 5 w 435"/>
                <a:gd name="T87" fmla="*/ 0 h 396"/>
                <a:gd name="T88" fmla="*/ 5 w 435"/>
                <a:gd name="T89" fmla="*/ 8 h 396"/>
                <a:gd name="T90" fmla="*/ 5 w 435"/>
                <a:gd name="T91" fmla="*/ 32 h 396"/>
                <a:gd name="T92" fmla="*/ 5 w 435"/>
                <a:gd name="T93" fmla="*/ 42 h 396"/>
                <a:gd name="T94" fmla="*/ 5 w 435"/>
                <a:gd name="T95" fmla="*/ 57 h 396"/>
                <a:gd name="T96" fmla="*/ 5 w 435"/>
                <a:gd name="T97" fmla="*/ 69 h 39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5"/>
                <a:gd name="T148" fmla="*/ 0 h 396"/>
                <a:gd name="T149" fmla="*/ 435 w 435"/>
                <a:gd name="T150" fmla="*/ 396 h 39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5" h="396">
                  <a:moveTo>
                    <a:pt x="196" y="69"/>
                  </a:moveTo>
                  <a:lnTo>
                    <a:pt x="211" y="78"/>
                  </a:lnTo>
                  <a:lnTo>
                    <a:pt x="232" y="70"/>
                  </a:lnTo>
                  <a:lnTo>
                    <a:pt x="267" y="83"/>
                  </a:lnTo>
                  <a:lnTo>
                    <a:pt x="268" y="85"/>
                  </a:lnTo>
                  <a:lnTo>
                    <a:pt x="304" y="127"/>
                  </a:lnTo>
                  <a:lnTo>
                    <a:pt x="319" y="162"/>
                  </a:lnTo>
                  <a:lnTo>
                    <a:pt x="332" y="182"/>
                  </a:lnTo>
                  <a:lnTo>
                    <a:pt x="322" y="195"/>
                  </a:lnTo>
                  <a:lnTo>
                    <a:pt x="322" y="203"/>
                  </a:lnTo>
                  <a:lnTo>
                    <a:pt x="336" y="208"/>
                  </a:lnTo>
                  <a:lnTo>
                    <a:pt x="358" y="208"/>
                  </a:lnTo>
                  <a:lnTo>
                    <a:pt x="382" y="208"/>
                  </a:lnTo>
                  <a:lnTo>
                    <a:pt x="388" y="206"/>
                  </a:lnTo>
                  <a:lnTo>
                    <a:pt x="395" y="203"/>
                  </a:lnTo>
                  <a:lnTo>
                    <a:pt x="400" y="201"/>
                  </a:lnTo>
                  <a:lnTo>
                    <a:pt x="404" y="199"/>
                  </a:lnTo>
                  <a:lnTo>
                    <a:pt x="417" y="201"/>
                  </a:lnTo>
                  <a:lnTo>
                    <a:pt x="424" y="207"/>
                  </a:lnTo>
                  <a:lnTo>
                    <a:pt x="431" y="223"/>
                  </a:lnTo>
                  <a:lnTo>
                    <a:pt x="435" y="248"/>
                  </a:lnTo>
                  <a:lnTo>
                    <a:pt x="414" y="288"/>
                  </a:lnTo>
                  <a:lnTo>
                    <a:pt x="366" y="333"/>
                  </a:lnTo>
                  <a:lnTo>
                    <a:pt x="302" y="347"/>
                  </a:lnTo>
                  <a:lnTo>
                    <a:pt x="232" y="396"/>
                  </a:lnTo>
                  <a:lnTo>
                    <a:pt x="190" y="348"/>
                  </a:lnTo>
                  <a:lnTo>
                    <a:pt x="171" y="362"/>
                  </a:lnTo>
                  <a:lnTo>
                    <a:pt x="170" y="365"/>
                  </a:lnTo>
                  <a:lnTo>
                    <a:pt x="165" y="349"/>
                  </a:lnTo>
                  <a:lnTo>
                    <a:pt x="130" y="288"/>
                  </a:lnTo>
                  <a:lnTo>
                    <a:pt x="108" y="275"/>
                  </a:lnTo>
                  <a:lnTo>
                    <a:pt x="97" y="259"/>
                  </a:lnTo>
                  <a:lnTo>
                    <a:pt x="92" y="217"/>
                  </a:lnTo>
                  <a:lnTo>
                    <a:pt x="79" y="194"/>
                  </a:lnTo>
                  <a:lnTo>
                    <a:pt x="60" y="180"/>
                  </a:lnTo>
                  <a:lnTo>
                    <a:pt x="10" y="97"/>
                  </a:lnTo>
                  <a:lnTo>
                    <a:pt x="0" y="97"/>
                  </a:lnTo>
                  <a:lnTo>
                    <a:pt x="2" y="65"/>
                  </a:lnTo>
                  <a:lnTo>
                    <a:pt x="25" y="68"/>
                  </a:lnTo>
                  <a:lnTo>
                    <a:pt x="36" y="53"/>
                  </a:lnTo>
                  <a:lnTo>
                    <a:pt x="48" y="52"/>
                  </a:lnTo>
                  <a:lnTo>
                    <a:pt x="59" y="37"/>
                  </a:lnTo>
                  <a:lnTo>
                    <a:pt x="40" y="17"/>
                  </a:lnTo>
                  <a:lnTo>
                    <a:pt x="80" y="0"/>
                  </a:lnTo>
                  <a:lnTo>
                    <a:pt x="110" y="8"/>
                  </a:lnTo>
                  <a:lnTo>
                    <a:pt x="154" y="32"/>
                  </a:lnTo>
                  <a:lnTo>
                    <a:pt x="168" y="42"/>
                  </a:lnTo>
                  <a:lnTo>
                    <a:pt x="172" y="57"/>
                  </a:lnTo>
                  <a:lnTo>
                    <a:pt x="196" y="6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4" name="Freeform 156"/>
            <p:cNvSpPr>
              <a:spLocks noChangeAspect="1"/>
            </p:cNvSpPr>
            <p:nvPr/>
          </p:nvSpPr>
          <p:spPr bwMode="auto">
            <a:xfrm>
              <a:off x="3888" y="1902"/>
              <a:ext cx="102" cy="63"/>
            </a:xfrm>
            <a:custGeom>
              <a:avLst/>
              <a:gdLst>
                <a:gd name="T0" fmla="*/ 5 w 113"/>
                <a:gd name="T1" fmla="*/ 17 h 63"/>
                <a:gd name="T2" fmla="*/ 5 w 113"/>
                <a:gd name="T3" fmla="*/ 26 h 63"/>
                <a:gd name="T4" fmla="*/ 5 w 113"/>
                <a:gd name="T5" fmla="*/ 41 h 63"/>
                <a:gd name="T6" fmla="*/ 5 w 113"/>
                <a:gd name="T7" fmla="*/ 54 h 63"/>
                <a:gd name="T8" fmla="*/ 5 w 113"/>
                <a:gd name="T9" fmla="*/ 56 h 63"/>
                <a:gd name="T10" fmla="*/ 5 w 113"/>
                <a:gd name="T11" fmla="*/ 56 h 63"/>
                <a:gd name="T12" fmla="*/ 5 w 113"/>
                <a:gd name="T13" fmla="*/ 54 h 63"/>
                <a:gd name="T14" fmla="*/ 5 w 113"/>
                <a:gd name="T15" fmla="*/ 56 h 63"/>
                <a:gd name="T16" fmla="*/ 5 w 113"/>
                <a:gd name="T17" fmla="*/ 58 h 63"/>
                <a:gd name="T18" fmla="*/ 5 w 113"/>
                <a:gd name="T19" fmla="*/ 58 h 63"/>
                <a:gd name="T20" fmla="*/ 5 w 113"/>
                <a:gd name="T21" fmla="*/ 61 h 63"/>
                <a:gd name="T22" fmla="*/ 5 w 113"/>
                <a:gd name="T23" fmla="*/ 63 h 63"/>
                <a:gd name="T24" fmla="*/ 5 w 113"/>
                <a:gd name="T25" fmla="*/ 63 h 63"/>
                <a:gd name="T26" fmla="*/ 5 w 113"/>
                <a:gd name="T27" fmla="*/ 63 h 63"/>
                <a:gd name="T28" fmla="*/ 0 w 113"/>
                <a:gd name="T29" fmla="*/ 58 h 63"/>
                <a:gd name="T30" fmla="*/ 0 w 113"/>
                <a:gd name="T31" fmla="*/ 50 h 63"/>
                <a:gd name="T32" fmla="*/ 5 w 113"/>
                <a:gd name="T33" fmla="*/ 37 h 63"/>
                <a:gd name="T34" fmla="*/ 5 w 113"/>
                <a:gd name="T35" fmla="*/ 45 h 63"/>
                <a:gd name="T36" fmla="*/ 5 w 113"/>
                <a:gd name="T37" fmla="*/ 40 h 63"/>
                <a:gd name="T38" fmla="*/ 5 w 113"/>
                <a:gd name="T39" fmla="*/ 40 h 63"/>
                <a:gd name="T40" fmla="*/ 5 w 113"/>
                <a:gd name="T41" fmla="*/ 0 h 63"/>
                <a:gd name="T42" fmla="*/ 5 w 113"/>
                <a:gd name="T43" fmla="*/ 17 h 6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13"/>
                <a:gd name="T67" fmla="*/ 0 h 63"/>
                <a:gd name="T68" fmla="*/ 113 w 113"/>
                <a:gd name="T69" fmla="*/ 63 h 6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13" h="63">
                  <a:moveTo>
                    <a:pt x="112" y="17"/>
                  </a:moveTo>
                  <a:lnTo>
                    <a:pt x="113" y="26"/>
                  </a:lnTo>
                  <a:lnTo>
                    <a:pt x="101" y="41"/>
                  </a:lnTo>
                  <a:lnTo>
                    <a:pt x="100" y="54"/>
                  </a:lnTo>
                  <a:lnTo>
                    <a:pt x="96" y="56"/>
                  </a:lnTo>
                  <a:lnTo>
                    <a:pt x="95" y="56"/>
                  </a:lnTo>
                  <a:lnTo>
                    <a:pt x="82" y="54"/>
                  </a:lnTo>
                  <a:lnTo>
                    <a:pt x="78" y="56"/>
                  </a:lnTo>
                  <a:lnTo>
                    <a:pt x="75" y="58"/>
                  </a:lnTo>
                  <a:lnTo>
                    <a:pt x="73" y="58"/>
                  </a:lnTo>
                  <a:lnTo>
                    <a:pt x="66" y="61"/>
                  </a:lnTo>
                  <a:lnTo>
                    <a:pt x="60" y="63"/>
                  </a:lnTo>
                  <a:lnTo>
                    <a:pt x="36" y="63"/>
                  </a:lnTo>
                  <a:lnTo>
                    <a:pt x="14" y="63"/>
                  </a:lnTo>
                  <a:lnTo>
                    <a:pt x="0" y="58"/>
                  </a:lnTo>
                  <a:lnTo>
                    <a:pt x="0" y="50"/>
                  </a:lnTo>
                  <a:lnTo>
                    <a:pt x="10" y="37"/>
                  </a:lnTo>
                  <a:lnTo>
                    <a:pt x="33" y="45"/>
                  </a:lnTo>
                  <a:lnTo>
                    <a:pt x="39" y="40"/>
                  </a:lnTo>
                  <a:lnTo>
                    <a:pt x="70" y="40"/>
                  </a:lnTo>
                  <a:lnTo>
                    <a:pt x="101" y="0"/>
                  </a:lnTo>
                  <a:lnTo>
                    <a:pt x="112" y="1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5" name="Freeform 157"/>
            <p:cNvSpPr>
              <a:spLocks noChangeAspect="1"/>
            </p:cNvSpPr>
            <p:nvPr/>
          </p:nvSpPr>
          <p:spPr bwMode="auto">
            <a:xfrm>
              <a:off x="5554" y="2558"/>
              <a:ext cx="170" cy="183"/>
            </a:xfrm>
            <a:custGeom>
              <a:avLst/>
              <a:gdLst>
                <a:gd name="T0" fmla="*/ 2 w 188"/>
                <a:gd name="T1" fmla="*/ 0 h 183"/>
                <a:gd name="T2" fmla="*/ 5 w 188"/>
                <a:gd name="T3" fmla="*/ 17 h 183"/>
                <a:gd name="T4" fmla="*/ 5 w 188"/>
                <a:gd name="T5" fmla="*/ 42 h 183"/>
                <a:gd name="T6" fmla="*/ 5 w 188"/>
                <a:gd name="T7" fmla="*/ 65 h 183"/>
                <a:gd name="T8" fmla="*/ 5 w 188"/>
                <a:gd name="T9" fmla="*/ 74 h 183"/>
                <a:gd name="T10" fmla="*/ 5 w 188"/>
                <a:gd name="T11" fmla="*/ 72 h 183"/>
                <a:gd name="T12" fmla="*/ 5 w 188"/>
                <a:gd name="T13" fmla="*/ 80 h 183"/>
                <a:gd name="T14" fmla="*/ 5 w 188"/>
                <a:gd name="T15" fmla="*/ 91 h 183"/>
                <a:gd name="T16" fmla="*/ 5 w 188"/>
                <a:gd name="T17" fmla="*/ 95 h 183"/>
                <a:gd name="T18" fmla="*/ 5 w 188"/>
                <a:gd name="T19" fmla="*/ 105 h 183"/>
                <a:gd name="T20" fmla="*/ 5 w 188"/>
                <a:gd name="T21" fmla="*/ 122 h 183"/>
                <a:gd name="T22" fmla="*/ 5 w 188"/>
                <a:gd name="T23" fmla="*/ 147 h 183"/>
                <a:gd name="T24" fmla="*/ 5 w 188"/>
                <a:gd name="T25" fmla="*/ 145 h 183"/>
                <a:gd name="T26" fmla="*/ 5 w 188"/>
                <a:gd name="T27" fmla="*/ 154 h 183"/>
                <a:gd name="T28" fmla="*/ 5 w 188"/>
                <a:gd name="T29" fmla="*/ 158 h 183"/>
                <a:gd name="T30" fmla="*/ 5 w 188"/>
                <a:gd name="T31" fmla="*/ 166 h 183"/>
                <a:gd name="T32" fmla="*/ 5 w 188"/>
                <a:gd name="T33" fmla="*/ 171 h 183"/>
                <a:gd name="T34" fmla="*/ 5 w 188"/>
                <a:gd name="T35" fmla="*/ 181 h 183"/>
                <a:gd name="T36" fmla="*/ 5 w 188"/>
                <a:gd name="T37" fmla="*/ 183 h 183"/>
                <a:gd name="T38" fmla="*/ 5 w 188"/>
                <a:gd name="T39" fmla="*/ 176 h 183"/>
                <a:gd name="T40" fmla="*/ 5 w 188"/>
                <a:gd name="T41" fmla="*/ 168 h 183"/>
                <a:gd name="T42" fmla="*/ 5 w 188"/>
                <a:gd name="T43" fmla="*/ 122 h 183"/>
                <a:gd name="T44" fmla="*/ 5 w 188"/>
                <a:gd name="T45" fmla="*/ 111 h 183"/>
                <a:gd name="T46" fmla="*/ 5 w 188"/>
                <a:gd name="T47" fmla="*/ 111 h 183"/>
                <a:gd name="T48" fmla="*/ 5 w 188"/>
                <a:gd name="T49" fmla="*/ 130 h 183"/>
                <a:gd name="T50" fmla="*/ 5 w 188"/>
                <a:gd name="T51" fmla="*/ 140 h 183"/>
                <a:gd name="T52" fmla="*/ 5 w 188"/>
                <a:gd name="T53" fmla="*/ 151 h 183"/>
                <a:gd name="T54" fmla="*/ 0 w 188"/>
                <a:gd name="T55" fmla="*/ 149 h 183"/>
                <a:gd name="T56" fmla="*/ 2 w 188"/>
                <a:gd name="T57" fmla="*/ 0 h 1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88"/>
                <a:gd name="T88" fmla="*/ 0 h 183"/>
                <a:gd name="T89" fmla="*/ 188 w 188"/>
                <a:gd name="T90" fmla="*/ 183 h 1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88" h="183">
                  <a:moveTo>
                    <a:pt x="2" y="0"/>
                  </a:moveTo>
                  <a:lnTo>
                    <a:pt x="52" y="17"/>
                  </a:lnTo>
                  <a:lnTo>
                    <a:pt x="89" y="42"/>
                  </a:lnTo>
                  <a:lnTo>
                    <a:pt x="94" y="65"/>
                  </a:lnTo>
                  <a:lnTo>
                    <a:pt x="116" y="74"/>
                  </a:lnTo>
                  <a:lnTo>
                    <a:pt x="128" y="72"/>
                  </a:lnTo>
                  <a:lnTo>
                    <a:pt x="136" y="80"/>
                  </a:lnTo>
                  <a:lnTo>
                    <a:pt x="136" y="91"/>
                  </a:lnTo>
                  <a:lnTo>
                    <a:pt x="119" y="95"/>
                  </a:lnTo>
                  <a:lnTo>
                    <a:pt x="121" y="105"/>
                  </a:lnTo>
                  <a:lnTo>
                    <a:pt x="139" y="122"/>
                  </a:lnTo>
                  <a:lnTo>
                    <a:pt x="145" y="147"/>
                  </a:lnTo>
                  <a:lnTo>
                    <a:pt x="160" y="145"/>
                  </a:lnTo>
                  <a:lnTo>
                    <a:pt x="155" y="154"/>
                  </a:lnTo>
                  <a:lnTo>
                    <a:pt x="173" y="158"/>
                  </a:lnTo>
                  <a:lnTo>
                    <a:pt x="167" y="166"/>
                  </a:lnTo>
                  <a:lnTo>
                    <a:pt x="188" y="171"/>
                  </a:lnTo>
                  <a:lnTo>
                    <a:pt x="183" y="181"/>
                  </a:lnTo>
                  <a:lnTo>
                    <a:pt x="171" y="183"/>
                  </a:lnTo>
                  <a:lnTo>
                    <a:pt x="167" y="176"/>
                  </a:lnTo>
                  <a:lnTo>
                    <a:pt x="123" y="168"/>
                  </a:lnTo>
                  <a:lnTo>
                    <a:pt x="96" y="122"/>
                  </a:lnTo>
                  <a:lnTo>
                    <a:pt x="70" y="111"/>
                  </a:lnTo>
                  <a:lnTo>
                    <a:pt x="59" y="111"/>
                  </a:lnTo>
                  <a:lnTo>
                    <a:pt x="37" y="130"/>
                  </a:lnTo>
                  <a:lnTo>
                    <a:pt x="40" y="140"/>
                  </a:lnTo>
                  <a:lnTo>
                    <a:pt x="24" y="151"/>
                  </a:lnTo>
                  <a:lnTo>
                    <a:pt x="0" y="14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6" name="Freeform 158"/>
            <p:cNvSpPr>
              <a:spLocks noChangeAspect="1"/>
            </p:cNvSpPr>
            <p:nvPr/>
          </p:nvSpPr>
          <p:spPr bwMode="auto">
            <a:xfrm>
              <a:off x="4637" y="1851"/>
              <a:ext cx="158" cy="423"/>
            </a:xfrm>
            <a:custGeom>
              <a:avLst/>
              <a:gdLst>
                <a:gd name="T0" fmla="*/ 5 w 175"/>
                <a:gd name="T1" fmla="*/ 373 h 423"/>
                <a:gd name="T2" fmla="*/ 5 w 175"/>
                <a:gd name="T3" fmla="*/ 323 h 423"/>
                <a:gd name="T4" fmla="*/ 5 w 175"/>
                <a:gd name="T5" fmla="*/ 305 h 423"/>
                <a:gd name="T6" fmla="*/ 5 w 175"/>
                <a:gd name="T7" fmla="*/ 274 h 423"/>
                <a:gd name="T8" fmla="*/ 5 w 175"/>
                <a:gd name="T9" fmla="*/ 228 h 423"/>
                <a:gd name="T10" fmla="*/ 5 w 175"/>
                <a:gd name="T11" fmla="*/ 203 h 423"/>
                <a:gd name="T12" fmla="*/ 5 w 175"/>
                <a:gd name="T13" fmla="*/ 170 h 423"/>
                <a:gd name="T14" fmla="*/ 5 w 175"/>
                <a:gd name="T15" fmla="*/ 147 h 423"/>
                <a:gd name="T16" fmla="*/ 5 w 175"/>
                <a:gd name="T17" fmla="*/ 151 h 423"/>
                <a:gd name="T18" fmla="*/ 5 w 175"/>
                <a:gd name="T19" fmla="*/ 136 h 423"/>
                <a:gd name="T20" fmla="*/ 5 w 175"/>
                <a:gd name="T21" fmla="*/ 118 h 423"/>
                <a:gd name="T22" fmla="*/ 5 w 175"/>
                <a:gd name="T23" fmla="*/ 111 h 423"/>
                <a:gd name="T24" fmla="*/ 5 w 175"/>
                <a:gd name="T25" fmla="*/ 92 h 423"/>
                <a:gd name="T26" fmla="*/ 5 w 175"/>
                <a:gd name="T27" fmla="*/ 100 h 423"/>
                <a:gd name="T28" fmla="*/ 5 w 175"/>
                <a:gd name="T29" fmla="*/ 33 h 423"/>
                <a:gd name="T30" fmla="*/ 5 w 175"/>
                <a:gd name="T31" fmla="*/ 4 h 423"/>
                <a:gd name="T32" fmla="*/ 5 w 175"/>
                <a:gd name="T33" fmla="*/ 0 h 423"/>
                <a:gd name="T34" fmla="*/ 5 w 175"/>
                <a:gd name="T35" fmla="*/ 22 h 423"/>
                <a:gd name="T36" fmla="*/ 5 w 175"/>
                <a:gd name="T37" fmla="*/ 22 h 423"/>
                <a:gd name="T38" fmla="*/ 5 w 175"/>
                <a:gd name="T39" fmla="*/ 38 h 423"/>
                <a:gd name="T40" fmla="*/ 5 w 175"/>
                <a:gd name="T41" fmla="*/ 96 h 423"/>
                <a:gd name="T42" fmla="*/ 5 w 175"/>
                <a:gd name="T43" fmla="*/ 101 h 423"/>
                <a:gd name="T44" fmla="*/ 5 w 175"/>
                <a:gd name="T45" fmla="*/ 136 h 423"/>
                <a:gd name="T46" fmla="*/ 4 w 175"/>
                <a:gd name="T47" fmla="*/ 142 h 423"/>
                <a:gd name="T48" fmla="*/ 0 w 175"/>
                <a:gd name="T49" fmla="*/ 168 h 423"/>
                <a:gd name="T50" fmla="*/ 5 w 175"/>
                <a:gd name="T51" fmla="*/ 188 h 423"/>
                <a:gd name="T52" fmla="*/ 5 w 175"/>
                <a:gd name="T53" fmla="*/ 188 h 423"/>
                <a:gd name="T54" fmla="*/ 5 w 175"/>
                <a:gd name="T55" fmla="*/ 214 h 423"/>
                <a:gd name="T56" fmla="*/ 5 w 175"/>
                <a:gd name="T57" fmla="*/ 214 h 423"/>
                <a:gd name="T58" fmla="*/ 5 w 175"/>
                <a:gd name="T59" fmla="*/ 251 h 423"/>
                <a:gd name="T60" fmla="*/ 5 w 175"/>
                <a:gd name="T61" fmla="*/ 277 h 423"/>
                <a:gd name="T62" fmla="*/ 5 w 175"/>
                <a:gd name="T63" fmla="*/ 284 h 423"/>
                <a:gd name="T64" fmla="*/ 5 w 175"/>
                <a:gd name="T65" fmla="*/ 257 h 423"/>
                <a:gd name="T66" fmla="*/ 5 w 175"/>
                <a:gd name="T67" fmla="*/ 271 h 423"/>
                <a:gd name="T68" fmla="*/ 5 w 175"/>
                <a:gd name="T69" fmla="*/ 358 h 423"/>
                <a:gd name="T70" fmla="*/ 5 w 175"/>
                <a:gd name="T71" fmla="*/ 371 h 423"/>
                <a:gd name="T72" fmla="*/ 5 w 175"/>
                <a:gd name="T73" fmla="*/ 393 h 423"/>
                <a:gd name="T74" fmla="*/ 5 w 175"/>
                <a:gd name="T75" fmla="*/ 423 h 423"/>
                <a:gd name="T76" fmla="*/ 5 w 175"/>
                <a:gd name="T77" fmla="*/ 373 h 42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75"/>
                <a:gd name="T118" fmla="*/ 0 h 423"/>
                <a:gd name="T119" fmla="*/ 175 w 175"/>
                <a:gd name="T120" fmla="*/ 423 h 42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75" h="423">
                  <a:moveTo>
                    <a:pt x="170" y="373"/>
                  </a:moveTo>
                  <a:lnTo>
                    <a:pt x="152" y="323"/>
                  </a:lnTo>
                  <a:lnTo>
                    <a:pt x="135" y="305"/>
                  </a:lnTo>
                  <a:lnTo>
                    <a:pt x="145" y="274"/>
                  </a:lnTo>
                  <a:lnTo>
                    <a:pt x="115" y="228"/>
                  </a:lnTo>
                  <a:lnTo>
                    <a:pt x="118" y="203"/>
                  </a:lnTo>
                  <a:lnTo>
                    <a:pt x="159" y="170"/>
                  </a:lnTo>
                  <a:lnTo>
                    <a:pt x="175" y="147"/>
                  </a:lnTo>
                  <a:lnTo>
                    <a:pt x="157" y="151"/>
                  </a:lnTo>
                  <a:lnTo>
                    <a:pt x="136" y="136"/>
                  </a:lnTo>
                  <a:lnTo>
                    <a:pt x="137" y="118"/>
                  </a:lnTo>
                  <a:lnTo>
                    <a:pt x="125" y="111"/>
                  </a:lnTo>
                  <a:lnTo>
                    <a:pt x="120" y="92"/>
                  </a:lnTo>
                  <a:lnTo>
                    <a:pt x="97" y="100"/>
                  </a:lnTo>
                  <a:lnTo>
                    <a:pt x="108" y="33"/>
                  </a:lnTo>
                  <a:lnTo>
                    <a:pt x="91" y="4"/>
                  </a:lnTo>
                  <a:lnTo>
                    <a:pt x="74" y="0"/>
                  </a:lnTo>
                  <a:lnTo>
                    <a:pt x="71" y="22"/>
                  </a:lnTo>
                  <a:lnTo>
                    <a:pt x="55" y="22"/>
                  </a:lnTo>
                  <a:lnTo>
                    <a:pt x="40" y="38"/>
                  </a:lnTo>
                  <a:lnTo>
                    <a:pt x="28" y="96"/>
                  </a:lnTo>
                  <a:lnTo>
                    <a:pt x="12" y="101"/>
                  </a:lnTo>
                  <a:lnTo>
                    <a:pt x="10" y="136"/>
                  </a:lnTo>
                  <a:lnTo>
                    <a:pt x="4" y="142"/>
                  </a:lnTo>
                  <a:lnTo>
                    <a:pt x="0" y="168"/>
                  </a:lnTo>
                  <a:lnTo>
                    <a:pt x="21" y="188"/>
                  </a:lnTo>
                  <a:lnTo>
                    <a:pt x="27" y="188"/>
                  </a:lnTo>
                  <a:lnTo>
                    <a:pt x="37" y="214"/>
                  </a:lnTo>
                  <a:lnTo>
                    <a:pt x="44" y="214"/>
                  </a:lnTo>
                  <a:lnTo>
                    <a:pt x="56" y="251"/>
                  </a:lnTo>
                  <a:lnTo>
                    <a:pt x="52" y="277"/>
                  </a:lnTo>
                  <a:lnTo>
                    <a:pt x="78" y="284"/>
                  </a:lnTo>
                  <a:lnTo>
                    <a:pt x="103" y="257"/>
                  </a:lnTo>
                  <a:lnTo>
                    <a:pt x="118" y="271"/>
                  </a:lnTo>
                  <a:lnTo>
                    <a:pt x="151" y="358"/>
                  </a:lnTo>
                  <a:lnTo>
                    <a:pt x="147" y="371"/>
                  </a:lnTo>
                  <a:lnTo>
                    <a:pt x="153" y="393"/>
                  </a:lnTo>
                  <a:lnTo>
                    <a:pt x="148" y="423"/>
                  </a:lnTo>
                  <a:lnTo>
                    <a:pt x="170" y="37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7" name="Freeform 159"/>
            <p:cNvSpPr>
              <a:spLocks noChangeAspect="1"/>
            </p:cNvSpPr>
            <p:nvPr/>
          </p:nvSpPr>
          <p:spPr bwMode="auto">
            <a:xfrm>
              <a:off x="4837" y="2159"/>
              <a:ext cx="97" cy="98"/>
            </a:xfrm>
            <a:custGeom>
              <a:avLst/>
              <a:gdLst>
                <a:gd name="T0" fmla="*/ 0 w 107"/>
                <a:gd name="T1" fmla="*/ 34 h 98"/>
                <a:gd name="T2" fmla="*/ 5 w 107"/>
                <a:gd name="T3" fmla="*/ 11 h 98"/>
                <a:gd name="T4" fmla="*/ 5 w 107"/>
                <a:gd name="T5" fmla="*/ 10 h 98"/>
                <a:gd name="T6" fmla="*/ 5 w 107"/>
                <a:gd name="T7" fmla="*/ 15 h 98"/>
                <a:gd name="T8" fmla="*/ 5 w 107"/>
                <a:gd name="T9" fmla="*/ 8 h 98"/>
                <a:gd name="T10" fmla="*/ 5 w 107"/>
                <a:gd name="T11" fmla="*/ 0 h 98"/>
                <a:gd name="T12" fmla="*/ 5 w 107"/>
                <a:gd name="T13" fmla="*/ 52 h 98"/>
                <a:gd name="T14" fmla="*/ 5 w 107"/>
                <a:gd name="T15" fmla="*/ 69 h 98"/>
                <a:gd name="T16" fmla="*/ 5 w 107"/>
                <a:gd name="T17" fmla="*/ 85 h 98"/>
                <a:gd name="T18" fmla="*/ 5 w 107"/>
                <a:gd name="T19" fmla="*/ 98 h 98"/>
                <a:gd name="T20" fmla="*/ 5 w 107"/>
                <a:gd name="T21" fmla="*/ 86 h 98"/>
                <a:gd name="T22" fmla="*/ 5 w 107"/>
                <a:gd name="T23" fmla="*/ 60 h 98"/>
                <a:gd name="T24" fmla="*/ 0 w 107"/>
                <a:gd name="T25" fmla="*/ 34 h 9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7"/>
                <a:gd name="T40" fmla="*/ 0 h 98"/>
                <a:gd name="T41" fmla="*/ 107 w 107"/>
                <a:gd name="T42" fmla="*/ 98 h 9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7" h="98">
                  <a:moveTo>
                    <a:pt x="0" y="34"/>
                  </a:moveTo>
                  <a:lnTo>
                    <a:pt x="11" y="11"/>
                  </a:lnTo>
                  <a:lnTo>
                    <a:pt x="56" y="10"/>
                  </a:lnTo>
                  <a:lnTo>
                    <a:pt x="74" y="15"/>
                  </a:lnTo>
                  <a:lnTo>
                    <a:pt x="75" y="8"/>
                  </a:lnTo>
                  <a:lnTo>
                    <a:pt x="99" y="0"/>
                  </a:lnTo>
                  <a:lnTo>
                    <a:pt x="107" y="52"/>
                  </a:lnTo>
                  <a:lnTo>
                    <a:pt x="76" y="69"/>
                  </a:lnTo>
                  <a:lnTo>
                    <a:pt x="73" y="85"/>
                  </a:lnTo>
                  <a:lnTo>
                    <a:pt x="50" y="98"/>
                  </a:lnTo>
                  <a:lnTo>
                    <a:pt x="23" y="86"/>
                  </a:lnTo>
                  <a:lnTo>
                    <a:pt x="7" y="60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8" name="Freeform 160"/>
            <p:cNvSpPr>
              <a:spLocks noChangeAspect="1"/>
            </p:cNvSpPr>
            <p:nvPr/>
          </p:nvSpPr>
          <p:spPr bwMode="auto">
            <a:xfrm>
              <a:off x="4781" y="1980"/>
              <a:ext cx="145" cy="194"/>
            </a:xfrm>
            <a:custGeom>
              <a:avLst/>
              <a:gdLst>
                <a:gd name="T0" fmla="*/ 5 w 161"/>
                <a:gd name="T1" fmla="*/ 179 h 194"/>
                <a:gd name="T2" fmla="*/ 5 w 161"/>
                <a:gd name="T3" fmla="*/ 157 h 194"/>
                <a:gd name="T4" fmla="*/ 5 w 161"/>
                <a:gd name="T5" fmla="*/ 131 h 194"/>
                <a:gd name="T6" fmla="*/ 5 w 161"/>
                <a:gd name="T7" fmla="*/ 120 h 194"/>
                <a:gd name="T8" fmla="*/ 5 w 161"/>
                <a:gd name="T9" fmla="*/ 70 h 194"/>
                <a:gd name="T10" fmla="*/ 5 w 161"/>
                <a:gd name="T11" fmla="*/ 63 h 194"/>
                <a:gd name="T12" fmla="*/ 5 w 161"/>
                <a:gd name="T13" fmla="*/ 41 h 194"/>
                <a:gd name="T14" fmla="*/ 5 w 161"/>
                <a:gd name="T15" fmla="*/ 36 h 194"/>
                <a:gd name="T16" fmla="*/ 5 w 161"/>
                <a:gd name="T17" fmla="*/ 2 h 194"/>
                <a:gd name="T18" fmla="*/ 5 w 161"/>
                <a:gd name="T19" fmla="*/ 0 h 194"/>
                <a:gd name="T20" fmla="*/ 5 w 161"/>
                <a:gd name="T21" fmla="*/ 26 h 194"/>
                <a:gd name="T22" fmla="*/ 5 w 161"/>
                <a:gd name="T23" fmla="*/ 29 h 194"/>
                <a:gd name="T24" fmla="*/ 5 w 161"/>
                <a:gd name="T25" fmla="*/ 18 h 194"/>
                <a:gd name="T26" fmla="*/ 0 w 161"/>
                <a:gd name="T27" fmla="*/ 41 h 194"/>
                <a:gd name="T28" fmla="*/ 5 w 161"/>
                <a:gd name="T29" fmla="*/ 63 h 194"/>
                <a:gd name="T30" fmla="*/ 5 w 161"/>
                <a:gd name="T31" fmla="*/ 70 h 194"/>
                <a:gd name="T32" fmla="*/ 5 w 161"/>
                <a:gd name="T33" fmla="*/ 109 h 194"/>
                <a:gd name="T34" fmla="*/ 5 w 161"/>
                <a:gd name="T35" fmla="*/ 98 h 194"/>
                <a:gd name="T36" fmla="*/ 5 w 161"/>
                <a:gd name="T37" fmla="*/ 105 h 194"/>
                <a:gd name="T38" fmla="*/ 5 w 161"/>
                <a:gd name="T39" fmla="*/ 94 h 194"/>
                <a:gd name="T40" fmla="*/ 5 w 161"/>
                <a:gd name="T41" fmla="*/ 113 h 194"/>
                <a:gd name="T42" fmla="*/ 5 w 161"/>
                <a:gd name="T43" fmla="*/ 142 h 194"/>
                <a:gd name="T44" fmla="*/ 5 w 161"/>
                <a:gd name="T45" fmla="*/ 162 h 194"/>
                <a:gd name="T46" fmla="*/ 5 w 161"/>
                <a:gd name="T47" fmla="*/ 189 h 194"/>
                <a:gd name="T48" fmla="*/ 5 w 161"/>
                <a:gd name="T49" fmla="*/ 194 h 194"/>
                <a:gd name="T50" fmla="*/ 5 w 161"/>
                <a:gd name="T51" fmla="*/ 187 h 194"/>
                <a:gd name="T52" fmla="*/ 5 w 161"/>
                <a:gd name="T53" fmla="*/ 179 h 19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61"/>
                <a:gd name="T82" fmla="*/ 0 h 194"/>
                <a:gd name="T83" fmla="*/ 161 w 161"/>
                <a:gd name="T84" fmla="*/ 194 h 19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61" h="194">
                  <a:moveTo>
                    <a:pt x="161" y="179"/>
                  </a:moveTo>
                  <a:lnTo>
                    <a:pt x="157" y="157"/>
                  </a:lnTo>
                  <a:lnTo>
                    <a:pt x="136" y="131"/>
                  </a:lnTo>
                  <a:lnTo>
                    <a:pt x="132" y="120"/>
                  </a:lnTo>
                  <a:lnTo>
                    <a:pt x="78" y="70"/>
                  </a:lnTo>
                  <a:lnTo>
                    <a:pt x="90" y="63"/>
                  </a:lnTo>
                  <a:lnTo>
                    <a:pt x="81" y="41"/>
                  </a:lnTo>
                  <a:lnTo>
                    <a:pt x="58" y="36"/>
                  </a:lnTo>
                  <a:lnTo>
                    <a:pt x="34" y="2"/>
                  </a:lnTo>
                  <a:lnTo>
                    <a:pt x="24" y="0"/>
                  </a:lnTo>
                  <a:lnTo>
                    <a:pt x="26" y="26"/>
                  </a:lnTo>
                  <a:lnTo>
                    <a:pt x="20" y="29"/>
                  </a:lnTo>
                  <a:lnTo>
                    <a:pt x="16" y="18"/>
                  </a:lnTo>
                  <a:lnTo>
                    <a:pt x="0" y="41"/>
                  </a:lnTo>
                  <a:lnTo>
                    <a:pt x="10" y="63"/>
                  </a:lnTo>
                  <a:lnTo>
                    <a:pt x="22" y="70"/>
                  </a:lnTo>
                  <a:lnTo>
                    <a:pt x="23" y="109"/>
                  </a:lnTo>
                  <a:lnTo>
                    <a:pt x="44" y="98"/>
                  </a:lnTo>
                  <a:lnTo>
                    <a:pt x="56" y="105"/>
                  </a:lnTo>
                  <a:lnTo>
                    <a:pt x="73" y="94"/>
                  </a:lnTo>
                  <a:lnTo>
                    <a:pt x="95" y="113"/>
                  </a:lnTo>
                  <a:lnTo>
                    <a:pt x="103" y="142"/>
                  </a:lnTo>
                  <a:lnTo>
                    <a:pt x="120" y="162"/>
                  </a:lnTo>
                  <a:lnTo>
                    <a:pt x="118" y="189"/>
                  </a:lnTo>
                  <a:lnTo>
                    <a:pt x="136" y="194"/>
                  </a:lnTo>
                  <a:lnTo>
                    <a:pt x="137" y="187"/>
                  </a:lnTo>
                  <a:lnTo>
                    <a:pt x="161" y="17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9" name="Freeform 161"/>
            <p:cNvSpPr>
              <a:spLocks noChangeAspect="1"/>
            </p:cNvSpPr>
            <p:nvPr/>
          </p:nvSpPr>
          <p:spPr bwMode="auto">
            <a:xfrm>
              <a:off x="4548" y="1890"/>
              <a:ext cx="93" cy="129"/>
            </a:xfrm>
            <a:custGeom>
              <a:avLst/>
              <a:gdLst>
                <a:gd name="T0" fmla="*/ 5 w 103"/>
                <a:gd name="T1" fmla="*/ 48 h 129"/>
                <a:gd name="T2" fmla="*/ 0 w 103"/>
                <a:gd name="T3" fmla="*/ 39 h 129"/>
                <a:gd name="T4" fmla="*/ 5 w 103"/>
                <a:gd name="T5" fmla="*/ 21 h 129"/>
                <a:gd name="T6" fmla="*/ 2 w 103"/>
                <a:gd name="T7" fmla="*/ 19 h 129"/>
                <a:gd name="T8" fmla="*/ 1 w 103"/>
                <a:gd name="T9" fmla="*/ 7 h 129"/>
                <a:gd name="T10" fmla="*/ 5 w 103"/>
                <a:gd name="T11" fmla="*/ 0 h 129"/>
                <a:gd name="T12" fmla="*/ 5 w 103"/>
                <a:gd name="T13" fmla="*/ 7 h 129"/>
                <a:gd name="T14" fmla="*/ 5 w 103"/>
                <a:gd name="T15" fmla="*/ 0 h 129"/>
                <a:gd name="T16" fmla="*/ 5 w 103"/>
                <a:gd name="T17" fmla="*/ 6 h 129"/>
                <a:gd name="T18" fmla="*/ 5 w 103"/>
                <a:gd name="T19" fmla="*/ 25 h 129"/>
                <a:gd name="T20" fmla="*/ 5 w 103"/>
                <a:gd name="T21" fmla="*/ 31 h 129"/>
                <a:gd name="T22" fmla="*/ 5 w 103"/>
                <a:gd name="T23" fmla="*/ 55 h 129"/>
                <a:gd name="T24" fmla="*/ 5 w 103"/>
                <a:gd name="T25" fmla="*/ 63 h 129"/>
                <a:gd name="T26" fmla="*/ 5 w 103"/>
                <a:gd name="T27" fmla="*/ 74 h 129"/>
                <a:gd name="T28" fmla="*/ 5 w 103"/>
                <a:gd name="T29" fmla="*/ 61 h 129"/>
                <a:gd name="T30" fmla="*/ 5 w 103"/>
                <a:gd name="T31" fmla="*/ 67 h 129"/>
                <a:gd name="T32" fmla="*/ 5 w 103"/>
                <a:gd name="T33" fmla="*/ 103 h 129"/>
                <a:gd name="T34" fmla="*/ 5 w 103"/>
                <a:gd name="T35" fmla="*/ 129 h 129"/>
                <a:gd name="T36" fmla="*/ 5 w 103"/>
                <a:gd name="T37" fmla="*/ 84 h 129"/>
                <a:gd name="T38" fmla="*/ 5 w 103"/>
                <a:gd name="T39" fmla="*/ 105 h 129"/>
                <a:gd name="T40" fmla="*/ 5 w 103"/>
                <a:gd name="T41" fmla="*/ 110 h 129"/>
                <a:gd name="T42" fmla="*/ 5 w 103"/>
                <a:gd name="T43" fmla="*/ 48 h 12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3"/>
                <a:gd name="T67" fmla="*/ 0 h 129"/>
                <a:gd name="T68" fmla="*/ 103 w 103"/>
                <a:gd name="T69" fmla="*/ 129 h 12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3" h="129">
                  <a:moveTo>
                    <a:pt x="13" y="48"/>
                  </a:moveTo>
                  <a:lnTo>
                    <a:pt x="0" y="39"/>
                  </a:lnTo>
                  <a:lnTo>
                    <a:pt x="9" y="21"/>
                  </a:lnTo>
                  <a:lnTo>
                    <a:pt x="2" y="19"/>
                  </a:lnTo>
                  <a:lnTo>
                    <a:pt x="1" y="7"/>
                  </a:lnTo>
                  <a:lnTo>
                    <a:pt x="7" y="0"/>
                  </a:lnTo>
                  <a:lnTo>
                    <a:pt x="12" y="7"/>
                  </a:lnTo>
                  <a:lnTo>
                    <a:pt x="14" y="0"/>
                  </a:lnTo>
                  <a:lnTo>
                    <a:pt x="28" y="6"/>
                  </a:lnTo>
                  <a:lnTo>
                    <a:pt x="40" y="25"/>
                  </a:lnTo>
                  <a:lnTo>
                    <a:pt x="85" y="31"/>
                  </a:lnTo>
                  <a:lnTo>
                    <a:pt x="65" y="55"/>
                  </a:lnTo>
                  <a:lnTo>
                    <a:pt x="67" y="63"/>
                  </a:lnTo>
                  <a:lnTo>
                    <a:pt x="80" y="74"/>
                  </a:lnTo>
                  <a:lnTo>
                    <a:pt x="85" y="61"/>
                  </a:lnTo>
                  <a:lnTo>
                    <a:pt x="91" y="67"/>
                  </a:lnTo>
                  <a:lnTo>
                    <a:pt x="103" y="103"/>
                  </a:lnTo>
                  <a:lnTo>
                    <a:pt x="99" y="129"/>
                  </a:lnTo>
                  <a:lnTo>
                    <a:pt x="76" y="84"/>
                  </a:lnTo>
                  <a:lnTo>
                    <a:pt x="56" y="105"/>
                  </a:lnTo>
                  <a:lnTo>
                    <a:pt x="30" y="110"/>
                  </a:lnTo>
                  <a:lnTo>
                    <a:pt x="13" y="4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80" name="Freeform 162"/>
            <p:cNvSpPr>
              <a:spLocks noChangeAspect="1"/>
            </p:cNvSpPr>
            <p:nvPr/>
          </p:nvSpPr>
          <p:spPr bwMode="auto">
            <a:xfrm>
              <a:off x="4557" y="1847"/>
              <a:ext cx="59" cy="36"/>
            </a:xfrm>
            <a:custGeom>
              <a:avLst/>
              <a:gdLst>
                <a:gd name="T0" fmla="*/ 4 w 67"/>
                <a:gd name="T1" fmla="*/ 11 h 36"/>
                <a:gd name="T2" fmla="*/ 4 w 67"/>
                <a:gd name="T3" fmla="*/ 0 h 36"/>
                <a:gd name="T4" fmla="*/ 3 w 67"/>
                <a:gd name="T5" fmla="*/ 22 h 36"/>
                <a:gd name="T6" fmla="*/ 0 w 67"/>
                <a:gd name="T7" fmla="*/ 27 h 36"/>
                <a:gd name="T8" fmla="*/ 4 w 67"/>
                <a:gd name="T9" fmla="*/ 36 h 36"/>
                <a:gd name="T10" fmla="*/ 4 w 67"/>
                <a:gd name="T11" fmla="*/ 33 h 36"/>
                <a:gd name="T12" fmla="*/ 4 w 67"/>
                <a:gd name="T13" fmla="*/ 25 h 36"/>
                <a:gd name="T14" fmla="*/ 4 w 67"/>
                <a:gd name="T15" fmla="*/ 11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7"/>
                <a:gd name="T25" fmla="*/ 0 h 36"/>
                <a:gd name="T26" fmla="*/ 67 w 67"/>
                <a:gd name="T27" fmla="*/ 36 h 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7" h="36">
                  <a:moveTo>
                    <a:pt x="56" y="11"/>
                  </a:moveTo>
                  <a:lnTo>
                    <a:pt x="20" y="0"/>
                  </a:lnTo>
                  <a:lnTo>
                    <a:pt x="3" y="22"/>
                  </a:lnTo>
                  <a:lnTo>
                    <a:pt x="0" y="27"/>
                  </a:lnTo>
                  <a:lnTo>
                    <a:pt x="11" y="36"/>
                  </a:lnTo>
                  <a:lnTo>
                    <a:pt x="60" y="33"/>
                  </a:lnTo>
                  <a:lnTo>
                    <a:pt x="67" y="25"/>
                  </a:lnTo>
                  <a:lnTo>
                    <a:pt x="56" y="1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81" name="Freeform 163"/>
            <p:cNvSpPr>
              <a:spLocks noChangeAspect="1"/>
            </p:cNvSpPr>
            <p:nvPr/>
          </p:nvSpPr>
          <p:spPr bwMode="auto">
            <a:xfrm>
              <a:off x="4397" y="1802"/>
              <a:ext cx="147" cy="88"/>
            </a:xfrm>
            <a:custGeom>
              <a:avLst/>
              <a:gdLst>
                <a:gd name="T0" fmla="*/ 4 w 164"/>
                <a:gd name="T1" fmla="*/ 72 h 88"/>
                <a:gd name="T2" fmla="*/ 4 w 164"/>
                <a:gd name="T3" fmla="*/ 54 h 88"/>
                <a:gd name="T4" fmla="*/ 4 w 164"/>
                <a:gd name="T5" fmla="*/ 54 h 88"/>
                <a:gd name="T6" fmla="*/ 4 w 164"/>
                <a:gd name="T7" fmla="*/ 22 h 88"/>
                <a:gd name="T8" fmla="*/ 4 w 164"/>
                <a:gd name="T9" fmla="*/ 26 h 88"/>
                <a:gd name="T10" fmla="*/ 4 w 164"/>
                <a:gd name="T11" fmla="*/ 3 h 88"/>
                <a:gd name="T12" fmla="*/ 4 w 164"/>
                <a:gd name="T13" fmla="*/ 0 h 88"/>
                <a:gd name="T14" fmla="*/ 0 w 164"/>
                <a:gd name="T15" fmla="*/ 33 h 88"/>
                <a:gd name="T16" fmla="*/ 4 w 164"/>
                <a:gd name="T17" fmla="*/ 66 h 88"/>
                <a:gd name="T18" fmla="*/ 4 w 164"/>
                <a:gd name="T19" fmla="*/ 67 h 88"/>
                <a:gd name="T20" fmla="*/ 4 w 164"/>
                <a:gd name="T21" fmla="*/ 81 h 88"/>
                <a:gd name="T22" fmla="*/ 4 w 164"/>
                <a:gd name="T23" fmla="*/ 88 h 88"/>
                <a:gd name="T24" fmla="*/ 4 w 164"/>
                <a:gd name="T25" fmla="*/ 88 h 88"/>
                <a:gd name="T26" fmla="*/ 4 w 164"/>
                <a:gd name="T27" fmla="*/ 72 h 8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4"/>
                <a:gd name="T43" fmla="*/ 0 h 88"/>
                <a:gd name="T44" fmla="*/ 164 w 164"/>
                <a:gd name="T45" fmla="*/ 88 h 8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4" h="88">
                  <a:moveTo>
                    <a:pt x="161" y="72"/>
                  </a:moveTo>
                  <a:lnTo>
                    <a:pt x="161" y="54"/>
                  </a:lnTo>
                  <a:lnTo>
                    <a:pt x="117" y="54"/>
                  </a:lnTo>
                  <a:lnTo>
                    <a:pt x="74" y="22"/>
                  </a:lnTo>
                  <a:lnTo>
                    <a:pt x="65" y="26"/>
                  </a:lnTo>
                  <a:lnTo>
                    <a:pt x="39" y="3"/>
                  </a:lnTo>
                  <a:lnTo>
                    <a:pt x="13" y="0"/>
                  </a:lnTo>
                  <a:lnTo>
                    <a:pt x="0" y="33"/>
                  </a:lnTo>
                  <a:lnTo>
                    <a:pt x="60" y="66"/>
                  </a:lnTo>
                  <a:lnTo>
                    <a:pt x="85" y="67"/>
                  </a:lnTo>
                  <a:lnTo>
                    <a:pt x="105" y="81"/>
                  </a:lnTo>
                  <a:lnTo>
                    <a:pt x="146" y="88"/>
                  </a:lnTo>
                  <a:lnTo>
                    <a:pt x="164" y="88"/>
                  </a:lnTo>
                  <a:lnTo>
                    <a:pt x="161" y="7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82" name="Freeform 164"/>
            <p:cNvSpPr>
              <a:spLocks noChangeAspect="1"/>
            </p:cNvSpPr>
            <p:nvPr/>
          </p:nvSpPr>
          <p:spPr bwMode="auto">
            <a:xfrm>
              <a:off x="3739" y="1581"/>
              <a:ext cx="367" cy="336"/>
            </a:xfrm>
            <a:custGeom>
              <a:avLst/>
              <a:gdLst>
                <a:gd name="T0" fmla="*/ 5 w 407"/>
                <a:gd name="T1" fmla="*/ 325 h 336"/>
                <a:gd name="T2" fmla="*/ 5 w 407"/>
                <a:gd name="T3" fmla="*/ 296 h 336"/>
                <a:gd name="T4" fmla="*/ 5 w 407"/>
                <a:gd name="T5" fmla="*/ 309 h 336"/>
                <a:gd name="T6" fmla="*/ 5 w 407"/>
                <a:gd name="T7" fmla="*/ 305 h 336"/>
                <a:gd name="T8" fmla="*/ 5 w 407"/>
                <a:gd name="T9" fmla="*/ 276 h 336"/>
                <a:gd name="T10" fmla="*/ 5 w 407"/>
                <a:gd name="T11" fmla="*/ 230 h 336"/>
                <a:gd name="T12" fmla="*/ 5 w 407"/>
                <a:gd name="T13" fmla="*/ 216 h 336"/>
                <a:gd name="T14" fmla="*/ 5 w 407"/>
                <a:gd name="T15" fmla="*/ 226 h 336"/>
                <a:gd name="T16" fmla="*/ 5 w 407"/>
                <a:gd name="T17" fmla="*/ 203 h 336"/>
                <a:gd name="T18" fmla="*/ 5 w 407"/>
                <a:gd name="T19" fmla="*/ 171 h 336"/>
                <a:gd name="T20" fmla="*/ 5 w 407"/>
                <a:gd name="T21" fmla="*/ 155 h 336"/>
                <a:gd name="T22" fmla="*/ 5 w 407"/>
                <a:gd name="T23" fmla="*/ 134 h 336"/>
                <a:gd name="T24" fmla="*/ 5 w 407"/>
                <a:gd name="T25" fmla="*/ 105 h 336"/>
                <a:gd name="T26" fmla="*/ 5 w 407"/>
                <a:gd name="T27" fmla="*/ 59 h 336"/>
                <a:gd name="T28" fmla="*/ 0 w 407"/>
                <a:gd name="T29" fmla="*/ 11 h 336"/>
                <a:gd name="T30" fmla="*/ 5 w 407"/>
                <a:gd name="T31" fmla="*/ 0 h 336"/>
                <a:gd name="T32" fmla="*/ 5 w 407"/>
                <a:gd name="T33" fmla="*/ 20 h 336"/>
                <a:gd name="T34" fmla="*/ 5 w 407"/>
                <a:gd name="T35" fmla="*/ 21 h 336"/>
                <a:gd name="T36" fmla="*/ 5 w 407"/>
                <a:gd name="T37" fmla="*/ 21 h 336"/>
                <a:gd name="T38" fmla="*/ 5 w 407"/>
                <a:gd name="T39" fmla="*/ 21 h 336"/>
                <a:gd name="T40" fmla="*/ 5 w 407"/>
                <a:gd name="T41" fmla="*/ 4 h 336"/>
                <a:gd name="T42" fmla="*/ 5 w 407"/>
                <a:gd name="T43" fmla="*/ 7 h 336"/>
                <a:gd name="T44" fmla="*/ 5 w 407"/>
                <a:gd name="T45" fmla="*/ 21 h 336"/>
                <a:gd name="T46" fmla="*/ 5 w 407"/>
                <a:gd name="T47" fmla="*/ 31 h 336"/>
                <a:gd name="T48" fmla="*/ 5 w 407"/>
                <a:gd name="T49" fmla="*/ 53 h 336"/>
                <a:gd name="T50" fmla="*/ 5 w 407"/>
                <a:gd name="T51" fmla="*/ 76 h 336"/>
                <a:gd name="T52" fmla="*/ 5 w 407"/>
                <a:gd name="T53" fmla="*/ 70 h 336"/>
                <a:gd name="T54" fmla="*/ 5 w 407"/>
                <a:gd name="T55" fmla="*/ 55 h 336"/>
                <a:gd name="T56" fmla="*/ 5 w 407"/>
                <a:gd name="T57" fmla="*/ 40 h 336"/>
                <a:gd name="T58" fmla="*/ 5 w 407"/>
                <a:gd name="T59" fmla="*/ 36 h 336"/>
                <a:gd name="T60" fmla="*/ 5 w 407"/>
                <a:gd name="T61" fmla="*/ 80 h 336"/>
                <a:gd name="T62" fmla="*/ 5 w 407"/>
                <a:gd name="T63" fmla="*/ 92 h 336"/>
                <a:gd name="T64" fmla="*/ 5 w 407"/>
                <a:gd name="T65" fmla="*/ 114 h 336"/>
                <a:gd name="T66" fmla="*/ 5 w 407"/>
                <a:gd name="T67" fmla="*/ 133 h 336"/>
                <a:gd name="T68" fmla="*/ 5 w 407"/>
                <a:gd name="T69" fmla="*/ 135 h 336"/>
                <a:gd name="T70" fmla="*/ 5 w 407"/>
                <a:gd name="T71" fmla="*/ 185 h 336"/>
                <a:gd name="T72" fmla="*/ 5 w 407"/>
                <a:gd name="T73" fmla="*/ 194 h 336"/>
                <a:gd name="T74" fmla="*/ 5 w 407"/>
                <a:gd name="T75" fmla="*/ 205 h 336"/>
                <a:gd name="T76" fmla="*/ 5 w 407"/>
                <a:gd name="T77" fmla="*/ 230 h 336"/>
                <a:gd name="T78" fmla="*/ 5 w 407"/>
                <a:gd name="T79" fmla="*/ 260 h 336"/>
                <a:gd name="T80" fmla="*/ 5 w 407"/>
                <a:gd name="T81" fmla="*/ 266 h 336"/>
                <a:gd name="T82" fmla="*/ 5 w 407"/>
                <a:gd name="T83" fmla="*/ 292 h 336"/>
                <a:gd name="T84" fmla="*/ 5 w 407"/>
                <a:gd name="T85" fmla="*/ 300 h 336"/>
                <a:gd name="T86" fmla="*/ 5 w 407"/>
                <a:gd name="T87" fmla="*/ 316 h 336"/>
                <a:gd name="T88" fmla="*/ 5 w 407"/>
                <a:gd name="T89" fmla="*/ 336 h 336"/>
                <a:gd name="T90" fmla="*/ 5 w 407"/>
                <a:gd name="T91" fmla="*/ 325 h 3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7"/>
                <a:gd name="T139" fmla="*/ 0 h 336"/>
                <a:gd name="T140" fmla="*/ 407 w 407"/>
                <a:gd name="T141" fmla="*/ 336 h 3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7" h="336">
                  <a:moveTo>
                    <a:pt x="293" y="325"/>
                  </a:moveTo>
                  <a:lnTo>
                    <a:pt x="279" y="296"/>
                  </a:lnTo>
                  <a:lnTo>
                    <a:pt x="240" y="309"/>
                  </a:lnTo>
                  <a:lnTo>
                    <a:pt x="221" y="305"/>
                  </a:lnTo>
                  <a:lnTo>
                    <a:pt x="173" y="276"/>
                  </a:lnTo>
                  <a:lnTo>
                    <a:pt x="146" y="230"/>
                  </a:lnTo>
                  <a:lnTo>
                    <a:pt x="117" y="216"/>
                  </a:lnTo>
                  <a:lnTo>
                    <a:pt x="112" y="226"/>
                  </a:lnTo>
                  <a:lnTo>
                    <a:pt x="90" y="203"/>
                  </a:lnTo>
                  <a:lnTo>
                    <a:pt x="80" y="171"/>
                  </a:lnTo>
                  <a:lnTo>
                    <a:pt x="54" y="155"/>
                  </a:lnTo>
                  <a:lnTo>
                    <a:pt x="39" y="134"/>
                  </a:lnTo>
                  <a:lnTo>
                    <a:pt x="51" y="105"/>
                  </a:lnTo>
                  <a:lnTo>
                    <a:pt x="20" y="59"/>
                  </a:lnTo>
                  <a:lnTo>
                    <a:pt x="0" y="11"/>
                  </a:lnTo>
                  <a:lnTo>
                    <a:pt x="8" y="0"/>
                  </a:lnTo>
                  <a:lnTo>
                    <a:pt x="26" y="20"/>
                  </a:lnTo>
                  <a:lnTo>
                    <a:pt x="38" y="21"/>
                  </a:lnTo>
                  <a:lnTo>
                    <a:pt x="45" y="21"/>
                  </a:lnTo>
                  <a:lnTo>
                    <a:pt x="50" y="21"/>
                  </a:lnTo>
                  <a:lnTo>
                    <a:pt x="70" y="4"/>
                  </a:lnTo>
                  <a:lnTo>
                    <a:pt x="76" y="7"/>
                  </a:lnTo>
                  <a:lnTo>
                    <a:pt x="76" y="21"/>
                  </a:lnTo>
                  <a:lnTo>
                    <a:pt x="91" y="31"/>
                  </a:lnTo>
                  <a:lnTo>
                    <a:pt x="97" y="53"/>
                  </a:lnTo>
                  <a:lnTo>
                    <a:pt x="150" y="76"/>
                  </a:lnTo>
                  <a:lnTo>
                    <a:pt x="193" y="70"/>
                  </a:lnTo>
                  <a:lnTo>
                    <a:pt x="192" y="55"/>
                  </a:lnTo>
                  <a:lnTo>
                    <a:pt x="218" y="40"/>
                  </a:lnTo>
                  <a:lnTo>
                    <a:pt x="249" y="36"/>
                  </a:lnTo>
                  <a:lnTo>
                    <a:pt x="336" y="80"/>
                  </a:lnTo>
                  <a:lnTo>
                    <a:pt x="339" y="92"/>
                  </a:lnTo>
                  <a:lnTo>
                    <a:pt x="339" y="114"/>
                  </a:lnTo>
                  <a:lnTo>
                    <a:pt x="330" y="133"/>
                  </a:lnTo>
                  <a:lnTo>
                    <a:pt x="330" y="135"/>
                  </a:lnTo>
                  <a:lnTo>
                    <a:pt x="343" y="185"/>
                  </a:lnTo>
                  <a:lnTo>
                    <a:pt x="360" y="194"/>
                  </a:lnTo>
                  <a:lnTo>
                    <a:pt x="364" y="205"/>
                  </a:lnTo>
                  <a:lnTo>
                    <a:pt x="353" y="230"/>
                  </a:lnTo>
                  <a:lnTo>
                    <a:pt x="375" y="260"/>
                  </a:lnTo>
                  <a:lnTo>
                    <a:pt x="391" y="266"/>
                  </a:lnTo>
                  <a:lnTo>
                    <a:pt x="407" y="292"/>
                  </a:lnTo>
                  <a:lnTo>
                    <a:pt x="404" y="300"/>
                  </a:lnTo>
                  <a:lnTo>
                    <a:pt x="381" y="316"/>
                  </a:lnTo>
                  <a:lnTo>
                    <a:pt x="379" y="336"/>
                  </a:lnTo>
                  <a:lnTo>
                    <a:pt x="293" y="32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83" name="Freeform 165"/>
            <p:cNvSpPr>
              <a:spLocks noChangeAspect="1"/>
            </p:cNvSpPr>
            <p:nvPr/>
          </p:nvSpPr>
          <p:spPr bwMode="auto">
            <a:xfrm>
              <a:off x="4058" y="1647"/>
              <a:ext cx="270" cy="305"/>
            </a:xfrm>
            <a:custGeom>
              <a:avLst/>
              <a:gdLst>
                <a:gd name="T0" fmla="*/ 4 w 300"/>
                <a:gd name="T1" fmla="*/ 293 h 305"/>
                <a:gd name="T2" fmla="*/ 4 w 300"/>
                <a:gd name="T3" fmla="*/ 291 h 305"/>
                <a:gd name="T4" fmla="*/ 4 w 300"/>
                <a:gd name="T5" fmla="*/ 278 h 305"/>
                <a:gd name="T6" fmla="*/ 4 w 300"/>
                <a:gd name="T7" fmla="*/ 260 h 305"/>
                <a:gd name="T8" fmla="*/ 4 w 300"/>
                <a:gd name="T9" fmla="*/ 254 h 305"/>
                <a:gd name="T10" fmla="*/ 4 w 300"/>
                <a:gd name="T11" fmla="*/ 241 h 305"/>
                <a:gd name="T12" fmla="*/ 4 w 300"/>
                <a:gd name="T13" fmla="*/ 238 h 305"/>
                <a:gd name="T14" fmla="*/ 4 w 300"/>
                <a:gd name="T15" fmla="*/ 224 h 305"/>
                <a:gd name="T16" fmla="*/ 4 w 300"/>
                <a:gd name="T17" fmla="*/ 208 h 305"/>
                <a:gd name="T18" fmla="*/ 4 w 300"/>
                <a:gd name="T19" fmla="*/ 214 h 305"/>
                <a:gd name="T20" fmla="*/ 4 w 300"/>
                <a:gd name="T21" fmla="*/ 208 h 305"/>
                <a:gd name="T22" fmla="*/ 4 w 300"/>
                <a:gd name="T23" fmla="*/ 135 h 305"/>
                <a:gd name="T24" fmla="*/ 4 w 300"/>
                <a:gd name="T25" fmla="*/ 117 h 305"/>
                <a:gd name="T26" fmla="*/ 4 w 300"/>
                <a:gd name="T27" fmla="*/ 113 h 305"/>
                <a:gd name="T28" fmla="*/ 4 w 300"/>
                <a:gd name="T29" fmla="*/ 107 h 305"/>
                <a:gd name="T30" fmla="*/ 4 w 300"/>
                <a:gd name="T31" fmla="*/ 90 h 305"/>
                <a:gd name="T32" fmla="*/ 4 w 300"/>
                <a:gd name="T33" fmla="*/ 67 h 305"/>
                <a:gd name="T34" fmla="*/ 4 w 300"/>
                <a:gd name="T35" fmla="*/ 56 h 305"/>
                <a:gd name="T36" fmla="*/ 4 w 300"/>
                <a:gd name="T37" fmla="*/ 50 h 305"/>
                <a:gd name="T38" fmla="*/ 4 w 300"/>
                <a:gd name="T39" fmla="*/ 56 h 305"/>
                <a:gd name="T40" fmla="*/ 4 w 300"/>
                <a:gd name="T41" fmla="*/ 49 h 305"/>
                <a:gd name="T42" fmla="*/ 4 w 300"/>
                <a:gd name="T43" fmla="*/ 36 h 305"/>
                <a:gd name="T44" fmla="*/ 4 w 300"/>
                <a:gd name="T45" fmla="*/ 25 h 305"/>
                <a:gd name="T46" fmla="*/ 4 w 300"/>
                <a:gd name="T47" fmla="*/ 5 h 305"/>
                <a:gd name="T48" fmla="*/ 4 w 300"/>
                <a:gd name="T49" fmla="*/ 0 h 305"/>
                <a:gd name="T50" fmla="*/ 4 w 300"/>
                <a:gd name="T51" fmla="*/ 3 h 305"/>
                <a:gd name="T52" fmla="*/ 4 w 300"/>
                <a:gd name="T53" fmla="*/ 3 h 305"/>
                <a:gd name="T54" fmla="*/ 4 w 300"/>
                <a:gd name="T55" fmla="*/ 17 h 305"/>
                <a:gd name="T56" fmla="*/ 4 w 300"/>
                <a:gd name="T57" fmla="*/ 45 h 305"/>
                <a:gd name="T58" fmla="*/ 4 w 300"/>
                <a:gd name="T59" fmla="*/ 68 h 305"/>
                <a:gd name="T60" fmla="*/ 4 w 300"/>
                <a:gd name="T61" fmla="*/ 68 h 305"/>
                <a:gd name="T62" fmla="*/ 4 w 300"/>
                <a:gd name="T63" fmla="*/ 80 h 305"/>
                <a:gd name="T64" fmla="*/ 4 w 300"/>
                <a:gd name="T65" fmla="*/ 93 h 305"/>
                <a:gd name="T66" fmla="*/ 4 w 300"/>
                <a:gd name="T67" fmla="*/ 119 h 305"/>
                <a:gd name="T68" fmla="*/ 4 w 300"/>
                <a:gd name="T69" fmla="*/ 130 h 305"/>
                <a:gd name="T70" fmla="*/ 4 w 300"/>
                <a:gd name="T71" fmla="*/ 139 h 305"/>
                <a:gd name="T72" fmla="*/ 4 w 300"/>
                <a:gd name="T73" fmla="*/ 164 h 305"/>
                <a:gd name="T74" fmla="*/ 4 w 300"/>
                <a:gd name="T75" fmla="*/ 174 h 305"/>
                <a:gd name="T76" fmla="*/ 0 w 300"/>
                <a:gd name="T77" fmla="*/ 164 h 305"/>
                <a:gd name="T78" fmla="*/ 4 w 300"/>
                <a:gd name="T79" fmla="*/ 194 h 305"/>
                <a:gd name="T80" fmla="*/ 4 w 300"/>
                <a:gd name="T81" fmla="*/ 200 h 305"/>
                <a:gd name="T82" fmla="*/ 4 w 300"/>
                <a:gd name="T83" fmla="*/ 226 h 305"/>
                <a:gd name="T84" fmla="*/ 4 w 300"/>
                <a:gd name="T85" fmla="*/ 234 h 305"/>
                <a:gd name="T86" fmla="*/ 4 w 300"/>
                <a:gd name="T87" fmla="*/ 250 h 305"/>
                <a:gd name="T88" fmla="*/ 4 w 300"/>
                <a:gd name="T89" fmla="*/ 270 h 305"/>
                <a:gd name="T90" fmla="*/ 4 w 300"/>
                <a:gd name="T91" fmla="*/ 266 h 305"/>
                <a:gd name="T92" fmla="*/ 4 w 300"/>
                <a:gd name="T93" fmla="*/ 272 h 305"/>
                <a:gd name="T94" fmla="*/ 4 w 300"/>
                <a:gd name="T95" fmla="*/ 267 h 305"/>
                <a:gd name="T96" fmla="*/ 4 w 300"/>
                <a:gd name="T97" fmla="*/ 300 h 305"/>
                <a:gd name="T98" fmla="*/ 4 w 300"/>
                <a:gd name="T99" fmla="*/ 305 h 305"/>
                <a:gd name="T100" fmla="*/ 4 w 300"/>
                <a:gd name="T101" fmla="*/ 293 h 30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305"/>
                <a:gd name="T155" fmla="*/ 300 w 300"/>
                <a:gd name="T156" fmla="*/ 305 h 30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305">
                  <a:moveTo>
                    <a:pt x="171" y="293"/>
                  </a:moveTo>
                  <a:lnTo>
                    <a:pt x="211" y="291"/>
                  </a:lnTo>
                  <a:lnTo>
                    <a:pt x="211" y="278"/>
                  </a:lnTo>
                  <a:lnTo>
                    <a:pt x="202" y="260"/>
                  </a:lnTo>
                  <a:lnTo>
                    <a:pt x="191" y="254"/>
                  </a:lnTo>
                  <a:lnTo>
                    <a:pt x="191" y="241"/>
                  </a:lnTo>
                  <a:lnTo>
                    <a:pt x="178" y="238"/>
                  </a:lnTo>
                  <a:lnTo>
                    <a:pt x="178" y="224"/>
                  </a:lnTo>
                  <a:lnTo>
                    <a:pt x="189" y="208"/>
                  </a:lnTo>
                  <a:lnTo>
                    <a:pt x="202" y="214"/>
                  </a:lnTo>
                  <a:lnTo>
                    <a:pt x="219" y="208"/>
                  </a:lnTo>
                  <a:lnTo>
                    <a:pt x="265" y="135"/>
                  </a:lnTo>
                  <a:lnTo>
                    <a:pt x="260" y="117"/>
                  </a:lnTo>
                  <a:lnTo>
                    <a:pt x="269" y="113"/>
                  </a:lnTo>
                  <a:lnTo>
                    <a:pt x="269" y="107"/>
                  </a:lnTo>
                  <a:lnTo>
                    <a:pt x="244" y="90"/>
                  </a:lnTo>
                  <a:lnTo>
                    <a:pt x="240" y="67"/>
                  </a:lnTo>
                  <a:lnTo>
                    <a:pt x="231" y="56"/>
                  </a:lnTo>
                  <a:lnTo>
                    <a:pt x="234" y="50"/>
                  </a:lnTo>
                  <a:lnTo>
                    <a:pt x="268" y="56"/>
                  </a:lnTo>
                  <a:lnTo>
                    <a:pt x="289" y="49"/>
                  </a:lnTo>
                  <a:lnTo>
                    <a:pt x="300" y="36"/>
                  </a:lnTo>
                  <a:lnTo>
                    <a:pt x="268" y="25"/>
                  </a:lnTo>
                  <a:lnTo>
                    <a:pt x="256" y="5"/>
                  </a:lnTo>
                  <a:lnTo>
                    <a:pt x="234" y="0"/>
                  </a:lnTo>
                  <a:lnTo>
                    <a:pt x="217" y="3"/>
                  </a:lnTo>
                  <a:lnTo>
                    <a:pt x="200" y="3"/>
                  </a:lnTo>
                  <a:lnTo>
                    <a:pt x="177" y="17"/>
                  </a:lnTo>
                  <a:lnTo>
                    <a:pt x="185" y="45"/>
                  </a:lnTo>
                  <a:lnTo>
                    <a:pt x="178" y="68"/>
                  </a:lnTo>
                  <a:lnTo>
                    <a:pt x="159" y="68"/>
                  </a:lnTo>
                  <a:lnTo>
                    <a:pt x="166" y="80"/>
                  </a:lnTo>
                  <a:lnTo>
                    <a:pt x="157" y="93"/>
                  </a:lnTo>
                  <a:lnTo>
                    <a:pt x="153" y="119"/>
                  </a:lnTo>
                  <a:lnTo>
                    <a:pt x="113" y="130"/>
                  </a:lnTo>
                  <a:lnTo>
                    <a:pt x="104" y="139"/>
                  </a:lnTo>
                  <a:lnTo>
                    <a:pt x="103" y="164"/>
                  </a:lnTo>
                  <a:lnTo>
                    <a:pt x="29" y="174"/>
                  </a:lnTo>
                  <a:lnTo>
                    <a:pt x="0" y="164"/>
                  </a:lnTo>
                  <a:lnTo>
                    <a:pt x="22" y="194"/>
                  </a:lnTo>
                  <a:lnTo>
                    <a:pt x="38" y="200"/>
                  </a:lnTo>
                  <a:lnTo>
                    <a:pt x="54" y="226"/>
                  </a:lnTo>
                  <a:lnTo>
                    <a:pt x="51" y="234"/>
                  </a:lnTo>
                  <a:lnTo>
                    <a:pt x="28" y="250"/>
                  </a:lnTo>
                  <a:lnTo>
                    <a:pt x="26" y="270"/>
                  </a:lnTo>
                  <a:lnTo>
                    <a:pt x="69" y="266"/>
                  </a:lnTo>
                  <a:lnTo>
                    <a:pt x="86" y="272"/>
                  </a:lnTo>
                  <a:lnTo>
                    <a:pt x="124" y="267"/>
                  </a:lnTo>
                  <a:lnTo>
                    <a:pt x="143" y="300"/>
                  </a:lnTo>
                  <a:lnTo>
                    <a:pt x="157" y="305"/>
                  </a:lnTo>
                  <a:lnTo>
                    <a:pt x="171" y="29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84" name="Freeform 166"/>
            <p:cNvSpPr>
              <a:spLocks noChangeAspect="1"/>
            </p:cNvSpPr>
            <p:nvPr/>
          </p:nvSpPr>
          <p:spPr bwMode="auto">
            <a:xfrm>
              <a:off x="4037" y="1613"/>
              <a:ext cx="234" cy="208"/>
            </a:xfrm>
            <a:custGeom>
              <a:avLst/>
              <a:gdLst>
                <a:gd name="T0" fmla="*/ 5 w 258"/>
                <a:gd name="T1" fmla="*/ 26 h 208"/>
                <a:gd name="T2" fmla="*/ 5 w 258"/>
                <a:gd name="T3" fmla="*/ 32 h 208"/>
                <a:gd name="T4" fmla="*/ 5 w 258"/>
                <a:gd name="T5" fmla="*/ 33 h 208"/>
                <a:gd name="T6" fmla="*/ 5 w 258"/>
                <a:gd name="T7" fmla="*/ 30 h 208"/>
                <a:gd name="T8" fmla="*/ 5 w 258"/>
                <a:gd name="T9" fmla="*/ 20 h 208"/>
                <a:gd name="T10" fmla="*/ 5 w 258"/>
                <a:gd name="T11" fmla="*/ 21 h 208"/>
                <a:gd name="T12" fmla="*/ 5 w 258"/>
                <a:gd name="T13" fmla="*/ 0 h 208"/>
                <a:gd name="T14" fmla="*/ 5 w 258"/>
                <a:gd name="T15" fmla="*/ 13 h 208"/>
                <a:gd name="T16" fmla="*/ 5 w 258"/>
                <a:gd name="T17" fmla="*/ 39 h 208"/>
                <a:gd name="T18" fmla="*/ 5 w 258"/>
                <a:gd name="T19" fmla="*/ 23 h 208"/>
                <a:gd name="T20" fmla="*/ 5 w 258"/>
                <a:gd name="T21" fmla="*/ 28 h 208"/>
                <a:gd name="T22" fmla="*/ 5 w 258"/>
                <a:gd name="T23" fmla="*/ 32 h 208"/>
                <a:gd name="T24" fmla="*/ 5 w 258"/>
                <a:gd name="T25" fmla="*/ 34 h 208"/>
                <a:gd name="T26" fmla="*/ 5 w 258"/>
                <a:gd name="T27" fmla="*/ 37 h 208"/>
                <a:gd name="T28" fmla="*/ 5 w 258"/>
                <a:gd name="T29" fmla="*/ 37 h 208"/>
                <a:gd name="T30" fmla="*/ 5 w 258"/>
                <a:gd name="T31" fmla="*/ 51 h 208"/>
                <a:gd name="T32" fmla="*/ 5 w 258"/>
                <a:gd name="T33" fmla="*/ 79 h 208"/>
                <a:gd name="T34" fmla="*/ 5 w 258"/>
                <a:gd name="T35" fmla="*/ 102 h 208"/>
                <a:gd name="T36" fmla="*/ 5 w 258"/>
                <a:gd name="T37" fmla="*/ 102 h 208"/>
                <a:gd name="T38" fmla="*/ 5 w 258"/>
                <a:gd name="T39" fmla="*/ 114 h 208"/>
                <a:gd name="T40" fmla="*/ 5 w 258"/>
                <a:gd name="T41" fmla="*/ 127 h 208"/>
                <a:gd name="T42" fmla="*/ 5 w 258"/>
                <a:gd name="T43" fmla="*/ 153 h 208"/>
                <a:gd name="T44" fmla="*/ 5 w 258"/>
                <a:gd name="T45" fmla="*/ 164 h 208"/>
                <a:gd name="T46" fmla="*/ 5 w 258"/>
                <a:gd name="T47" fmla="*/ 173 h 208"/>
                <a:gd name="T48" fmla="*/ 5 w 258"/>
                <a:gd name="T49" fmla="*/ 198 h 208"/>
                <a:gd name="T50" fmla="*/ 5 w 258"/>
                <a:gd name="T51" fmla="*/ 208 h 208"/>
                <a:gd name="T52" fmla="*/ 5 w 258"/>
                <a:gd name="T53" fmla="*/ 198 h 208"/>
                <a:gd name="T54" fmla="*/ 5 w 258"/>
                <a:gd name="T55" fmla="*/ 173 h 208"/>
                <a:gd name="T56" fmla="*/ 5 w 258"/>
                <a:gd name="T57" fmla="*/ 162 h 208"/>
                <a:gd name="T58" fmla="*/ 5 w 258"/>
                <a:gd name="T59" fmla="*/ 153 h 208"/>
                <a:gd name="T60" fmla="*/ 0 w 258"/>
                <a:gd name="T61" fmla="*/ 103 h 208"/>
                <a:gd name="T62" fmla="*/ 0 w 258"/>
                <a:gd name="T63" fmla="*/ 101 h 208"/>
                <a:gd name="T64" fmla="*/ 5 w 258"/>
                <a:gd name="T65" fmla="*/ 82 h 208"/>
                <a:gd name="T66" fmla="*/ 5 w 258"/>
                <a:gd name="T67" fmla="*/ 60 h 208"/>
                <a:gd name="T68" fmla="*/ 5 w 258"/>
                <a:gd name="T69" fmla="*/ 68 h 208"/>
                <a:gd name="T70" fmla="*/ 5 w 258"/>
                <a:gd name="T71" fmla="*/ 60 h 208"/>
                <a:gd name="T72" fmla="*/ 5 w 258"/>
                <a:gd name="T73" fmla="*/ 50 h 208"/>
                <a:gd name="T74" fmla="*/ 5 w 258"/>
                <a:gd name="T75" fmla="*/ 28 h 208"/>
                <a:gd name="T76" fmla="*/ 5 w 258"/>
                <a:gd name="T77" fmla="*/ 27 h 208"/>
                <a:gd name="T78" fmla="*/ 5 w 258"/>
                <a:gd name="T79" fmla="*/ 21 h 208"/>
                <a:gd name="T80" fmla="*/ 5 w 258"/>
                <a:gd name="T81" fmla="*/ 26 h 20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58"/>
                <a:gd name="T124" fmla="*/ 0 h 208"/>
                <a:gd name="T125" fmla="*/ 258 w 258"/>
                <a:gd name="T126" fmla="*/ 208 h 20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58" h="208">
                  <a:moveTo>
                    <a:pt x="100" y="26"/>
                  </a:moveTo>
                  <a:lnTo>
                    <a:pt x="123" y="32"/>
                  </a:lnTo>
                  <a:lnTo>
                    <a:pt x="131" y="33"/>
                  </a:lnTo>
                  <a:lnTo>
                    <a:pt x="152" y="30"/>
                  </a:lnTo>
                  <a:lnTo>
                    <a:pt x="157" y="20"/>
                  </a:lnTo>
                  <a:lnTo>
                    <a:pt x="169" y="21"/>
                  </a:lnTo>
                  <a:lnTo>
                    <a:pt x="177" y="0"/>
                  </a:lnTo>
                  <a:lnTo>
                    <a:pt x="193" y="13"/>
                  </a:lnTo>
                  <a:lnTo>
                    <a:pt x="200" y="39"/>
                  </a:lnTo>
                  <a:lnTo>
                    <a:pt x="231" y="23"/>
                  </a:lnTo>
                  <a:lnTo>
                    <a:pt x="258" y="28"/>
                  </a:lnTo>
                  <a:lnTo>
                    <a:pt x="255" y="32"/>
                  </a:lnTo>
                  <a:lnTo>
                    <a:pt x="257" y="34"/>
                  </a:lnTo>
                  <a:lnTo>
                    <a:pt x="240" y="37"/>
                  </a:lnTo>
                  <a:lnTo>
                    <a:pt x="223" y="37"/>
                  </a:lnTo>
                  <a:lnTo>
                    <a:pt x="200" y="51"/>
                  </a:lnTo>
                  <a:lnTo>
                    <a:pt x="208" y="79"/>
                  </a:lnTo>
                  <a:lnTo>
                    <a:pt x="201" y="102"/>
                  </a:lnTo>
                  <a:lnTo>
                    <a:pt x="182" y="102"/>
                  </a:lnTo>
                  <a:lnTo>
                    <a:pt x="189" y="114"/>
                  </a:lnTo>
                  <a:lnTo>
                    <a:pt x="180" y="127"/>
                  </a:lnTo>
                  <a:lnTo>
                    <a:pt x="176" y="153"/>
                  </a:lnTo>
                  <a:lnTo>
                    <a:pt x="136" y="164"/>
                  </a:lnTo>
                  <a:lnTo>
                    <a:pt x="127" y="173"/>
                  </a:lnTo>
                  <a:lnTo>
                    <a:pt x="126" y="198"/>
                  </a:lnTo>
                  <a:lnTo>
                    <a:pt x="52" y="208"/>
                  </a:lnTo>
                  <a:lnTo>
                    <a:pt x="23" y="198"/>
                  </a:lnTo>
                  <a:lnTo>
                    <a:pt x="34" y="173"/>
                  </a:lnTo>
                  <a:lnTo>
                    <a:pt x="30" y="162"/>
                  </a:lnTo>
                  <a:lnTo>
                    <a:pt x="13" y="153"/>
                  </a:lnTo>
                  <a:lnTo>
                    <a:pt x="0" y="103"/>
                  </a:lnTo>
                  <a:lnTo>
                    <a:pt x="0" y="101"/>
                  </a:lnTo>
                  <a:lnTo>
                    <a:pt x="9" y="82"/>
                  </a:lnTo>
                  <a:lnTo>
                    <a:pt x="9" y="60"/>
                  </a:lnTo>
                  <a:lnTo>
                    <a:pt x="38" y="68"/>
                  </a:lnTo>
                  <a:lnTo>
                    <a:pt x="47" y="60"/>
                  </a:lnTo>
                  <a:lnTo>
                    <a:pt x="68" y="50"/>
                  </a:lnTo>
                  <a:lnTo>
                    <a:pt x="72" y="28"/>
                  </a:lnTo>
                  <a:lnTo>
                    <a:pt x="83" y="27"/>
                  </a:lnTo>
                  <a:lnTo>
                    <a:pt x="84" y="21"/>
                  </a:lnTo>
                  <a:lnTo>
                    <a:pt x="100" y="2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85" name="Freeform 16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088" y="1514"/>
              <a:ext cx="87" cy="116"/>
            </a:xfrm>
            <a:custGeom>
              <a:avLst/>
              <a:gdLst>
                <a:gd name="T0" fmla="*/ 5 w 96"/>
                <a:gd name="T1" fmla="*/ 0 h 116"/>
                <a:gd name="T2" fmla="*/ 5 w 96"/>
                <a:gd name="T3" fmla="*/ 19 h 116"/>
                <a:gd name="T4" fmla="*/ 5 w 96"/>
                <a:gd name="T5" fmla="*/ 21 h 116"/>
                <a:gd name="T6" fmla="*/ 5 w 96"/>
                <a:gd name="T7" fmla="*/ 34 h 116"/>
                <a:gd name="T8" fmla="*/ 5 w 96"/>
                <a:gd name="T9" fmla="*/ 29 h 116"/>
                <a:gd name="T10" fmla="*/ 0 w 96"/>
                <a:gd name="T11" fmla="*/ 73 h 116"/>
                <a:gd name="T12" fmla="*/ 5 w 96"/>
                <a:gd name="T13" fmla="*/ 78 h 116"/>
                <a:gd name="T14" fmla="*/ 5 w 96"/>
                <a:gd name="T15" fmla="*/ 108 h 116"/>
                <a:gd name="T16" fmla="*/ 5 w 96"/>
                <a:gd name="T17" fmla="*/ 116 h 116"/>
                <a:gd name="T18" fmla="*/ 5 w 96"/>
                <a:gd name="T19" fmla="*/ 105 h 116"/>
                <a:gd name="T20" fmla="*/ 5 w 96"/>
                <a:gd name="T21" fmla="*/ 99 h 116"/>
                <a:gd name="T22" fmla="*/ 5 w 96"/>
                <a:gd name="T23" fmla="*/ 81 h 116"/>
                <a:gd name="T24" fmla="*/ 5 w 96"/>
                <a:gd name="T25" fmla="*/ 68 h 116"/>
                <a:gd name="T26" fmla="*/ 5 w 96"/>
                <a:gd name="T27" fmla="*/ 46 h 116"/>
                <a:gd name="T28" fmla="*/ 5 w 96"/>
                <a:gd name="T29" fmla="*/ 29 h 116"/>
                <a:gd name="T30" fmla="*/ 5 w 96"/>
                <a:gd name="T31" fmla="*/ 6 h 116"/>
                <a:gd name="T32" fmla="*/ 5 w 96"/>
                <a:gd name="T33" fmla="*/ 0 h 1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6"/>
                <a:gd name="T52" fmla="*/ 0 h 116"/>
                <a:gd name="T53" fmla="*/ 96 w 96"/>
                <a:gd name="T54" fmla="*/ 116 h 11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6" h="116">
                  <a:moveTo>
                    <a:pt x="73" y="0"/>
                  </a:moveTo>
                  <a:lnTo>
                    <a:pt x="67" y="19"/>
                  </a:lnTo>
                  <a:lnTo>
                    <a:pt x="52" y="21"/>
                  </a:lnTo>
                  <a:lnTo>
                    <a:pt x="53" y="34"/>
                  </a:lnTo>
                  <a:lnTo>
                    <a:pt x="32" y="29"/>
                  </a:lnTo>
                  <a:lnTo>
                    <a:pt x="0" y="73"/>
                  </a:lnTo>
                  <a:lnTo>
                    <a:pt x="28" y="78"/>
                  </a:lnTo>
                  <a:lnTo>
                    <a:pt x="29" y="108"/>
                  </a:lnTo>
                  <a:lnTo>
                    <a:pt x="67" y="116"/>
                  </a:lnTo>
                  <a:lnTo>
                    <a:pt x="75" y="105"/>
                  </a:lnTo>
                  <a:lnTo>
                    <a:pt x="96" y="99"/>
                  </a:lnTo>
                  <a:lnTo>
                    <a:pt x="65" y="81"/>
                  </a:lnTo>
                  <a:lnTo>
                    <a:pt x="59" y="68"/>
                  </a:lnTo>
                  <a:lnTo>
                    <a:pt x="92" y="46"/>
                  </a:lnTo>
                  <a:lnTo>
                    <a:pt x="81" y="29"/>
                  </a:lnTo>
                  <a:lnTo>
                    <a:pt x="93" y="6"/>
                  </a:lnTo>
                  <a:lnTo>
                    <a:pt x="73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86" name="Freeform 168"/>
            <p:cNvSpPr>
              <a:spLocks noChangeAspect="1"/>
            </p:cNvSpPr>
            <p:nvPr/>
          </p:nvSpPr>
          <p:spPr bwMode="auto">
            <a:xfrm>
              <a:off x="4407" y="1304"/>
              <a:ext cx="529" cy="238"/>
            </a:xfrm>
            <a:custGeom>
              <a:avLst/>
              <a:gdLst>
                <a:gd name="T0" fmla="*/ 5 w 587"/>
                <a:gd name="T1" fmla="*/ 63 h 238"/>
                <a:gd name="T2" fmla="*/ 5 w 587"/>
                <a:gd name="T3" fmla="*/ 100 h 238"/>
                <a:gd name="T4" fmla="*/ 5 w 587"/>
                <a:gd name="T5" fmla="*/ 102 h 238"/>
                <a:gd name="T6" fmla="*/ 5 w 587"/>
                <a:gd name="T7" fmla="*/ 95 h 238"/>
                <a:gd name="T8" fmla="*/ 5 w 587"/>
                <a:gd name="T9" fmla="*/ 105 h 238"/>
                <a:gd name="T10" fmla="*/ 5 w 587"/>
                <a:gd name="T11" fmla="*/ 123 h 238"/>
                <a:gd name="T12" fmla="*/ 5 w 587"/>
                <a:gd name="T13" fmla="*/ 124 h 238"/>
                <a:gd name="T14" fmla="*/ 5 w 587"/>
                <a:gd name="T15" fmla="*/ 143 h 238"/>
                <a:gd name="T16" fmla="*/ 5 w 587"/>
                <a:gd name="T17" fmla="*/ 149 h 238"/>
                <a:gd name="T18" fmla="*/ 5 w 587"/>
                <a:gd name="T19" fmla="*/ 165 h 238"/>
                <a:gd name="T20" fmla="*/ 5 w 587"/>
                <a:gd name="T21" fmla="*/ 158 h 238"/>
                <a:gd name="T22" fmla="*/ 5 w 587"/>
                <a:gd name="T23" fmla="*/ 172 h 238"/>
                <a:gd name="T24" fmla="*/ 5 w 587"/>
                <a:gd name="T25" fmla="*/ 189 h 238"/>
                <a:gd name="T26" fmla="*/ 5 w 587"/>
                <a:gd name="T27" fmla="*/ 215 h 238"/>
                <a:gd name="T28" fmla="*/ 5 w 587"/>
                <a:gd name="T29" fmla="*/ 217 h 238"/>
                <a:gd name="T30" fmla="*/ 5 w 587"/>
                <a:gd name="T31" fmla="*/ 220 h 238"/>
                <a:gd name="T32" fmla="*/ 5 w 587"/>
                <a:gd name="T33" fmla="*/ 238 h 238"/>
                <a:gd name="T34" fmla="*/ 5 w 587"/>
                <a:gd name="T35" fmla="*/ 210 h 238"/>
                <a:gd name="T36" fmla="*/ 5 w 587"/>
                <a:gd name="T37" fmla="*/ 211 h 238"/>
                <a:gd name="T38" fmla="*/ 5 w 587"/>
                <a:gd name="T39" fmla="*/ 175 h 238"/>
                <a:gd name="T40" fmla="*/ 5 w 587"/>
                <a:gd name="T41" fmla="*/ 152 h 238"/>
                <a:gd name="T42" fmla="*/ 5 w 587"/>
                <a:gd name="T43" fmla="*/ 119 h 238"/>
                <a:gd name="T44" fmla="*/ 5 w 587"/>
                <a:gd name="T45" fmla="*/ 97 h 238"/>
                <a:gd name="T46" fmla="*/ 5 w 587"/>
                <a:gd name="T47" fmla="*/ 94 h 238"/>
                <a:gd name="T48" fmla="*/ 0 w 587"/>
                <a:gd name="T49" fmla="*/ 71 h 238"/>
                <a:gd name="T50" fmla="*/ 5 w 587"/>
                <a:gd name="T51" fmla="*/ 60 h 238"/>
                <a:gd name="T52" fmla="*/ 5 w 587"/>
                <a:gd name="T53" fmla="*/ 34 h 238"/>
                <a:gd name="T54" fmla="*/ 5 w 587"/>
                <a:gd name="T55" fmla="*/ 38 h 238"/>
                <a:gd name="T56" fmla="*/ 5 w 587"/>
                <a:gd name="T57" fmla="*/ 49 h 238"/>
                <a:gd name="T58" fmla="*/ 5 w 587"/>
                <a:gd name="T59" fmla="*/ 48 h 238"/>
                <a:gd name="T60" fmla="*/ 5 w 587"/>
                <a:gd name="T61" fmla="*/ 33 h 238"/>
                <a:gd name="T62" fmla="*/ 5 w 587"/>
                <a:gd name="T63" fmla="*/ 16 h 238"/>
                <a:gd name="T64" fmla="*/ 5 w 587"/>
                <a:gd name="T65" fmla="*/ 0 h 238"/>
                <a:gd name="T66" fmla="*/ 5 w 587"/>
                <a:gd name="T67" fmla="*/ 15 h 238"/>
                <a:gd name="T68" fmla="*/ 5 w 587"/>
                <a:gd name="T69" fmla="*/ 39 h 238"/>
                <a:gd name="T70" fmla="*/ 5 w 587"/>
                <a:gd name="T71" fmla="*/ 35 h 238"/>
                <a:gd name="T72" fmla="*/ 5 w 587"/>
                <a:gd name="T73" fmla="*/ 65 h 238"/>
                <a:gd name="T74" fmla="*/ 5 w 587"/>
                <a:gd name="T75" fmla="*/ 57 h 238"/>
                <a:gd name="T76" fmla="*/ 5 w 587"/>
                <a:gd name="T77" fmla="*/ 43 h 238"/>
                <a:gd name="T78" fmla="*/ 5 w 587"/>
                <a:gd name="T79" fmla="*/ 49 h 238"/>
                <a:gd name="T80" fmla="*/ 5 w 587"/>
                <a:gd name="T81" fmla="*/ 63 h 2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87"/>
                <a:gd name="T124" fmla="*/ 0 h 238"/>
                <a:gd name="T125" fmla="*/ 587 w 587"/>
                <a:gd name="T126" fmla="*/ 238 h 2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87" h="238">
                  <a:moveTo>
                    <a:pt x="490" y="63"/>
                  </a:moveTo>
                  <a:lnTo>
                    <a:pt x="511" y="100"/>
                  </a:lnTo>
                  <a:lnTo>
                    <a:pt x="534" y="102"/>
                  </a:lnTo>
                  <a:lnTo>
                    <a:pt x="555" y="95"/>
                  </a:lnTo>
                  <a:lnTo>
                    <a:pt x="575" y="105"/>
                  </a:lnTo>
                  <a:lnTo>
                    <a:pt x="587" y="123"/>
                  </a:lnTo>
                  <a:lnTo>
                    <a:pt x="544" y="124"/>
                  </a:lnTo>
                  <a:lnTo>
                    <a:pt x="533" y="143"/>
                  </a:lnTo>
                  <a:lnTo>
                    <a:pt x="518" y="149"/>
                  </a:lnTo>
                  <a:lnTo>
                    <a:pt x="506" y="165"/>
                  </a:lnTo>
                  <a:lnTo>
                    <a:pt x="481" y="158"/>
                  </a:lnTo>
                  <a:lnTo>
                    <a:pt x="472" y="172"/>
                  </a:lnTo>
                  <a:lnTo>
                    <a:pt x="488" y="189"/>
                  </a:lnTo>
                  <a:lnTo>
                    <a:pt x="466" y="215"/>
                  </a:lnTo>
                  <a:lnTo>
                    <a:pt x="461" y="217"/>
                  </a:lnTo>
                  <a:lnTo>
                    <a:pt x="422" y="220"/>
                  </a:lnTo>
                  <a:lnTo>
                    <a:pt x="381" y="238"/>
                  </a:lnTo>
                  <a:lnTo>
                    <a:pt x="291" y="210"/>
                  </a:lnTo>
                  <a:lnTo>
                    <a:pt x="219" y="211"/>
                  </a:lnTo>
                  <a:lnTo>
                    <a:pt x="173" y="175"/>
                  </a:lnTo>
                  <a:lnTo>
                    <a:pt x="84" y="152"/>
                  </a:lnTo>
                  <a:lnTo>
                    <a:pt x="72" y="119"/>
                  </a:lnTo>
                  <a:lnTo>
                    <a:pt x="52" y="97"/>
                  </a:lnTo>
                  <a:lnTo>
                    <a:pt x="28" y="94"/>
                  </a:lnTo>
                  <a:lnTo>
                    <a:pt x="0" y="71"/>
                  </a:lnTo>
                  <a:lnTo>
                    <a:pt x="5" y="60"/>
                  </a:lnTo>
                  <a:lnTo>
                    <a:pt x="56" y="34"/>
                  </a:lnTo>
                  <a:lnTo>
                    <a:pt x="100" y="38"/>
                  </a:lnTo>
                  <a:lnTo>
                    <a:pt x="122" y="49"/>
                  </a:lnTo>
                  <a:lnTo>
                    <a:pt x="166" y="48"/>
                  </a:lnTo>
                  <a:lnTo>
                    <a:pt x="165" y="33"/>
                  </a:lnTo>
                  <a:lnTo>
                    <a:pt x="153" y="16"/>
                  </a:lnTo>
                  <a:lnTo>
                    <a:pt x="168" y="0"/>
                  </a:lnTo>
                  <a:lnTo>
                    <a:pt x="222" y="15"/>
                  </a:lnTo>
                  <a:lnTo>
                    <a:pt x="254" y="39"/>
                  </a:lnTo>
                  <a:lnTo>
                    <a:pt x="297" y="35"/>
                  </a:lnTo>
                  <a:lnTo>
                    <a:pt x="390" y="65"/>
                  </a:lnTo>
                  <a:lnTo>
                    <a:pt x="439" y="57"/>
                  </a:lnTo>
                  <a:lnTo>
                    <a:pt x="461" y="43"/>
                  </a:lnTo>
                  <a:lnTo>
                    <a:pt x="495" y="49"/>
                  </a:lnTo>
                  <a:lnTo>
                    <a:pt x="490" y="6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87" name="Freeform 169"/>
            <p:cNvSpPr>
              <a:spLocks noChangeAspect="1"/>
            </p:cNvSpPr>
            <p:nvPr/>
          </p:nvSpPr>
          <p:spPr bwMode="auto">
            <a:xfrm>
              <a:off x="3605" y="1643"/>
              <a:ext cx="112" cy="111"/>
            </a:xfrm>
            <a:custGeom>
              <a:avLst/>
              <a:gdLst>
                <a:gd name="T0" fmla="*/ 4 w 125"/>
                <a:gd name="T1" fmla="*/ 0 h 111"/>
                <a:gd name="T2" fmla="*/ 4 w 125"/>
                <a:gd name="T3" fmla="*/ 1 h 111"/>
                <a:gd name="T4" fmla="*/ 4 w 125"/>
                <a:gd name="T5" fmla="*/ 10 h 111"/>
                <a:gd name="T6" fmla="*/ 4 w 125"/>
                <a:gd name="T7" fmla="*/ 4 h 111"/>
                <a:gd name="T8" fmla="*/ 4 w 125"/>
                <a:gd name="T9" fmla="*/ 8 h 111"/>
                <a:gd name="T10" fmla="*/ 4 w 125"/>
                <a:gd name="T11" fmla="*/ 20 h 111"/>
                <a:gd name="T12" fmla="*/ 4 w 125"/>
                <a:gd name="T13" fmla="*/ 27 h 111"/>
                <a:gd name="T14" fmla="*/ 4 w 125"/>
                <a:gd name="T15" fmla="*/ 63 h 111"/>
                <a:gd name="T16" fmla="*/ 4 w 125"/>
                <a:gd name="T17" fmla="*/ 66 h 111"/>
                <a:gd name="T18" fmla="*/ 1 w 125"/>
                <a:gd name="T19" fmla="*/ 90 h 111"/>
                <a:gd name="T20" fmla="*/ 0 w 125"/>
                <a:gd name="T21" fmla="*/ 103 h 111"/>
                <a:gd name="T22" fmla="*/ 4 w 125"/>
                <a:gd name="T23" fmla="*/ 111 h 111"/>
                <a:gd name="T24" fmla="*/ 4 w 125"/>
                <a:gd name="T25" fmla="*/ 87 h 111"/>
                <a:gd name="T26" fmla="*/ 4 w 125"/>
                <a:gd name="T27" fmla="*/ 61 h 111"/>
                <a:gd name="T28" fmla="*/ 4 w 125"/>
                <a:gd name="T29" fmla="*/ 16 h 111"/>
                <a:gd name="T30" fmla="*/ 4 w 125"/>
                <a:gd name="T31" fmla="*/ 0 h 1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5"/>
                <a:gd name="T49" fmla="*/ 0 h 111"/>
                <a:gd name="T50" fmla="*/ 125 w 125"/>
                <a:gd name="T51" fmla="*/ 111 h 1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5" h="111">
                  <a:moveTo>
                    <a:pt x="125" y="0"/>
                  </a:moveTo>
                  <a:lnTo>
                    <a:pt x="94" y="1"/>
                  </a:lnTo>
                  <a:lnTo>
                    <a:pt x="65" y="10"/>
                  </a:lnTo>
                  <a:lnTo>
                    <a:pt x="48" y="4"/>
                  </a:lnTo>
                  <a:lnTo>
                    <a:pt x="15" y="8"/>
                  </a:lnTo>
                  <a:lnTo>
                    <a:pt x="17" y="20"/>
                  </a:lnTo>
                  <a:lnTo>
                    <a:pt x="4" y="27"/>
                  </a:lnTo>
                  <a:lnTo>
                    <a:pt x="5" y="63"/>
                  </a:lnTo>
                  <a:lnTo>
                    <a:pt x="20" y="66"/>
                  </a:lnTo>
                  <a:lnTo>
                    <a:pt x="1" y="90"/>
                  </a:lnTo>
                  <a:lnTo>
                    <a:pt x="0" y="103"/>
                  </a:lnTo>
                  <a:lnTo>
                    <a:pt x="18" y="111"/>
                  </a:lnTo>
                  <a:lnTo>
                    <a:pt x="60" y="87"/>
                  </a:lnTo>
                  <a:lnTo>
                    <a:pt x="105" y="61"/>
                  </a:lnTo>
                  <a:lnTo>
                    <a:pt x="106" y="16"/>
                  </a:lnTo>
                  <a:lnTo>
                    <a:pt x="125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88" name="Freeform 170"/>
            <p:cNvSpPr>
              <a:spLocks noChangeAspect="1"/>
            </p:cNvSpPr>
            <p:nvPr/>
          </p:nvSpPr>
          <p:spPr bwMode="auto">
            <a:xfrm>
              <a:off x="3597" y="1730"/>
              <a:ext cx="72" cy="94"/>
            </a:xfrm>
            <a:custGeom>
              <a:avLst/>
              <a:gdLst>
                <a:gd name="T0" fmla="*/ 4 w 81"/>
                <a:gd name="T1" fmla="*/ 16 h 94"/>
                <a:gd name="T2" fmla="*/ 4 w 81"/>
                <a:gd name="T3" fmla="*/ 24 h 94"/>
                <a:gd name="T4" fmla="*/ 4 w 81"/>
                <a:gd name="T5" fmla="*/ 0 h 94"/>
                <a:gd name="T6" fmla="*/ 4 w 81"/>
                <a:gd name="T7" fmla="*/ 27 h 94"/>
                <a:gd name="T8" fmla="*/ 4 w 81"/>
                <a:gd name="T9" fmla="*/ 44 h 94"/>
                <a:gd name="T10" fmla="*/ 4 w 81"/>
                <a:gd name="T11" fmla="*/ 64 h 94"/>
                <a:gd name="T12" fmla="*/ 4 w 81"/>
                <a:gd name="T13" fmla="*/ 79 h 94"/>
                <a:gd name="T14" fmla="*/ 4 w 81"/>
                <a:gd name="T15" fmla="*/ 80 h 94"/>
                <a:gd name="T16" fmla="*/ 4 w 81"/>
                <a:gd name="T17" fmla="*/ 94 h 94"/>
                <a:gd name="T18" fmla="*/ 3 w 81"/>
                <a:gd name="T19" fmla="*/ 92 h 94"/>
                <a:gd name="T20" fmla="*/ 4 w 81"/>
                <a:gd name="T21" fmla="*/ 51 h 94"/>
                <a:gd name="T22" fmla="*/ 0 w 81"/>
                <a:gd name="T23" fmla="*/ 31 h 94"/>
                <a:gd name="T24" fmla="*/ 4 w 81"/>
                <a:gd name="T25" fmla="*/ 16 h 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1"/>
                <a:gd name="T40" fmla="*/ 0 h 94"/>
                <a:gd name="T41" fmla="*/ 81 w 81"/>
                <a:gd name="T42" fmla="*/ 94 h 9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1" h="94">
                  <a:moveTo>
                    <a:pt x="9" y="16"/>
                  </a:moveTo>
                  <a:lnTo>
                    <a:pt x="27" y="24"/>
                  </a:lnTo>
                  <a:lnTo>
                    <a:pt x="69" y="0"/>
                  </a:lnTo>
                  <a:lnTo>
                    <a:pt x="81" y="27"/>
                  </a:lnTo>
                  <a:lnTo>
                    <a:pt x="41" y="44"/>
                  </a:lnTo>
                  <a:lnTo>
                    <a:pt x="60" y="64"/>
                  </a:lnTo>
                  <a:lnTo>
                    <a:pt x="49" y="79"/>
                  </a:lnTo>
                  <a:lnTo>
                    <a:pt x="37" y="80"/>
                  </a:lnTo>
                  <a:lnTo>
                    <a:pt x="26" y="94"/>
                  </a:lnTo>
                  <a:lnTo>
                    <a:pt x="3" y="92"/>
                  </a:lnTo>
                  <a:lnTo>
                    <a:pt x="9" y="51"/>
                  </a:lnTo>
                  <a:lnTo>
                    <a:pt x="0" y="31"/>
                  </a:lnTo>
                  <a:lnTo>
                    <a:pt x="9" y="1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89" name="Freeform 171"/>
            <p:cNvSpPr>
              <a:spLocks noChangeAspect="1"/>
            </p:cNvSpPr>
            <p:nvPr/>
          </p:nvSpPr>
          <p:spPr bwMode="auto">
            <a:xfrm>
              <a:off x="3660" y="1635"/>
              <a:ext cx="180" cy="192"/>
            </a:xfrm>
            <a:custGeom>
              <a:avLst/>
              <a:gdLst>
                <a:gd name="T0" fmla="*/ 4 w 201"/>
                <a:gd name="T1" fmla="*/ 5 h 192"/>
                <a:gd name="T2" fmla="*/ 4 w 201"/>
                <a:gd name="T3" fmla="*/ 51 h 192"/>
                <a:gd name="T4" fmla="*/ 4 w 201"/>
                <a:gd name="T5" fmla="*/ 80 h 192"/>
                <a:gd name="T6" fmla="*/ 4 w 201"/>
                <a:gd name="T7" fmla="*/ 101 h 192"/>
                <a:gd name="T8" fmla="*/ 4 w 201"/>
                <a:gd name="T9" fmla="*/ 117 h 192"/>
                <a:gd name="T10" fmla="*/ 4 w 201"/>
                <a:gd name="T11" fmla="*/ 149 h 192"/>
                <a:gd name="T12" fmla="*/ 4 w 201"/>
                <a:gd name="T13" fmla="*/ 172 h 192"/>
                <a:gd name="T14" fmla="*/ 4 w 201"/>
                <a:gd name="T15" fmla="*/ 175 h 192"/>
                <a:gd name="T16" fmla="*/ 4 w 201"/>
                <a:gd name="T17" fmla="*/ 175 h 192"/>
                <a:gd name="T18" fmla="*/ 4 w 201"/>
                <a:gd name="T19" fmla="*/ 192 h 192"/>
                <a:gd name="T20" fmla="*/ 4 w 201"/>
                <a:gd name="T21" fmla="*/ 185 h 192"/>
                <a:gd name="T22" fmla="*/ 4 w 201"/>
                <a:gd name="T23" fmla="*/ 191 h 192"/>
                <a:gd name="T24" fmla="*/ 4 w 201"/>
                <a:gd name="T25" fmla="*/ 179 h 192"/>
                <a:gd name="T26" fmla="*/ 4 w 201"/>
                <a:gd name="T27" fmla="*/ 164 h 192"/>
                <a:gd name="T28" fmla="*/ 4 w 201"/>
                <a:gd name="T29" fmla="*/ 154 h 192"/>
                <a:gd name="T30" fmla="*/ 4 w 201"/>
                <a:gd name="T31" fmla="*/ 130 h 192"/>
                <a:gd name="T32" fmla="*/ 4 w 201"/>
                <a:gd name="T33" fmla="*/ 122 h 192"/>
                <a:gd name="T34" fmla="*/ 0 w 201"/>
                <a:gd name="T35" fmla="*/ 95 h 192"/>
                <a:gd name="T36" fmla="*/ 4 w 201"/>
                <a:gd name="T37" fmla="*/ 69 h 192"/>
                <a:gd name="T38" fmla="*/ 4 w 201"/>
                <a:gd name="T39" fmla="*/ 24 h 192"/>
                <a:gd name="T40" fmla="*/ 4 w 201"/>
                <a:gd name="T41" fmla="*/ 8 h 192"/>
                <a:gd name="T42" fmla="*/ 4 w 201"/>
                <a:gd name="T43" fmla="*/ 0 h 192"/>
                <a:gd name="T44" fmla="*/ 4 w 201"/>
                <a:gd name="T45" fmla="*/ 5 h 1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1"/>
                <a:gd name="T70" fmla="*/ 0 h 192"/>
                <a:gd name="T71" fmla="*/ 201 w 201"/>
                <a:gd name="T72" fmla="*/ 192 h 19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1" h="192">
                  <a:moveTo>
                    <a:pt x="109" y="5"/>
                  </a:moveTo>
                  <a:lnTo>
                    <a:pt x="140" y="51"/>
                  </a:lnTo>
                  <a:lnTo>
                    <a:pt x="128" y="80"/>
                  </a:lnTo>
                  <a:lnTo>
                    <a:pt x="143" y="101"/>
                  </a:lnTo>
                  <a:lnTo>
                    <a:pt x="169" y="117"/>
                  </a:lnTo>
                  <a:lnTo>
                    <a:pt x="179" y="149"/>
                  </a:lnTo>
                  <a:lnTo>
                    <a:pt x="201" y="172"/>
                  </a:lnTo>
                  <a:lnTo>
                    <a:pt x="199" y="175"/>
                  </a:lnTo>
                  <a:lnTo>
                    <a:pt x="178" y="175"/>
                  </a:lnTo>
                  <a:lnTo>
                    <a:pt x="163" y="192"/>
                  </a:lnTo>
                  <a:lnTo>
                    <a:pt x="142" y="185"/>
                  </a:lnTo>
                  <a:lnTo>
                    <a:pt x="128" y="191"/>
                  </a:lnTo>
                  <a:lnTo>
                    <a:pt x="104" y="179"/>
                  </a:lnTo>
                  <a:lnTo>
                    <a:pt x="100" y="164"/>
                  </a:lnTo>
                  <a:lnTo>
                    <a:pt x="86" y="154"/>
                  </a:lnTo>
                  <a:lnTo>
                    <a:pt x="42" y="130"/>
                  </a:lnTo>
                  <a:lnTo>
                    <a:pt x="12" y="122"/>
                  </a:lnTo>
                  <a:lnTo>
                    <a:pt x="0" y="95"/>
                  </a:lnTo>
                  <a:lnTo>
                    <a:pt x="45" y="69"/>
                  </a:lnTo>
                  <a:lnTo>
                    <a:pt x="46" y="24"/>
                  </a:lnTo>
                  <a:lnTo>
                    <a:pt x="65" y="8"/>
                  </a:lnTo>
                  <a:lnTo>
                    <a:pt x="72" y="0"/>
                  </a:lnTo>
                  <a:lnTo>
                    <a:pt x="109" y="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90" name="Freeform 172"/>
            <p:cNvSpPr>
              <a:spLocks noChangeAspect="1"/>
            </p:cNvSpPr>
            <p:nvPr/>
          </p:nvSpPr>
          <p:spPr bwMode="auto">
            <a:xfrm>
              <a:off x="3597" y="1706"/>
              <a:ext cx="25" cy="30"/>
            </a:xfrm>
            <a:custGeom>
              <a:avLst/>
              <a:gdLst>
                <a:gd name="T0" fmla="*/ 3 w 29"/>
                <a:gd name="T1" fmla="*/ 0 h 30"/>
                <a:gd name="T2" fmla="*/ 3 w 29"/>
                <a:gd name="T3" fmla="*/ 3 h 30"/>
                <a:gd name="T4" fmla="*/ 3 w 29"/>
                <a:gd name="T5" fmla="*/ 27 h 30"/>
                <a:gd name="T6" fmla="*/ 0 w 29"/>
                <a:gd name="T7" fmla="*/ 30 h 30"/>
                <a:gd name="T8" fmla="*/ 3 w 29"/>
                <a:gd name="T9" fmla="*/ 0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"/>
                <a:gd name="T16" fmla="*/ 0 h 30"/>
                <a:gd name="T17" fmla="*/ 29 w 29"/>
                <a:gd name="T18" fmla="*/ 30 h 3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" h="30">
                  <a:moveTo>
                    <a:pt x="14" y="0"/>
                  </a:moveTo>
                  <a:lnTo>
                    <a:pt x="29" y="3"/>
                  </a:lnTo>
                  <a:lnTo>
                    <a:pt x="10" y="27"/>
                  </a:lnTo>
                  <a:lnTo>
                    <a:pt x="0" y="3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91" name="Freeform 173"/>
            <p:cNvSpPr>
              <a:spLocks noChangeAspect="1"/>
            </p:cNvSpPr>
            <p:nvPr/>
          </p:nvSpPr>
          <p:spPr bwMode="auto">
            <a:xfrm>
              <a:off x="3583" y="1733"/>
              <a:ext cx="23" cy="89"/>
            </a:xfrm>
            <a:custGeom>
              <a:avLst/>
              <a:gdLst>
                <a:gd name="T0" fmla="*/ 6 w 25"/>
                <a:gd name="T1" fmla="*/ 13 h 89"/>
                <a:gd name="T2" fmla="*/ 6 w 25"/>
                <a:gd name="T3" fmla="*/ 28 h 89"/>
                <a:gd name="T4" fmla="*/ 6 w 25"/>
                <a:gd name="T5" fmla="*/ 48 h 89"/>
                <a:gd name="T6" fmla="*/ 6 w 25"/>
                <a:gd name="T7" fmla="*/ 89 h 89"/>
                <a:gd name="T8" fmla="*/ 0 w 25"/>
                <a:gd name="T9" fmla="*/ 45 h 89"/>
                <a:gd name="T10" fmla="*/ 5 w 25"/>
                <a:gd name="T11" fmla="*/ 41 h 89"/>
                <a:gd name="T12" fmla="*/ 6 w 25"/>
                <a:gd name="T13" fmla="*/ 3 h 89"/>
                <a:gd name="T14" fmla="*/ 6 w 25"/>
                <a:gd name="T15" fmla="*/ 0 h 89"/>
                <a:gd name="T16" fmla="*/ 6 w 25"/>
                <a:gd name="T17" fmla="*/ 13 h 8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89"/>
                <a:gd name="T29" fmla="*/ 25 w 25"/>
                <a:gd name="T30" fmla="*/ 89 h 8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89">
                  <a:moveTo>
                    <a:pt x="24" y="13"/>
                  </a:moveTo>
                  <a:lnTo>
                    <a:pt x="15" y="28"/>
                  </a:lnTo>
                  <a:lnTo>
                    <a:pt x="24" y="48"/>
                  </a:lnTo>
                  <a:lnTo>
                    <a:pt x="18" y="89"/>
                  </a:lnTo>
                  <a:lnTo>
                    <a:pt x="0" y="45"/>
                  </a:lnTo>
                  <a:lnTo>
                    <a:pt x="5" y="41"/>
                  </a:lnTo>
                  <a:lnTo>
                    <a:pt x="15" y="3"/>
                  </a:lnTo>
                  <a:lnTo>
                    <a:pt x="25" y="0"/>
                  </a:lnTo>
                  <a:lnTo>
                    <a:pt x="24" y="1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92" name="Freeform 174"/>
            <p:cNvSpPr>
              <a:spLocks noChangeAspect="1"/>
            </p:cNvSpPr>
            <p:nvPr/>
          </p:nvSpPr>
          <p:spPr bwMode="auto">
            <a:xfrm>
              <a:off x="3420" y="1766"/>
              <a:ext cx="199" cy="228"/>
            </a:xfrm>
            <a:custGeom>
              <a:avLst/>
              <a:gdLst>
                <a:gd name="T0" fmla="*/ 4 w 222"/>
                <a:gd name="T1" fmla="*/ 12 h 228"/>
                <a:gd name="T2" fmla="*/ 4 w 222"/>
                <a:gd name="T3" fmla="*/ 18 h 228"/>
                <a:gd name="T4" fmla="*/ 4 w 222"/>
                <a:gd name="T5" fmla="*/ 12 h 228"/>
                <a:gd name="T6" fmla="*/ 4 w 222"/>
                <a:gd name="T7" fmla="*/ 21 h 228"/>
                <a:gd name="T8" fmla="*/ 4 w 222"/>
                <a:gd name="T9" fmla="*/ 17 h 228"/>
                <a:gd name="T10" fmla="*/ 4 w 222"/>
                <a:gd name="T11" fmla="*/ 9 h 228"/>
                <a:gd name="T12" fmla="*/ 4 w 222"/>
                <a:gd name="T13" fmla="*/ 8 h 228"/>
                <a:gd name="T14" fmla="*/ 4 w 222"/>
                <a:gd name="T15" fmla="*/ 22 h 228"/>
                <a:gd name="T16" fmla="*/ 4 w 222"/>
                <a:gd name="T17" fmla="*/ 9 h 228"/>
                <a:gd name="T18" fmla="*/ 4 w 222"/>
                <a:gd name="T19" fmla="*/ 8 h 228"/>
                <a:gd name="T20" fmla="*/ 4 w 222"/>
                <a:gd name="T21" fmla="*/ 0 h 228"/>
                <a:gd name="T22" fmla="*/ 0 w 222"/>
                <a:gd name="T23" fmla="*/ 45 h 228"/>
                <a:gd name="T24" fmla="*/ 4 w 222"/>
                <a:gd name="T25" fmla="*/ 72 h 228"/>
                <a:gd name="T26" fmla="*/ 4 w 222"/>
                <a:gd name="T27" fmla="*/ 223 h 228"/>
                <a:gd name="T28" fmla="*/ 4 w 222"/>
                <a:gd name="T29" fmla="*/ 223 h 228"/>
                <a:gd name="T30" fmla="*/ 4 w 222"/>
                <a:gd name="T31" fmla="*/ 223 h 228"/>
                <a:gd name="T32" fmla="*/ 4 w 222"/>
                <a:gd name="T33" fmla="*/ 228 h 228"/>
                <a:gd name="T34" fmla="*/ 4 w 222"/>
                <a:gd name="T35" fmla="*/ 200 h 228"/>
                <a:gd name="T36" fmla="*/ 4 w 222"/>
                <a:gd name="T37" fmla="*/ 180 h 228"/>
                <a:gd name="T38" fmla="*/ 4 w 222"/>
                <a:gd name="T39" fmla="*/ 65 h 228"/>
                <a:gd name="T40" fmla="*/ 4 w 222"/>
                <a:gd name="T41" fmla="*/ 45 h 228"/>
                <a:gd name="T42" fmla="*/ 4 w 222"/>
                <a:gd name="T43" fmla="*/ 41 h 228"/>
                <a:gd name="T44" fmla="*/ 4 w 222"/>
                <a:gd name="T45" fmla="*/ 78 h 228"/>
                <a:gd name="T46" fmla="*/ 4 w 222"/>
                <a:gd name="T47" fmla="*/ 94 h 228"/>
                <a:gd name="T48" fmla="*/ 4 w 222"/>
                <a:gd name="T49" fmla="*/ 56 h 228"/>
                <a:gd name="T50" fmla="*/ 4 w 222"/>
                <a:gd name="T51" fmla="*/ 12 h 22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22"/>
                <a:gd name="T79" fmla="*/ 0 h 228"/>
                <a:gd name="T80" fmla="*/ 222 w 222"/>
                <a:gd name="T81" fmla="*/ 228 h 22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22" h="228">
                  <a:moveTo>
                    <a:pt x="182" y="12"/>
                  </a:moveTo>
                  <a:lnTo>
                    <a:pt x="155" y="18"/>
                  </a:lnTo>
                  <a:lnTo>
                    <a:pt x="148" y="12"/>
                  </a:lnTo>
                  <a:lnTo>
                    <a:pt x="146" y="21"/>
                  </a:lnTo>
                  <a:lnTo>
                    <a:pt x="137" y="17"/>
                  </a:lnTo>
                  <a:lnTo>
                    <a:pt x="138" y="9"/>
                  </a:lnTo>
                  <a:lnTo>
                    <a:pt x="125" y="8"/>
                  </a:lnTo>
                  <a:lnTo>
                    <a:pt x="84" y="22"/>
                  </a:lnTo>
                  <a:lnTo>
                    <a:pt x="42" y="9"/>
                  </a:lnTo>
                  <a:lnTo>
                    <a:pt x="9" y="8"/>
                  </a:lnTo>
                  <a:lnTo>
                    <a:pt x="6" y="0"/>
                  </a:lnTo>
                  <a:lnTo>
                    <a:pt x="0" y="45"/>
                  </a:lnTo>
                  <a:lnTo>
                    <a:pt x="9" y="72"/>
                  </a:lnTo>
                  <a:lnTo>
                    <a:pt x="12" y="223"/>
                  </a:lnTo>
                  <a:lnTo>
                    <a:pt x="13" y="223"/>
                  </a:lnTo>
                  <a:lnTo>
                    <a:pt x="175" y="223"/>
                  </a:lnTo>
                  <a:lnTo>
                    <a:pt x="193" y="228"/>
                  </a:lnTo>
                  <a:lnTo>
                    <a:pt x="222" y="200"/>
                  </a:lnTo>
                  <a:lnTo>
                    <a:pt x="221" y="180"/>
                  </a:lnTo>
                  <a:lnTo>
                    <a:pt x="158" y="65"/>
                  </a:lnTo>
                  <a:lnTo>
                    <a:pt x="150" y="45"/>
                  </a:lnTo>
                  <a:lnTo>
                    <a:pt x="154" y="41"/>
                  </a:lnTo>
                  <a:lnTo>
                    <a:pt x="173" y="78"/>
                  </a:lnTo>
                  <a:lnTo>
                    <a:pt x="188" y="94"/>
                  </a:lnTo>
                  <a:lnTo>
                    <a:pt x="200" y="56"/>
                  </a:lnTo>
                  <a:lnTo>
                    <a:pt x="182" y="1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93" name="Freeform 175"/>
            <p:cNvSpPr>
              <a:spLocks noChangeAspect="1"/>
            </p:cNvSpPr>
            <p:nvPr/>
          </p:nvSpPr>
          <p:spPr bwMode="auto">
            <a:xfrm>
              <a:off x="3582" y="2083"/>
              <a:ext cx="271" cy="332"/>
            </a:xfrm>
            <a:custGeom>
              <a:avLst/>
              <a:gdLst>
                <a:gd name="T0" fmla="*/ 4 w 302"/>
                <a:gd name="T1" fmla="*/ 308 h 332"/>
                <a:gd name="T2" fmla="*/ 4 w 302"/>
                <a:gd name="T3" fmla="*/ 327 h 332"/>
                <a:gd name="T4" fmla="*/ 4 w 302"/>
                <a:gd name="T5" fmla="*/ 332 h 332"/>
                <a:gd name="T6" fmla="*/ 4 w 302"/>
                <a:gd name="T7" fmla="*/ 316 h 332"/>
                <a:gd name="T8" fmla="*/ 4 w 302"/>
                <a:gd name="T9" fmla="*/ 324 h 332"/>
                <a:gd name="T10" fmla="*/ 4 w 302"/>
                <a:gd name="T11" fmla="*/ 301 h 332"/>
                <a:gd name="T12" fmla="*/ 4 w 302"/>
                <a:gd name="T13" fmla="*/ 297 h 332"/>
                <a:gd name="T14" fmla="*/ 4 w 302"/>
                <a:gd name="T15" fmla="*/ 229 h 332"/>
                <a:gd name="T16" fmla="*/ 4 w 302"/>
                <a:gd name="T17" fmla="*/ 229 h 332"/>
                <a:gd name="T18" fmla="*/ 4 w 302"/>
                <a:gd name="T19" fmla="*/ 205 h 332"/>
                <a:gd name="T20" fmla="*/ 4 w 302"/>
                <a:gd name="T21" fmla="*/ 176 h 332"/>
                <a:gd name="T22" fmla="*/ 4 w 302"/>
                <a:gd name="T23" fmla="*/ 164 h 332"/>
                <a:gd name="T24" fmla="*/ 4 w 302"/>
                <a:gd name="T25" fmla="*/ 162 h 332"/>
                <a:gd name="T26" fmla="*/ 4 w 302"/>
                <a:gd name="T27" fmla="*/ 161 h 332"/>
                <a:gd name="T28" fmla="*/ 4 w 302"/>
                <a:gd name="T29" fmla="*/ 155 h 332"/>
                <a:gd name="T30" fmla="*/ 4 w 302"/>
                <a:gd name="T31" fmla="*/ 131 h 332"/>
                <a:gd name="T32" fmla="*/ 4 w 302"/>
                <a:gd name="T33" fmla="*/ 122 h 332"/>
                <a:gd name="T34" fmla="*/ 4 w 302"/>
                <a:gd name="T35" fmla="*/ 121 h 332"/>
                <a:gd name="T36" fmla="*/ 4 w 302"/>
                <a:gd name="T37" fmla="*/ 79 h 332"/>
                <a:gd name="T38" fmla="*/ 4 w 302"/>
                <a:gd name="T39" fmla="*/ 56 h 332"/>
                <a:gd name="T40" fmla="*/ 4 w 302"/>
                <a:gd name="T41" fmla="*/ 0 h 332"/>
                <a:gd name="T42" fmla="*/ 4 w 302"/>
                <a:gd name="T43" fmla="*/ 11 h 332"/>
                <a:gd name="T44" fmla="*/ 4 w 302"/>
                <a:gd name="T45" fmla="*/ 24 h 332"/>
                <a:gd name="T46" fmla="*/ 4 w 302"/>
                <a:gd name="T47" fmla="*/ 116 h 332"/>
                <a:gd name="T48" fmla="*/ 4 w 302"/>
                <a:gd name="T49" fmla="*/ 173 h 332"/>
                <a:gd name="T50" fmla="*/ 4 w 302"/>
                <a:gd name="T51" fmla="*/ 216 h 332"/>
                <a:gd name="T52" fmla="*/ 4 w 302"/>
                <a:gd name="T53" fmla="*/ 219 h 332"/>
                <a:gd name="T54" fmla="*/ 0 w 302"/>
                <a:gd name="T55" fmla="*/ 231 h 332"/>
                <a:gd name="T56" fmla="*/ 4 w 302"/>
                <a:gd name="T57" fmla="*/ 244 h 332"/>
                <a:gd name="T58" fmla="*/ 4 w 302"/>
                <a:gd name="T59" fmla="*/ 285 h 332"/>
                <a:gd name="T60" fmla="*/ 4 w 302"/>
                <a:gd name="T61" fmla="*/ 291 h 332"/>
                <a:gd name="T62" fmla="*/ 4 w 302"/>
                <a:gd name="T63" fmla="*/ 308 h 332"/>
                <a:gd name="T64" fmla="*/ 4 w 302"/>
                <a:gd name="T65" fmla="*/ 308 h 33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02"/>
                <a:gd name="T100" fmla="*/ 0 h 332"/>
                <a:gd name="T101" fmla="*/ 302 w 302"/>
                <a:gd name="T102" fmla="*/ 332 h 33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02" h="332">
                  <a:moveTo>
                    <a:pt x="75" y="308"/>
                  </a:moveTo>
                  <a:lnTo>
                    <a:pt x="99" y="327"/>
                  </a:lnTo>
                  <a:lnTo>
                    <a:pt x="121" y="332"/>
                  </a:lnTo>
                  <a:lnTo>
                    <a:pt x="158" y="316"/>
                  </a:lnTo>
                  <a:lnTo>
                    <a:pt x="180" y="324"/>
                  </a:lnTo>
                  <a:lnTo>
                    <a:pt x="217" y="301"/>
                  </a:lnTo>
                  <a:lnTo>
                    <a:pt x="246" y="297"/>
                  </a:lnTo>
                  <a:lnTo>
                    <a:pt x="302" y="229"/>
                  </a:lnTo>
                  <a:lnTo>
                    <a:pt x="285" y="229"/>
                  </a:lnTo>
                  <a:lnTo>
                    <a:pt x="223" y="205"/>
                  </a:lnTo>
                  <a:lnTo>
                    <a:pt x="198" y="176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78" y="161"/>
                  </a:lnTo>
                  <a:lnTo>
                    <a:pt x="177" y="155"/>
                  </a:lnTo>
                  <a:lnTo>
                    <a:pt x="185" y="131"/>
                  </a:lnTo>
                  <a:lnTo>
                    <a:pt x="197" y="122"/>
                  </a:lnTo>
                  <a:lnTo>
                    <a:pt x="197" y="121"/>
                  </a:lnTo>
                  <a:lnTo>
                    <a:pt x="161" y="79"/>
                  </a:lnTo>
                  <a:lnTo>
                    <a:pt x="126" y="56"/>
                  </a:lnTo>
                  <a:lnTo>
                    <a:pt x="105" y="0"/>
                  </a:lnTo>
                  <a:lnTo>
                    <a:pt x="99" y="11"/>
                  </a:lnTo>
                  <a:lnTo>
                    <a:pt x="75" y="24"/>
                  </a:lnTo>
                  <a:lnTo>
                    <a:pt x="61" y="116"/>
                  </a:lnTo>
                  <a:lnTo>
                    <a:pt x="25" y="173"/>
                  </a:lnTo>
                  <a:lnTo>
                    <a:pt x="23" y="216"/>
                  </a:lnTo>
                  <a:lnTo>
                    <a:pt x="7" y="219"/>
                  </a:lnTo>
                  <a:lnTo>
                    <a:pt x="0" y="231"/>
                  </a:lnTo>
                  <a:lnTo>
                    <a:pt x="20" y="244"/>
                  </a:lnTo>
                  <a:lnTo>
                    <a:pt x="43" y="285"/>
                  </a:lnTo>
                  <a:lnTo>
                    <a:pt x="58" y="291"/>
                  </a:lnTo>
                  <a:lnTo>
                    <a:pt x="58" y="308"/>
                  </a:lnTo>
                  <a:lnTo>
                    <a:pt x="75" y="30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94" name="Freeform 176"/>
            <p:cNvSpPr>
              <a:spLocks noChangeAspect="1"/>
            </p:cNvSpPr>
            <p:nvPr/>
          </p:nvSpPr>
          <p:spPr bwMode="auto">
            <a:xfrm>
              <a:off x="3521" y="2403"/>
              <a:ext cx="98" cy="123"/>
            </a:xfrm>
            <a:custGeom>
              <a:avLst/>
              <a:gdLst>
                <a:gd name="T0" fmla="*/ 5 w 108"/>
                <a:gd name="T1" fmla="*/ 0 h 123"/>
                <a:gd name="T2" fmla="*/ 5 w 108"/>
                <a:gd name="T3" fmla="*/ 10 h 123"/>
                <a:gd name="T4" fmla="*/ 5 w 108"/>
                <a:gd name="T5" fmla="*/ 10 h 123"/>
                <a:gd name="T6" fmla="*/ 5 w 108"/>
                <a:gd name="T7" fmla="*/ 32 h 123"/>
                <a:gd name="T8" fmla="*/ 5 w 108"/>
                <a:gd name="T9" fmla="*/ 42 h 123"/>
                <a:gd name="T10" fmla="*/ 5 w 108"/>
                <a:gd name="T11" fmla="*/ 64 h 123"/>
                <a:gd name="T12" fmla="*/ 5 w 108"/>
                <a:gd name="T13" fmla="*/ 83 h 123"/>
                <a:gd name="T14" fmla="*/ 0 w 108"/>
                <a:gd name="T15" fmla="*/ 123 h 123"/>
                <a:gd name="T16" fmla="*/ 5 w 108"/>
                <a:gd name="T17" fmla="*/ 116 h 123"/>
                <a:gd name="T18" fmla="*/ 5 w 108"/>
                <a:gd name="T19" fmla="*/ 115 h 123"/>
                <a:gd name="T20" fmla="*/ 5 w 108"/>
                <a:gd name="T21" fmla="*/ 115 h 123"/>
                <a:gd name="T22" fmla="*/ 5 w 108"/>
                <a:gd name="T23" fmla="*/ 89 h 123"/>
                <a:gd name="T24" fmla="*/ 5 w 108"/>
                <a:gd name="T25" fmla="*/ 46 h 123"/>
                <a:gd name="T26" fmla="*/ 5 w 108"/>
                <a:gd name="T27" fmla="*/ 2 h 123"/>
                <a:gd name="T28" fmla="*/ 5 w 108"/>
                <a:gd name="T29" fmla="*/ 0 h 1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8"/>
                <a:gd name="T46" fmla="*/ 0 h 123"/>
                <a:gd name="T47" fmla="*/ 108 w 108"/>
                <a:gd name="T48" fmla="*/ 123 h 1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8" h="123">
                  <a:moveTo>
                    <a:pt x="86" y="0"/>
                  </a:moveTo>
                  <a:lnTo>
                    <a:pt x="46" y="10"/>
                  </a:lnTo>
                  <a:lnTo>
                    <a:pt x="24" y="10"/>
                  </a:lnTo>
                  <a:lnTo>
                    <a:pt x="23" y="32"/>
                  </a:lnTo>
                  <a:lnTo>
                    <a:pt x="33" y="42"/>
                  </a:lnTo>
                  <a:lnTo>
                    <a:pt x="17" y="64"/>
                  </a:lnTo>
                  <a:lnTo>
                    <a:pt x="5" y="83"/>
                  </a:lnTo>
                  <a:lnTo>
                    <a:pt x="0" y="123"/>
                  </a:lnTo>
                  <a:lnTo>
                    <a:pt x="16" y="116"/>
                  </a:lnTo>
                  <a:lnTo>
                    <a:pt x="44" y="115"/>
                  </a:lnTo>
                  <a:lnTo>
                    <a:pt x="86" y="115"/>
                  </a:lnTo>
                  <a:lnTo>
                    <a:pt x="86" y="89"/>
                  </a:lnTo>
                  <a:lnTo>
                    <a:pt x="108" y="46"/>
                  </a:lnTo>
                  <a:lnTo>
                    <a:pt x="93" y="2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95" name="Freeform 177"/>
            <p:cNvSpPr>
              <a:spLocks noChangeAspect="1"/>
            </p:cNvSpPr>
            <p:nvPr/>
          </p:nvSpPr>
          <p:spPr bwMode="auto">
            <a:xfrm>
              <a:off x="3600" y="2391"/>
              <a:ext cx="143" cy="212"/>
            </a:xfrm>
            <a:custGeom>
              <a:avLst/>
              <a:gdLst>
                <a:gd name="T0" fmla="*/ 4 w 160"/>
                <a:gd name="T1" fmla="*/ 190 h 212"/>
                <a:gd name="T2" fmla="*/ 4 w 160"/>
                <a:gd name="T3" fmla="*/ 171 h 212"/>
                <a:gd name="T4" fmla="*/ 4 w 160"/>
                <a:gd name="T5" fmla="*/ 127 h 212"/>
                <a:gd name="T6" fmla="*/ 0 w 160"/>
                <a:gd name="T7" fmla="*/ 127 h 212"/>
                <a:gd name="T8" fmla="*/ 0 w 160"/>
                <a:gd name="T9" fmla="*/ 101 h 212"/>
                <a:gd name="T10" fmla="*/ 4 w 160"/>
                <a:gd name="T11" fmla="*/ 58 h 212"/>
                <a:gd name="T12" fmla="*/ 4 w 160"/>
                <a:gd name="T13" fmla="*/ 14 h 212"/>
                <a:gd name="T14" fmla="*/ 0 w 160"/>
                <a:gd name="T15" fmla="*/ 12 h 212"/>
                <a:gd name="T16" fmla="*/ 4 w 160"/>
                <a:gd name="T17" fmla="*/ 0 h 212"/>
                <a:gd name="T18" fmla="*/ 4 w 160"/>
                <a:gd name="T19" fmla="*/ 0 h 212"/>
                <a:gd name="T20" fmla="*/ 4 w 160"/>
                <a:gd name="T21" fmla="*/ 0 h 212"/>
                <a:gd name="T22" fmla="*/ 4 w 160"/>
                <a:gd name="T23" fmla="*/ 19 h 212"/>
                <a:gd name="T24" fmla="*/ 4 w 160"/>
                <a:gd name="T25" fmla="*/ 24 h 212"/>
                <a:gd name="T26" fmla="*/ 4 w 160"/>
                <a:gd name="T27" fmla="*/ 8 h 212"/>
                <a:gd name="T28" fmla="*/ 4 w 160"/>
                <a:gd name="T29" fmla="*/ 16 h 212"/>
                <a:gd name="T30" fmla="*/ 4 w 160"/>
                <a:gd name="T31" fmla="*/ 44 h 212"/>
                <a:gd name="T32" fmla="*/ 4 w 160"/>
                <a:gd name="T33" fmla="*/ 121 h 212"/>
                <a:gd name="T34" fmla="*/ 4 w 160"/>
                <a:gd name="T35" fmla="*/ 143 h 212"/>
                <a:gd name="T36" fmla="*/ 4 w 160"/>
                <a:gd name="T37" fmla="*/ 143 h 212"/>
                <a:gd name="T38" fmla="*/ 4 w 160"/>
                <a:gd name="T39" fmla="*/ 162 h 212"/>
                <a:gd name="T40" fmla="*/ 4 w 160"/>
                <a:gd name="T41" fmla="*/ 161 h 212"/>
                <a:gd name="T42" fmla="*/ 4 w 160"/>
                <a:gd name="T43" fmla="*/ 175 h 212"/>
                <a:gd name="T44" fmla="*/ 4 w 160"/>
                <a:gd name="T45" fmla="*/ 212 h 212"/>
                <a:gd name="T46" fmla="*/ 4 w 160"/>
                <a:gd name="T47" fmla="*/ 190 h 2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0"/>
                <a:gd name="T73" fmla="*/ 0 h 212"/>
                <a:gd name="T74" fmla="*/ 160 w 160"/>
                <a:gd name="T75" fmla="*/ 212 h 21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0" h="212">
                  <a:moveTo>
                    <a:pt x="80" y="190"/>
                  </a:moveTo>
                  <a:lnTo>
                    <a:pt x="73" y="171"/>
                  </a:lnTo>
                  <a:lnTo>
                    <a:pt x="6" y="127"/>
                  </a:lnTo>
                  <a:lnTo>
                    <a:pt x="0" y="127"/>
                  </a:lnTo>
                  <a:lnTo>
                    <a:pt x="0" y="101"/>
                  </a:lnTo>
                  <a:lnTo>
                    <a:pt x="22" y="58"/>
                  </a:lnTo>
                  <a:lnTo>
                    <a:pt x="7" y="14"/>
                  </a:lnTo>
                  <a:lnTo>
                    <a:pt x="0" y="12"/>
                  </a:lnTo>
                  <a:lnTo>
                    <a:pt x="10" y="0"/>
                  </a:lnTo>
                  <a:lnTo>
                    <a:pt x="38" y="0"/>
                  </a:lnTo>
                  <a:lnTo>
                    <a:pt x="55" y="0"/>
                  </a:lnTo>
                  <a:lnTo>
                    <a:pt x="79" y="19"/>
                  </a:lnTo>
                  <a:lnTo>
                    <a:pt x="101" y="24"/>
                  </a:lnTo>
                  <a:lnTo>
                    <a:pt x="138" y="8"/>
                  </a:lnTo>
                  <a:lnTo>
                    <a:pt x="160" y="16"/>
                  </a:lnTo>
                  <a:lnTo>
                    <a:pt x="143" y="44"/>
                  </a:lnTo>
                  <a:lnTo>
                    <a:pt x="143" y="121"/>
                  </a:lnTo>
                  <a:lnTo>
                    <a:pt x="154" y="143"/>
                  </a:lnTo>
                  <a:lnTo>
                    <a:pt x="155" y="143"/>
                  </a:lnTo>
                  <a:lnTo>
                    <a:pt x="136" y="162"/>
                  </a:lnTo>
                  <a:lnTo>
                    <a:pt x="128" y="161"/>
                  </a:lnTo>
                  <a:lnTo>
                    <a:pt x="128" y="175"/>
                  </a:lnTo>
                  <a:lnTo>
                    <a:pt x="109" y="212"/>
                  </a:lnTo>
                  <a:lnTo>
                    <a:pt x="80" y="19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96" name="Freeform 178"/>
            <p:cNvSpPr>
              <a:spLocks noChangeAspect="1"/>
            </p:cNvSpPr>
            <p:nvPr/>
          </p:nvSpPr>
          <p:spPr bwMode="auto">
            <a:xfrm>
              <a:off x="3518" y="2518"/>
              <a:ext cx="198" cy="248"/>
            </a:xfrm>
            <a:custGeom>
              <a:avLst/>
              <a:gdLst>
                <a:gd name="T0" fmla="*/ 5 w 220"/>
                <a:gd name="T1" fmla="*/ 1 h 248"/>
                <a:gd name="T2" fmla="*/ 5 w 220"/>
                <a:gd name="T3" fmla="*/ 20 h 248"/>
                <a:gd name="T4" fmla="*/ 5 w 220"/>
                <a:gd name="T5" fmla="*/ 33 h 248"/>
                <a:gd name="T6" fmla="*/ 5 w 220"/>
                <a:gd name="T7" fmla="*/ 55 h 248"/>
                <a:gd name="T8" fmla="*/ 4 w 220"/>
                <a:gd name="T9" fmla="*/ 79 h 248"/>
                <a:gd name="T10" fmla="*/ 0 w 220"/>
                <a:gd name="T11" fmla="*/ 79 h 248"/>
                <a:gd name="T12" fmla="*/ 2 w 220"/>
                <a:gd name="T13" fmla="*/ 120 h 248"/>
                <a:gd name="T14" fmla="*/ 5 w 220"/>
                <a:gd name="T15" fmla="*/ 165 h 248"/>
                <a:gd name="T16" fmla="*/ 5 w 220"/>
                <a:gd name="T17" fmla="*/ 175 h 248"/>
                <a:gd name="T18" fmla="*/ 5 w 220"/>
                <a:gd name="T19" fmla="*/ 175 h 248"/>
                <a:gd name="T20" fmla="*/ 5 w 220"/>
                <a:gd name="T21" fmla="*/ 194 h 248"/>
                <a:gd name="T22" fmla="*/ 5 w 220"/>
                <a:gd name="T23" fmla="*/ 198 h 248"/>
                <a:gd name="T24" fmla="*/ 5 w 220"/>
                <a:gd name="T25" fmla="*/ 205 h 248"/>
                <a:gd name="T26" fmla="*/ 5 w 220"/>
                <a:gd name="T27" fmla="*/ 244 h 248"/>
                <a:gd name="T28" fmla="*/ 5 w 220"/>
                <a:gd name="T29" fmla="*/ 248 h 248"/>
                <a:gd name="T30" fmla="*/ 5 w 220"/>
                <a:gd name="T31" fmla="*/ 237 h 248"/>
                <a:gd name="T32" fmla="*/ 5 w 220"/>
                <a:gd name="T33" fmla="*/ 220 h 248"/>
                <a:gd name="T34" fmla="*/ 5 w 220"/>
                <a:gd name="T35" fmla="*/ 206 h 248"/>
                <a:gd name="T36" fmla="*/ 5 w 220"/>
                <a:gd name="T37" fmla="*/ 181 h 248"/>
                <a:gd name="T38" fmla="*/ 5 w 220"/>
                <a:gd name="T39" fmla="*/ 141 h 248"/>
                <a:gd name="T40" fmla="*/ 5 w 220"/>
                <a:gd name="T41" fmla="*/ 118 h 248"/>
                <a:gd name="T42" fmla="*/ 5 w 220"/>
                <a:gd name="T43" fmla="*/ 85 h 248"/>
                <a:gd name="T44" fmla="*/ 5 w 220"/>
                <a:gd name="T45" fmla="*/ 63 h 248"/>
                <a:gd name="T46" fmla="*/ 5 w 220"/>
                <a:gd name="T47" fmla="*/ 44 h 248"/>
                <a:gd name="T48" fmla="*/ 5 w 220"/>
                <a:gd name="T49" fmla="*/ 0 h 248"/>
                <a:gd name="T50" fmla="*/ 5 w 220"/>
                <a:gd name="T51" fmla="*/ 0 h 248"/>
                <a:gd name="T52" fmla="*/ 5 w 220"/>
                <a:gd name="T53" fmla="*/ 0 h 248"/>
                <a:gd name="T54" fmla="*/ 5 w 220"/>
                <a:gd name="T55" fmla="*/ 1 h 24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20"/>
                <a:gd name="T85" fmla="*/ 0 h 248"/>
                <a:gd name="T86" fmla="*/ 220 w 220"/>
                <a:gd name="T87" fmla="*/ 248 h 24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20" h="248">
                  <a:moveTo>
                    <a:pt x="20" y="1"/>
                  </a:moveTo>
                  <a:lnTo>
                    <a:pt x="28" y="20"/>
                  </a:lnTo>
                  <a:lnTo>
                    <a:pt x="23" y="33"/>
                  </a:lnTo>
                  <a:lnTo>
                    <a:pt x="25" y="55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2" y="120"/>
                  </a:lnTo>
                  <a:lnTo>
                    <a:pt x="26" y="165"/>
                  </a:lnTo>
                  <a:lnTo>
                    <a:pt x="32" y="175"/>
                  </a:lnTo>
                  <a:lnTo>
                    <a:pt x="33" y="175"/>
                  </a:lnTo>
                  <a:lnTo>
                    <a:pt x="70" y="194"/>
                  </a:lnTo>
                  <a:lnTo>
                    <a:pt x="89" y="198"/>
                  </a:lnTo>
                  <a:lnTo>
                    <a:pt x="99" y="205"/>
                  </a:lnTo>
                  <a:lnTo>
                    <a:pt x="108" y="244"/>
                  </a:lnTo>
                  <a:lnTo>
                    <a:pt x="137" y="248"/>
                  </a:lnTo>
                  <a:lnTo>
                    <a:pt x="191" y="237"/>
                  </a:lnTo>
                  <a:lnTo>
                    <a:pt x="220" y="220"/>
                  </a:lnTo>
                  <a:lnTo>
                    <a:pt x="207" y="206"/>
                  </a:lnTo>
                  <a:lnTo>
                    <a:pt x="198" y="181"/>
                  </a:lnTo>
                  <a:lnTo>
                    <a:pt x="203" y="141"/>
                  </a:lnTo>
                  <a:lnTo>
                    <a:pt x="186" y="118"/>
                  </a:lnTo>
                  <a:lnTo>
                    <a:pt x="199" y="85"/>
                  </a:lnTo>
                  <a:lnTo>
                    <a:pt x="170" y="63"/>
                  </a:lnTo>
                  <a:lnTo>
                    <a:pt x="163" y="44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48" y="0"/>
                  </a:lnTo>
                  <a:lnTo>
                    <a:pt x="20" y="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97" name="Freeform 179"/>
            <p:cNvSpPr>
              <a:spLocks noChangeAspect="1"/>
            </p:cNvSpPr>
            <p:nvPr/>
          </p:nvSpPr>
          <p:spPr bwMode="auto">
            <a:xfrm>
              <a:off x="3379" y="2683"/>
              <a:ext cx="213" cy="226"/>
            </a:xfrm>
            <a:custGeom>
              <a:avLst/>
              <a:gdLst>
                <a:gd name="T0" fmla="*/ 5 w 236"/>
                <a:gd name="T1" fmla="*/ 175 h 226"/>
                <a:gd name="T2" fmla="*/ 5 w 236"/>
                <a:gd name="T3" fmla="*/ 196 h 226"/>
                <a:gd name="T4" fmla="*/ 5 w 236"/>
                <a:gd name="T5" fmla="*/ 226 h 226"/>
                <a:gd name="T6" fmla="*/ 5 w 236"/>
                <a:gd name="T7" fmla="*/ 222 h 226"/>
                <a:gd name="T8" fmla="*/ 5 w 236"/>
                <a:gd name="T9" fmla="*/ 213 h 226"/>
                <a:gd name="T10" fmla="*/ 5 w 236"/>
                <a:gd name="T11" fmla="*/ 217 h 226"/>
                <a:gd name="T12" fmla="*/ 0 w 236"/>
                <a:gd name="T13" fmla="*/ 194 h 226"/>
                <a:gd name="T14" fmla="*/ 0 w 236"/>
                <a:gd name="T15" fmla="*/ 114 h 226"/>
                <a:gd name="T16" fmla="*/ 5 w 236"/>
                <a:gd name="T17" fmla="*/ 111 h 226"/>
                <a:gd name="T18" fmla="*/ 5 w 236"/>
                <a:gd name="T19" fmla="*/ 107 h 226"/>
                <a:gd name="T20" fmla="*/ 5 w 236"/>
                <a:gd name="T21" fmla="*/ 62 h 226"/>
                <a:gd name="T22" fmla="*/ 5 w 236"/>
                <a:gd name="T23" fmla="*/ 85 h 226"/>
                <a:gd name="T24" fmla="*/ 5 w 236"/>
                <a:gd name="T25" fmla="*/ 83 h 226"/>
                <a:gd name="T26" fmla="*/ 5 w 236"/>
                <a:gd name="T27" fmla="*/ 111 h 226"/>
                <a:gd name="T28" fmla="*/ 5 w 236"/>
                <a:gd name="T29" fmla="*/ 115 h 226"/>
                <a:gd name="T30" fmla="*/ 5 w 236"/>
                <a:gd name="T31" fmla="*/ 92 h 226"/>
                <a:gd name="T32" fmla="*/ 5 w 236"/>
                <a:gd name="T33" fmla="*/ 94 h 226"/>
                <a:gd name="T34" fmla="*/ 5 w 236"/>
                <a:gd name="T35" fmla="*/ 84 h 226"/>
                <a:gd name="T36" fmla="*/ 5 w 236"/>
                <a:gd name="T37" fmla="*/ 22 h 226"/>
                <a:gd name="T38" fmla="*/ 5 w 236"/>
                <a:gd name="T39" fmla="*/ 10 h 226"/>
                <a:gd name="T40" fmla="*/ 5 w 236"/>
                <a:gd name="T41" fmla="*/ 1 h 226"/>
                <a:gd name="T42" fmla="*/ 5 w 236"/>
                <a:gd name="T43" fmla="*/ 0 h 226"/>
                <a:gd name="T44" fmla="*/ 5 w 236"/>
                <a:gd name="T45" fmla="*/ 10 h 226"/>
                <a:gd name="T46" fmla="*/ 5 w 236"/>
                <a:gd name="T47" fmla="*/ 10 h 226"/>
                <a:gd name="T48" fmla="*/ 5 w 236"/>
                <a:gd name="T49" fmla="*/ 29 h 226"/>
                <a:gd name="T50" fmla="*/ 5 w 236"/>
                <a:gd name="T51" fmla="*/ 58 h 226"/>
                <a:gd name="T52" fmla="*/ 5 w 236"/>
                <a:gd name="T53" fmla="*/ 77 h 226"/>
                <a:gd name="T54" fmla="*/ 5 w 236"/>
                <a:gd name="T55" fmla="*/ 97 h 226"/>
                <a:gd name="T56" fmla="*/ 5 w 236"/>
                <a:gd name="T57" fmla="*/ 128 h 226"/>
                <a:gd name="T58" fmla="*/ 5 w 236"/>
                <a:gd name="T59" fmla="*/ 135 h 226"/>
                <a:gd name="T60" fmla="*/ 5 w 236"/>
                <a:gd name="T61" fmla="*/ 159 h 226"/>
                <a:gd name="T62" fmla="*/ 5 w 236"/>
                <a:gd name="T63" fmla="*/ 171 h 226"/>
                <a:gd name="T64" fmla="*/ 5 w 236"/>
                <a:gd name="T65" fmla="*/ 175 h 2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36"/>
                <a:gd name="T100" fmla="*/ 0 h 226"/>
                <a:gd name="T101" fmla="*/ 236 w 236"/>
                <a:gd name="T102" fmla="*/ 226 h 2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36" h="226">
                  <a:moveTo>
                    <a:pt x="142" y="175"/>
                  </a:moveTo>
                  <a:lnTo>
                    <a:pt x="130" y="196"/>
                  </a:lnTo>
                  <a:lnTo>
                    <a:pt x="93" y="226"/>
                  </a:lnTo>
                  <a:lnTo>
                    <a:pt x="61" y="222"/>
                  </a:lnTo>
                  <a:lnTo>
                    <a:pt x="40" y="213"/>
                  </a:lnTo>
                  <a:lnTo>
                    <a:pt x="22" y="217"/>
                  </a:lnTo>
                  <a:lnTo>
                    <a:pt x="0" y="194"/>
                  </a:lnTo>
                  <a:lnTo>
                    <a:pt x="0" y="114"/>
                  </a:lnTo>
                  <a:lnTo>
                    <a:pt x="43" y="111"/>
                  </a:lnTo>
                  <a:lnTo>
                    <a:pt x="39" y="107"/>
                  </a:lnTo>
                  <a:lnTo>
                    <a:pt x="42" y="62"/>
                  </a:lnTo>
                  <a:lnTo>
                    <a:pt x="83" y="85"/>
                  </a:lnTo>
                  <a:lnTo>
                    <a:pt x="101" y="83"/>
                  </a:lnTo>
                  <a:lnTo>
                    <a:pt x="134" y="111"/>
                  </a:lnTo>
                  <a:lnTo>
                    <a:pt x="151" y="115"/>
                  </a:lnTo>
                  <a:lnTo>
                    <a:pt x="153" y="92"/>
                  </a:lnTo>
                  <a:lnTo>
                    <a:pt x="141" y="94"/>
                  </a:lnTo>
                  <a:lnTo>
                    <a:pt x="133" y="84"/>
                  </a:lnTo>
                  <a:lnTo>
                    <a:pt x="139" y="22"/>
                  </a:lnTo>
                  <a:lnTo>
                    <a:pt x="143" y="10"/>
                  </a:lnTo>
                  <a:lnTo>
                    <a:pt x="174" y="1"/>
                  </a:lnTo>
                  <a:lnTo>
                    <a:pt x="180" y="0"/>
                  </a:lnTo>
                  <a:lnTo>
                    <a:pt x="186" y="10"/>
                  </a:lnTo>
                  <a:lnTo>
                    <a:pt x="187" y="10"/>
                  </a:lnTo>
                  <a:lnTo>
                    <a:pt x="224" y="29"/>
                  </a:lnTo>
                  <a:lnTo>
                    <a:pt x="236" y="58"/>
                  </a:lnTo>
                  <a:lnTo>
                    <a:pt x="228" y="77"/>
                  </a:lnTo>
                  <a:lnTo>
                    <a:pt x="231" y="97"/>
                  </a:lnTo>
                  <a:lnTo>
                    <a:pt x="216" y="128"/>
                  </a:lnTo>
                  <a:lnTo>
                    <a:pt x="224" y="135"/>
                  </a:lnTo>
                  <a:lnTo>
                    <a:pt x="163" y="159"/>
                  </a:lnTo>
                  <a:lnTo>
                    <a:pt x="165" y="171"/>
                  </a:lnTo>
                  <a:lnTo>
                    <a:pt x="142" y="17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98" name="Freeform 180"/>
            <p:cNvSpPr>
              <a:spLocks noChangeAspect="1"/>
            </p:cNvSpPr>
            <p:nvPr/>
          </p:nvSpPr>
          <p:spPr bwMode="auto">
            <a:xfrm>
              <a:off x="3527" y="2738"/>
              <a:ext cx="189" cy="373"/>
            </a:xfrm>
            <a:custGeom>
              <a:avLst/>
              <a:gdLst>
                <a:gd name="T0" fmla="*/ 4 w 211"/>
                <a:gd name="T1" fmla="*/ 373 h 373"/>
                <a:gd name="T2" fmla="*/ 4 w 211"/>
                <a:gd name="T3" fmla="*/ 373 h 373"/>
                <a:gd name="T4" fmla="*/ 4 w 211"/>
                <a:gd name="T5" fmla="*/ 362 h 373"/>
                <a:gd name="T6" fmla="*/ 4 w 211"/>
                <a:gd name="T7" fmla="*/ 359 h 373"/>
                <a:gd name="T8" fmla="*/ 4 w 211"/>
                <a:gd name="T9" fmla="*/ 345 h 373"/>
                <a:gd name="T10" fmla="*/ 4 w 211"/>
                <a:gd name="T11" fmla="*/ 322 h 373"/>
                <a:gd name="T12" fmla="*/ 4 w 211"/>
                <a:gd name="T13" fmla="*/ 276 h 373"/>
                <a:gd name="T14" fmla="*/ 4 w 211"/>
                <a:gd name="T15" fmla="*/ 229 h 373"/>
                <a:gd name="T16" fmla="*/ 4 w 211"/>
                <a:gd name="T17" fmla="*/ 218 h 373"/>
                <a:gd name="T18" fmla="*/ 4 w 211"/>
                <a:gd name="T19" fmla="*/ 160 h 373"/>
                <a:gd name="T20" fmla="*/ 4 w 211"/>
                <a:gd name="T21" fmla="*/ 150 h 373"/>
                <a:gd name="T22" fmla="*/ 4 w 211"/>
                <a:gd name="T23" fmla="*/ 107 h 373"/>
                <a:gd name="T24" fmla="*/ 4 w 211"/>
                <a:gd name="T25" fmla="*/ 0 h 373"/>
                <a:gd name="T26" fmla="*/ 4 w 211"/>
                <a:gd name="T27" fmla="*/ 17 h 373"/>
                <a:gd name="T28" fmla="*/ 4 w 211"/>
                <a:gd name="T29" fmla="*/ 28 h 373"/>
                <a:gd name="T30" fmla="*/ 4 w 211"/>
                <a:gd name="T31" fmla="*/ 24 h 373"/>
                <a:gd name="T32" fmla="*/ 4 w 211"/>
                <a:gd name="T33" fmla="*/ 37 h 373"/>
                <a:gd name="T34" fmla="*/ 4 w 211"/>
                <a:gd name="T35" fmla="*/ 69 h 373"/>
                <a:gd name="T36" fmla="*/ 4 w 211"/>
                <a:gd name="T37" fmla="*/ 100 h 373"/>
                <a:gd name="T38" fmla="*/ 4 w 211"/>
                <a:gd name="T39" fmla="*/ 121 h 373"/>
                <a:gd name="T40" fmla="*/ 4 w 211"/>
                <a:gd name="T41" fmla="*/ 145 h 373"/>
                <a:gd name="T42" fmla="*/ 4 w 211"/>
                <a:gd name="T43" fmla="*/ 124 h 373"/>
                <a:gd name="T44" fmla="*/ 4 w 211"/>
                <a:gd name="T45" fmla="*/ 93 h 373"/>
                <a:gd name="T46" fmla="*/ 4 w 211"/>
                <a:gd name="T47" fmla="*/ 93 h 373"/>
                <a:gd name="T48" fmla="*/ 4 w 211"/>
                <a:gd name="T49" fmla="*/ 80 h 373"/>
                <a:gd name="T50" fmla="*/ 0 w 211"/>
                <a:gd name="T51" fmla="*/ 104 h 373"/>
                <a:gd name="T52" fmla="*/ 2 w 211"/>
                <a:gd name="T53" fmla="*/ 116 h 373"/>
                <a:gd name="T54" fmla="*/ 2 w 211"/>
                <a:gd name="T55" fmla="*/ 125 h 373"/>
                <a:gd name="T56" fmla="*/ 4 w 211"/>
                <a:gd name="T57" fmla="*/ 126 h 373"/>
                <a:gd name="T58" fmla="*/ 4 w 211"/>
                <a:gd name="T59" fmla="*/ 141 h 373"/>
                <a:gd name="T60" fmla="*/ 4 w 211"/>
                <a:gd name="T61" fmla="*/ 159 h 373"/>
                <a:gd name="T62" fmla="*/ 4 w 211"/>
                <a:gd name="T63" fmla="*/ 217 h 373"/>
                <a:gd name="T64" fmla="*/ 4 w 211"/>
                <a:gd name="T65" fmla="*/ 279 h 373"/>
                <a:gd name="T66" fmla="*/ 4 w 211"/>
                <a:gd name="T67" fmla="*/ 351 h 373"/>
                <a:gd name="T68" fmla="*/ 4 w 211"/>
                <a:gd name="T69" fmla="*/ 373 h 37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11"/>
                <a:gd name="T106" fmla="*/ 0 h 373"/>
                <a:gd name="T107" fmla="*/ 211 w 211"/>
                <a:gd name="T108" fmla="*/ 373 h 37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11" h="373">
                  <a:moveTo>
                    <a:pt x="29" y="373"/>
                  </a:moveTo>
                  <a:lnTo>
                    <a:pt x="45" y="373"/>
                  </a:lnTo>
                  <a:lnTo>
                    <a:pt x="47" y="362"/>
                  </a:lnTo>
                  <a:lnTo>
                    <a:pt x="40" y="359"/>
                  </a:lnTo>
                  <a:lnTo>
                    <a:pt x="47" y="345"/>
                  </a:lnTo>
                  <a:lnTo>
                    <a:pt x="94" y="322"/>
                  </a:lnTo>
                  <a:lnTo>
                    <a:pt x="102" y="276"/>
                  </a:lnTo>
                  <a:lnTo>
                    <a:pt x="86" y="229"/>
                  </a:lnTo>
                  <a:lnTo>
                    <a:pt x="88" y="218"/>
                  </a:lnTo>
                  <a:lnTo>
                    <a:pt x="142" y="160"/>
                  </a:lnTo>
                  <a:lnTo>
                    <a:pt x="175" y="150"/>
                  </a:lnTo>
                  <a:lnTo>
                    <a:pt x="211" y="107"/>
                  </a:lnTo>
                  <a:lnTo>
                    <a:pt x="211" y="0"/>
                  </a:lnTo>
                  <a:lnTo>
                    <a:pt x="182" y="17"/>
                  </a:lnTo>
                  <a:lnTo>
                    <a:pt x="128" y="28"/>
                  </a:lnTo>
                  <a:lnTo>
                    <a:pt x="99" y="24"/>
                  </a:lnTo>
                  <a:lnTo>
                    <a:pt x="87" y="37"/>
                  </a:lnTo>
                  <a:lnTo>
                    <a:pt x="96" y="69"/>
                  </a:lnTo>
                  <a:lnTo>
                    <a:pt x="116" y="100"/>
                  </a:lnTo>
                  <a:lnTo>
                    <a:pt x="114" y="121"/>
                  </a:lnTo>
                  <a:lnTo>
                    <a:pt x="99" y="145"/>
                  </a:lnTo>
                  <a:lnTo>
                    <a:pt x="84" y="124"/>
                  </a:lnTo>
                  <a:lnTo>
                    <a:pt x="87" y="93"/>
                  </a:lnTo>
                  <a:lnTo>
                    <a:pt x="70" y="93"/>
                  </a:lnTo>
                  <a:lnTo>
                    <a:pt x="61" y="80"/>
                  </a:lnTo>
                  <a:lnTo>
                    <a:pt x="0" y="104"/>
                  </a:lnTo>
                  <a:lnTo>
                    <a:pt x="2" y="116"/>
                  </a:lnTo>
                  <a:lnTo>
                    <a:pt x="2" y="125"/>
                  </a:lnTo>
                  <a:lnTo>
                    <a:pt x="23" y="126"/>
                  </a:lnTo>
                  <a:lnTo>
                    <a:pt x="52" y="141"/>
                  </a:lnTo>
                  <a:lnTo>
                    <a:pt x="54" y="159"/>
                  </a:lnTo>
                  <a:lnTo>
                    <a:pt x="51" y="217"/>
                  </a:lnTo>
                  <a:lnTo>
                    <a:pt x="23" y="279"/>
                  </a:lnTo>
                  <a:lnTo>
                    <a:pt x="29" y="351"/>
                  </a:lnTo>
                  <a:lnTo>
                    <a:pt x="29" y="37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99" name="Freeform 181"/>
            <p:cNvSpPr>
              <a:spLocks noChangeAspect="1"/>
            </p:cNvSpPr>
            <p:nvPr/>
          </p:nvSpPr>
          <p:spPr bwMode="auto">
            <a:xfrm>
              <a:off x="3574" y="2712"/>
              <a:ext cx="57" cy="171"/>
            </a:xfrm>
            <a:custGeom>
              <a:avLst/>
              <a:gdLst>
                <a:gd name="T0" fmla="*/ 5 w 63"/>
                <a:gd name="T1" fmla="*/ 0 h 171"/>
                <a:gd name="T2" fmla="*/ 5 w 63"/>
                <a:gd name="T3" fmla="*/ 29 h 171"/>
                <a:gd name="T4" fmla="*/ 5 w 63"/>
                <a:gd name="T5" fmla="*/ 48 h 171"/>
                <a:gd name="T6" fmla="*/ 5 w 63"/>
                <a:gd name="T7" fmla="*/ 68 h 171"/>
                <a:gd name="T8" fmla="*/ 0 w 63"/>
                <a:gd name="T9" fmla="*/ 99 h 171"/>
                <a:gd name="T10" fmla="*/ 5 w 63"/>
                <a:gd name="T11" fmla="*/ 106 h 171"/>
                <a:gd name="T12" fmla="*/ 5 w 63"/>
                <a:gd name="T13" fmla="*/ 119 h 171"/>
                <a:gd name="T14" fmla="*/ 5 w 63"/>
                <a:gd name="T15" fmla="*/ 119 h 171"/>
                <a:gd name="T16" fmla="*/ 5 w 63"/>
                <a:gd name="T17" fmla="*/ 150 h 171"/>
                <a:gd name="T18" fmla="*/ 5 w 63"/>
                <a:gd name="T19" fmla="*/ 171 h 171"/>
                <a:gd name="T20" fmla="*/ 5 w 63"/>
                <a:gd name="T21" fmla="*/ 147 h 171"/>
                <a:gd name="T22" fmla="*/ 5 w 63"/>
                <a:gd name="T23" fmla="*/ 126 h 171"/>
                <a:gd name="T24" fmla="*/ 5 w 63"/>
                <a:gd name="T25" fmla="*/ 95 h 171"/>
                <a:gd name="T26" fmla="*/ 5 w 63"/>
                <a:gd name="T27" fmla="*/ 63 h 171"/>
                <a:gd name="T28" fmla="*/ 5 w 63"/>
                <a:gd name="T29" fmla="*/ 50 h 171"/>
                <a:gd name="T30" fmla="*/ 5 w 63"/>
                <a:gd name="T31" fmla="*/ 11 h 171"/>
                <a:gd name="T32" fmla="*/ 5 w 63"/>
                <a:gd name="T33" fmla="*/ 4 h 171"/>
                <a:gd name="T34" fmla="*/ 5 w 63"/>
                <a:gd name="T35" fmla="*/ 0 h 17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3"/>
                <a:gd name="T55" fmla="*/ 0 h 171"/>
                <a:gd name="T56" fmla="*/ 63 w 63"/>
                <a:gd name="T57" fmla="*/ 171 h 17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3" h="171">
                  <a:moveTo>
                    <a:pt x="8" y="0"/>
                  </a:moveTo>
                  <a:lnTo>
                    <a:pt x="20" y="29"/>
                  </a:lnTo>
                  <a:lnTo>
                    <a:pt x="12" y="48"/>
                  </a:lnTo>
                  <a:lnTo>
                    <a:pt x="15" y="68"/>
                  </a:lnTo>
                  <a:lnTo>
                    <a:pt x="0" y="99"/>
                  </a:lnTo>
                  <a:lnTo>
                    <a:pt x="8" y="106"/>
                  </a:lnTo>
                  <a:lnTo>
                    <a:pt x="17" y="119"/>
                  </a:lnTo>
                  <a:lnTo>
                    <a:pt x="34" y="119"/>
                  </a:lnTo>
                  <a:lnTo>
                    <a:pt x="31" y="150"/>
                  </a:lnTo>
                  <a:lnTo>
                    <a:pt x="46" y="171"/>
                  </a:lnTo>
                  <a:lnTo>
                    <a:pt x="61" y="147"/>
                  </a:lnTo>
                  <a:lnTo>
                    <a:pt x="63" y="126"/>
                  </a:lnTo>
                  <a:lnTo>
                    <a:pt x="43" y="95"/>
                  </a:lnTo>
                  <a:lnTo>
                    <a:pt x="34" y="63"/>
                  </a:lnTo>
                  <a:lnTo>
                    <a:pt x="46" y="50"/>
                  </a:lnTo>
                  <a:lnTo>
                    <a:pt x="37" y="11"/>
                  </a:lnTo>
                  <a:lnTo>
                    <a:pt x="27" y="4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00" name="Freeform 182"/>
            <p:cNvSpPr>
              <a:spLocks noChangeAspect="1"/>
            </p:cNvSpPr>
            <p:nvPr/>
          </p:nvSpPr>
          <p:spPr bwMode="auto">
            <a:xfrm>
              <a:off x="3434" y="2854"/>
              <a:ext cx="141" cy="163"/>
            </a:xfrm>
            <a:custGeom>
              <a:avLst/>
              <a:gdLst>
                <a:gd name="T0" fmla="*/ 5 w 156"/>
                <a:gd name="T1" fmla="*/ 150 h 163"/>
                <a:gd name="T2" fmla="*/ 5 w 156"/>
                <a:gd name="T3" fmla="*/ 140 h 163"/>
                <a:gd name="T4" fmla="*/ 5 w 156"/>
                <a:gd name="T5" fmla="*/ 115 h 163"/>
                <a:gd name="T6" fmla="*/ 5 w 156"/>
                <a:gd name="T7" fmla="*/ 88 h 163"/>
                <a:gd name="T8" fmla="*/ 0 w 156"/>
                <a:gd name="T9" fmla="*/ 51 h 163"/>
                <a:gd name="T10" fmla="*/ 5 w 156"/>
                <a:gd name="T11" fmla="*/ 55 h 163"/>
                <a:gd name="T12" fmla="*/ 5 w 156"/>
                <a:gd name="T13" fmla="*/ 25 h 163"/>
                <a:gd name="T14" fmla="*/ 5 w 156"/>
                <a:gd name="T15" fmla="*/ 4 h 163"/>
                <a:gd name="T16" fmla="*/ 5 w 156"/>
                <a:gd name="T17" fmla="*/ 0 h 163"/>
                <a:gd name="T18" fmla="*/ 5 w 156"/>
                <a:gd name="T19" fmla="*/ 9 h 163"/>
                <a:gd name="T20" fmla="*/ 5 w 156"/>
                <a:gd name="T21" fmla="*/ 10 h 163"/>
                <a:gd name="T22" fmla="*/ 5 w 156"/>
                <a:gd name="T23" fmla="*/ 25 h 163"/>
                <a:gd name="T24" fmla="*/ 5 w 156"/>
                <a:gd name="T25" fmla="*/ 43 h 163"/>
                <a:gd name="T26" fmla="*/ 5 w 156"/>
                <a:gd name="T27" fmla="*/ 101 h 163"/>
                <a:gd name="T28" fmla="*/ 5 w 156"/>
                <a:gd name="T29" fmla="*/ 163 h 163"/>
                <a:gd name="T30" fmla="*/ 5 w 156"/>
                <a:gd name="T31" fmla="*/ 154 h 163"/>
                <a:gd name="T32" fmla="*/ 5 w 156"/>
                <a:gd name="T33" fmla="*/ 150 h 16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6"/>
                <a:gd name="T52" fmla="*/ 0 h 163"/>
                <a:gd name="T53" fmla="*/ 156 w 156"/>
                <a:gd name="T54" fmla="*/ 163 h 16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6" h="163">
                  <a:moveTo>
                    <a:pt x="80" y="150"/>
                  </a:moveTo>
                  <a:lnTo>
                    <a:pt x="56" y="140"/>
                  </a:lnTo>
                  <a:lnTo>
                    <a:pt x="50" y="115"/>
                  </a:lnTo>
                  <a:lnTo>
                    <a:pt x="17" y="88"/>
                  </a:lnTo>
                  <a:lnTo>
                    <a:pt x="0" y="51"/>
                  </a:lnTo>
                  <a:lnTo>
                    <a:pt x="32" y="55"/>
                  </a:lnTo>
                  <a:lnTo>
                    <a:pt x="69" y="25"/>
                  </a:lnTo>
                  <a:lnTo>
                    <a:pt x="81" y="4"/>
                  </a:lnTo>
                  <a:lnTo>
                    <a:pt x="104" y="0"/>
                  </a:lnTo>
                  <a:lnTo>
                    <a:pt x="104" y="9"/>
                  </a:lnTo>
                  <a:lnTo>
                    <a:pt x="125" y="10"/>
                  </a:lnTo>
                  <a:lnTo>
                    <a:pt x="154" y="25"/>
                  </a:lnTo>
                  <a:lnTo>
                    <a:pt x="156" y="43"/>
                  </a:lnTo>
                  <a:lnTo>
                    <a:pt x="153" y="101"/>
                  </a:lnTo>
                  <a:lnTo>
                    <a:pt x="125" y="163"/>
                  </a:lnTo>
                  <a:lnTo>
                    <a:pt x="113" y="154"/>
                  </a:lnTo>
                  <a:lnTo>
                    <a:pt x="80" y="15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01" name="Freeform 183"/>
            <p:cNvSpPr>
              <a:spLocks noChangeAspect="1"/>
            </p:cNvSpPr>
            <p:nvPr/>
          </p:nvSpPr>
          <p:spPr bwMode="auto">
            <a:xfrm>
              <a:off x="3192" y="2885"/>
              <a:ext cx="242" cy="278"/>
            </a:xfrm>
            <a:custGeom>
              <a:avLst/>
              <a:gdLst>
                <a:gd name="T0" fmla="*/ 4 w 269"/>
                <a:gd name="T1" fmla="*/ 180 h 278"/>
                <a:gd name="T2" fmla="*/ 4 w 269"/>
                <a:gd name="T3" fmla="*/ 122 h 278"/>
                <a:gd name="T4" fmla="*/ 4 w 269"/>
                <a:gd name="T5" fmla="*/ 111 h 278"/>
                <a:gd name="T6" fmla="*/ 4 w 269"/>
                <a:gd name="T7" fmla="*/ 34 h 278"/>
                <a:gd name="T8" fmla="*/ 4 w 269"/>
                <a:gd name="T9" fmla="*/ 26 h 278"/>
                <a:gd name="T10" fmla="*/ 4 w 269"/>
                <a:gd name="T11" fmla="*/ 27 h 278"/>
                <a:gd name="T12" fmla="*/ 4 w 269"/>
                <a:gd name="T13" fmla="*/ 38 h 278"/>
                <a:gd name="T14" fmla="*/ 4 w 269"/>
                <a:gd name="T15" fmla="*/ 26 h 278"/>
                <a:gd name="T16" fmla="*/ 4 w 269"/>
                <a:gd name="T17" fmla="*/ 20 h 278"/>
                <a:gd name="T18" fmla="*/ 4 w 269"/>
                <a:gd name="T19" fmla="*/ 11 h 278"/>
                <a:gd name="T20" fmla="*/ 4 w 269"/>
                <a:gd name="T21" fmla="*/ 15 h 278"/>
                <a:gd name="T22" fmla="*/ 4 w 269"/>
                <a:gd name="T23" fmla="*/ 25 h 278"/>
                <a:gd name="T24" fmla="*/ 4 w 269"/>
                <a:gd name="T25" fmla="*/ 20 h 278"/>
                <a:gd name="T26" fmla="*/ 4 w 269"/>
                <a:gd name="T27" fmla="*/ 11 h 278"/>
                <a:gd name="T28" fmla="*/ 4 w 269"/>
                <a:gd name="T29" fmla="*/ 9 h 278"/>
                <a:gd name="T30" fmla="*/ 4 w 269"/>
                <a:gd name="T31" fmla="*/ 0 h 278"/>
                <a:gd name="T32" fmla="*/ 0 w 269"/>
                <a:gd name="T33" fmla="*/ 9 h 278"/>
                <a:gd name="T34" fmla="*/ 3 w 269"/>
                <a:gd name="T35" fmla="*/ 23 h 278"/>
                <a:gd name="T36" fmla="*/ 4 w 269"/>
                <a:gd name="T37" fmla="*/ 129 h 278"/>
                <a:gd name="T38" fmla="*/ 4 w 269"/>
                <a:gd name="T39" fmla="*/ 163 h 278"/>
                <a:gd name="T40" fmla="*/ 4 w 269"/>
                <a:gd name="T41" fmla="*/ 244 h 278"/>
                <a:gd name="T42" fmla="*/ 4 w 269"/>
                <a:gd name="T43" fmla="*/ 271 h 278"/>
                <a:gd name="T44" fmla="*/ 4 w 269"/>
                <a:gd name="T45" fmla="*/ 263 h 278"/>
                <a:gd name="T46" fmla="*/ 4 w 269"/>
                <a:gd name="T47" fmla="*/ 269 h 278"/>
                <a:gd name="T48" fmla="*/ 4 w 269"/>
                <a:gd name="T49" fmla="*/ 278 h 278"/>
                <a:gd name="T50" fmla="*/ 4 w 269"/>
                <a:gd name="T51" fmla="*/ 278 h 278"/>
                <a:gd name="T52" fmla="*/ 4 w 269"/>
                <a:gd name="T53" fmla="*/ 264 h 278"/>
                <a:gd name="T54" fmla="*/ 4 w 269"/>
                <a:gd name="T55" fmla="*/ 180 h 27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69"/>
                <a:gd name="T85" fmla="*/ 0 h 278"/>
                <a:gd name="T86" fmla="*/ 269 w 269"/>
                <a:gd name="T87" fmla="*/ 278 h 27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69" h="278">
                  <a:moveTo>
                    <a:pt x="161" y="180"/>
                  </a:moveTo>
                  <a:lnTo>
                    <a:pt x="162" y="122"/>
                  </a:lnTo>
                  <a:lnTo>
                    <a:pt x="183" y="111"/>
                  </a:lnTo>
                  <a:lnTo>
                    <a:pt x="185" y="34"/>
                  </a:lnTo>
                  <a:lnTo>
                    <a:pt x="225" y="26"/>
                  </a:lnTo>
                  <a:lnTo>
                    <a:pt x="233" y="27"/>
                  </a:lnTo>
                  <a:lnTo>
                    <a:pt x="236" y="38"/>
                  </a:lnTo>
                  <a:lnTo>
                    <a:pt x="248" y="26"/>
                  </a:lnTo>
                  <a:lnTo>
                    <a:pt x="269" y="20"/>
                  </a:lnTo>
                  <a:lnTo>
                    <a:pt x="248" y="11"/>
                  </a:lnTo>
                  <a:lnTo>
                    <a:pt x="230" y="15"/>
                  </a:lnTo>
                  <a:lnTo>
                    <a:pt x="199" y="25"/>
                  </a:lnTo>
                  <a:lnTo>
                    <a:pt x="149" y="20"/>
                  </a:lnTo>
                  <a:lnTo>
                    <a:pt x="134" y="11"/>
                  </a:lnTo>
                  <a:lnTo>
                    <a:pt x="47" y="9"/>
                  </a:lnTo>
                  <a:lnTo>
                    <a:pt x="31" y="0"/>
                  </a:lnTo>
                  <a:lnTo>
                    <a:pt x="0" y="9"/>
                  </a:lnTo>
                  <a:lnTo>
                    <a:pt x="3" y="23"/>
                  </a:lnTo>
                  <a:lnTo>
                    <a:pt x="56" y="129"/>
                  </a:lnTo>
                  <a:lnTo>
                    <a:pt x="56" y="163"/>
                  </a:lnTo>
                  <a:lnTo>
                    <a:pt x="71" y="244"/>
                  </a:lnTo>
                  <a:lnTo>
                    <a:pt x="93" y="271"/>
                  </a:lnTo>
                  <a:lnTo>
                    <a:pt x="100" y="263"/>
                  </a:lnTo>
                  <a:lnTo>
                    <a:pt x="114" y="269"/>
                  </a:lnTo>
                  <a:lnTo>
                    <a:pt x="117" y="278"/>
                  </a:lnTo>
                  <a:lnTo>
                    <a:pt x="143" y="278"/>
                  </a:lnTo>
                  <a:lnTo>
                    <a:pt x="159" y="264"/>
                  </a:lnTo>
                  <a:lnTo>
                    <a:pt x="161" y="18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02" name="Freeform 184"/>
            <p:cNvSpPr>
              <a:spLocks noChangeAspect="1"/>
            </p:cNvSpPr>
            <p:nvPr/>
          </p:nvSpPr>
          <p:spPr bwMode="auto">
            <a:xfrm>
              <a:off x="3192" y="2629"/>
              <a:ext cx="227" cy="281"/>
            </a:xfrm>
            <a:custGeom>
              <a:avLst/>
              <a:gdLst>
                <a:gd name="T0" fmla="*/ 5 w 251"/>
                <a:gd name="T1" fmla="*/ 1 h 281"/>
                <a:gd name="T2" fmla="*/ 5 w 251"/>
                <a:gd name="T3" fmla="*/ 0 h 281"/>
                <a:gd name="T4" fmla="*/ 5 w 251"/>
                <a:gd name="T5" fmla="*/ 7 h 281"/>
                <a:gd name="T6" fmla="*/ 5 w 251"/>
                <a:gd name="T7" fmla="*/ 35 h 281"/>
                <a:gd name="T8" fmla="*/ 5 w 251"/>
                <a:gd name="T9" fmla="*/ 54 h 281"/>
                <a:gd name="T10" fmla="*/ 5 w 251"/>
                <a:gd name="T11" fmla="*/ 51 h 281"/>
                <a:gd name="T12" fmla="*/ 5 w 251"/>
                <a:gd name="T13" fmla="*/ 29 h 281"/>
                <a:gd name="T14" fmla="*/ 5 w 251"/>
                <a:gd name="T15" fmla="*/ 25 h 281"/>
                <a:gd name="T16" fmla="*/ 5 w 251"/>
                <a:gd name="T17" fmla="*/ 32 h 281"/>
                <a:gd name="T18" fmla="*/ 5 w 251"/>
                <a:gd name="T19" fmla="*/ 35 h 281"/>
                <a:gd name="T20" fmla="*/ 5 w 251"/>
                <a:gd name="T21" fmla="*/ 41 h 281"/>
                <a:gd name="T22" fmla="*/ 5 w 251"/>
                <a:gd name="T23" fmla="*/ 87 h 281"/>
                <a:gd name="T24" fmla="*/ 5 w 251"/>
                <a:gd name="T25" fmla="*/ 109 h 281"/>
                <a:gd name="T26" fmla="*/ 5 w 251"/>
                <a:gd name="T27" fmla="*/ 120 h 281"/>
                <a:gd name="T28" fmla="*/ 5 w 251"/>
                <a:gd name="T29" fmla="*/ 126 h 281"/>
                <a:gd name="T30" fmla="*/ 5 w 251"/>
                <a:gd name="T31" fmla="*/ 116 h 281"/>
                <a:gd name="T32" fmla="*/ 5 w 251"/>
                <a:gd name="T33" fmla="*/ 161 h 281"/>
                <a:gd name="T34" fmla="*/ 5 w 251"/>
                <a:gd name="T35" fmla="*/ 165 h 281"/>
                <a:gd name="T36" fmla="*/ 5 w 251"/>
                <a:gd name="T37" fmla="*/ 168 h 281"/>
                <a:gd name="T38" fmla="*/ 5 w 251"/>
                <a:gd name="T39" fmla="*/ 248 h 281"/>
                <a:gd name="T40" fmla="*/ 5 w 251"/>
                <a:gd name="T41" fmla="*/ 271 h 281"/>
                <a:gd name="T42" fmla="*/ 5 w 251"/>
                <a:gd name="T43" fmla="*/ 281 h 281"/>
                <a:gd name="T44" fmla="*/ 5 w 251"/>
                <a:gd name="T45" fmla="*/ 276 h 281"/>
                <a:gd name="T46" fmla="*/ 5 w 251"/>
                <a:gd name="T47" fmla="*/ 267 h 281"/>
                <a:gd name="T48" fmla="*/ 5 w 251"/>
                <a:gd name="T49" fmla="*/ 265 h 281"/>
                <a:gd name="T50" fmla="*/ 5 w 251"/>
                <a:gd name="T51" fmla="*/ 256 h 281"/>
                <a:gd name="T52" fmla="*/ 0 w 251"/>
                <a:gd name="T53" fmla="*/ 265 h 281"/>
                <a:gd name="T54" fmla="*/ 3 w 251"/>
                <a:gd name="T55" fmla="*/ 235 h 281"/>
                <a:gd name="T56" fmla="*/ 5 w 251"/>
                <a:gd name="T57" fmla="*/ 173 h 281"/>
                <a:gd name="T58" fmla="*/ 5 w 251"/>
                <a:gd name="T59" fmla="*/ 149 h 281"/>
                <a:gd name="T60" fmla="*/ 5 w 251"/>
                <a:gd name="T61" fmla="*/ 126 h 281"/>
                <a:gd name="T62" fmla="*/ 5 w 251"/>
                <a:gd name="T63" fmla="*/ 78 h 281"/>
                <a:gd name="T64" fmla="*/ 5 w 251"/>
                <a:gd name="T65" fmla="*/ 66 h 281"/>
                <a:gd name="T66" fmla="*/ 5 w 251"/>
                <a:gd name="T67" fmla="*/ 12 h 281"/>
                <a:gd name="T68" fmla="*/ 5 w 251"/>
                <a:gd name="T69" fmla="*/ 1 h 2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51"/>
                <a:gd name="T106" fmla="*/ 0 h 281"/>
                <a:gd name="T107" fmla="*/ 251 w 251"/>
                <a:gd name="T108" fmla="*/ 281 h 28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51" h="281">
                  <a:moveTo>
                    <a:pt x="37" y="1"/>
                  </a:moveTo>
                  <a:lnTo>
                    <a:pt x="87" y="0"/>
                  </a:lnTo>
                  <a:lnTo>
                    <a:pt x="99" y="7"/>
                  </a:lnTo>
                  <a:lnTo>
                    <a:pt x="106" y="35"/>
                  </a:lnTo>
                  <a:lnTo>
                    <a:pt x="126" y="54"/>
                  </a:lnTo>
                  <a:lnTo>
                    <a:pt x="153" y="51"/>
                  </a:lnTo>
                  <a:lnTo>
                    <a:pt x="159" y="29"/>
                  </a:lnTo>
                  <a:lnTo>
                    <a:pt x="184" y="25"/>
                  </a:lnTo>
                  <a:lnTo>
                    <a:pt x="184" y="32"/>
                  </a:lnTo>
                  <a:lnTo>
                    <a:pt x="201" y="35"/>
                  </a:lnTo>
                  <a:lnTo>
                    <a:pt x="203" y="41"/>
                  </a:lnTo>
                  <a:lnTo>
                    <a:pt x="205" y="87"/>
                  </a:lnTo>
                  <a:lnTo>
                    <a:pt x="213" y="109"/>
                  </a:lnTo>
                  <a:lnTo>
                    <a:pt x="207" y="120"/>
                  </a:lnTo>
                  <a:lnTo>
                    <a:pt x="211" y="126"/>
                  </a:lnTo>
                  <a:lnTo>
                    <a:pt x="250" y="116"/>
                  </a:lnTo>
                  <a:lnTo>
                    <a:pt x="247" y="161"/>
                  </a:lnTo>
                  <a:lnTo>
                    <a:pt x="251" y="165"/>
                  </a:lnTo>
                  <a:lnTo>
                    <a:pt x="208" y="168"/>
                  </a:lnTo>
                  <a:lnTo>
                    <a:pt x="208" y="248"/>
                  </a:lnTo>
                  <a:lnTo>
                    <a:pt x="230" y="271"/>
                  </a:lnTo>
                  <a:lnTo>
                    <a:pt x="199" y="281"/>
                  </a:lnTo>
                  <a:lnTo>
                    <a:pt x="149" y="276"/>
                  </a:lnTo>
                  <a:lnTo>
                    <a:pt x="134" y="267"/>
                  </a:lnTo>
                  <a:lnTo>
                    <a:pt x="47" y="265"/>
                  </a:lnTo>
                  <a:lnTo>
                    <a:pt x="31" y="256"/>
                  </a:lnTo>
                  <a:lnTo>
                    <a:pt x="0" y="265"/>
                  </a:lnTo>
                  <a:lnTo>
                    <a:pt x="3" y="235"/>
                  </a:lnTo>
                  <a:lnTo>
                    <a:pt x="20" y="173"/>
                  </a:lnTo>
                  <a:lnTo>
                    <a:pt x="40" y="149"/>
                  </a:lnTo>
                  <a:lnTo>
                    <a:pt x="45" y="126"/>
                  </a:lnTo>
                  <a:lnTo>
                    <a:pt x="26" y="78"/>
                  </a:lnTo>
                  <a:lnTo>
                    <a:pt x="35" y="66"/>
                  </a:lnTo>
                  <a:lnTo>
                    <a:pt x="18" y="12"/>
                  </a:lnTo>
                  <a:lnTo>
                    <a:pt x="37" y="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03" name="Freeform 185"/>
            <p:cNvSpPr>
              <a:spLocks noChangeAspect="1"/>
            </p:cNvSpPr>
            <p:nvPr/>
          </p:nvSpPr>
          <p:spPr bwMode="auto">
            <a:xfrm>
              <a:off x="3198" y="2598"/>
              <a:ext cx="17" cy="33"/>
            </a:xfrm>
            <a:custGeom>
              <a:avLst/>
              <a:gdLst>
                <a:gd name="T0" fmla="*/ 4 w 19"/>
                <a:gd name="T1" fmla="*/ 6 h 33"/>
                <a:gd name="T2" fmla="*/ 4 w 19"/>
                <a:gd name="T3" fmla="*/ 12 h 33"/>
                <a:gd name="T4" fmla="*/ 4 w 19"/>
                <a:gd name="T5" fmla="*/ 33 h 33"/>
                <a:gd name="T6" fmla="*/ 2 w 19"/>
                <a:gd name="T7" fmla="*/ 21 h 33"/>
                <a:gd name="T8" fmla="*/ 0 w 19"/>
                <a:gd name="T9" fmla="*/ 14 h 33"/>
                <a:gd name="T10" fmla="*/ 4 w 19"/>
                <a:gd name="T11" fmla="*/ 0 h 33"/>
                <a:gd name="T12" fmla="*/ 4 w 19"/>
                <a:gd name="T13" fmla="*/ 6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33"/>
                <a:gd name="T23" fmla="*/ 19 w 19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33">
                  <a:moveTo>
                    <a:pt x="19" y="6"/>
                  </a:moveTo>
                  <a:lnTo>
                    <a:pt x="11" y="12"/>
                  </a:lnTo>
                  <a:lnTo>
                    <a:pt x="7" y="33"/>
                  </a:lnTo>
                  <a:lnTo>
                    <a:pt x="2" y="21"/>
                  </a:lnTo>
                  <a:lnTo>
                    <a:pt x="0" y="14"/>
                  </a:lnTo>
                  <a:lnTo>
                    <a:pt x="15" y="0"/>
                  </a:lnTo>
                  <a:lnTo>
                    <a:pt x="19" y="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04" name="Freeform 186"/>
            <p:cNvSpPr>
              <a:spLocks noChangeAspect="1"/>
            </p:cNvSpPr>
            <p:nvPr/>
          </p:nvSpPr>
          <p:spPr bwMode="auto">
            <a:xfrm>
              <a:off x="3133" y="2194"/>
              <a:ext cx="139" cy="264"/>
            </a:xfrm>
            <a:custGeom>
              <a:avLst/>
              <a:gdLst>
                <a:gd name="T0" fmla="*/ 5 w 154"/>
                <a:gd name="T1" fmla="*/ 0 h 264"/>
                <a:gd name="T2" fmla="*/ 5 w 154"/>
                <a:gd name="T3" fmla="*/ 15 h 264"/>
                <a:gd name="T4" fmla="*/ 5 w 154"/>
                <a:gd name="T5" fmla="*/ 32 h 264"/>
                <a:gd name="T6" fmla="*/ 5 w 154"/>
                <a:gd name="T7" fmla="*/ 53 h 264"/>
                <a:gd name="T8" fmla="*/ 5 w 154"/>
                <a:gd name="T9" fmla="*/ 97 h 264"/>
                <a:gd name="T10" fmla="*/ 5 w 154"/>
                <a:gd name="T11" fmla="*/ 107 h 264"/>
                <a:gd name="T12" fmla="*/ 5 w 154"/>
                <a:gd name="T13" fmla="*/ 148 h 264"/>
                <a:gd name="T14" fmla="*/ 5 w 154"/>
                <a:gd name="T15" fmla="*/ 153 h 264"/>
                <a:gd name="T16" fmla="*/ 5 w 154"/>
                <a:gd name="T17" fmla="*/ 144 h 264"/>
                <a:gd name="T18" fmla="*/ 5 w 154"/>
                <a:gd name="T19" fmla="*/ 145 h 264"/>
                <a:gd name="T20" fmla="*/ 0 w 154"/>
                <a:gd name="T21" fmla="*/ 194 h 264"/>
                <a:gd name="T22" fmla="*/ 5 w 154"/>
                <a:gd name="T23" fmla="*/ 210 h 264"/>
                <a:gd name="T24" fmla="*/ 5 w 154"/>
                <a:gd name="T25" fmla="*/ 213 h 264"/>
                <a:gd name="T26" fmla="*/ 5 w 154"/>
                <a:gd name="T27" fmla="*/ 232 h 264"/>
                <a:gd name="T28" fmla="*/ 5 w 154"/>
                <a:gd name="T29" fmla="*/ 253 h 264"/>
                <a:gd name="T30" fmla="*/ 5 w 154"/>
                <a:gd name="T31" fmla="*/ 251 h 264"/>
                <a:gd name="T32" fmla="*/ 5 w 154"/>
                <a:gd name="T33" fmla="*/ 253 h 264"/>
                <a:gd name="T34" fmla="*/ 5 w 154"/>
                <a:gd name="T35" fmla="*/ 264 h 264"/>
                <a:gd name="T36" fmla="*/ 5 w 154"/>
                <a:gd name="T37" fmla="*/ 237 h 264"/>
                <a:gd name="T38" fmla="*/ 5 w 154"/>
                <a:gd name="T39" fmla="*/ 192 h 264"/>
                <a:gd name="T40" fmla="*/ 5 w 154"/>
                <a:gd name="T41" fmla="*/ 170 h 264"/>
                <a:gd name="T42" fmla="*/ 5 w 154"/>
                <a:gd name="T43" fmla="*/ 131 h 264"/>
                <a:gd name="T44" fmla="*/ 5 w 154"/>
                <a:gd name="T45" fmla="*/ 104 h 264"/>
                <a:gd name="T46" fmla="*/ 5 w 154"/>
                <a:gd name="T47" fmla="*/ 87 h 264"/>
                <a:gd name="T48" fmla="*/ 5 w 154"/>
                <a:gd name="T49" fmla="*/ 72 h 264"/>
                <a:gd name="T50" fmla="*/ 5 w 154"/>
                <a:gd name="T51" fmla="*/ 68 h 264"/>
                <a:gd name="T52" fmla="*/ 5 w 154"/>
                <a:gd name="T53" fmla="*/ 48 h 264"/>
                <a:gd name="T54" fmla="*/ 5 w 154"/>
                <a:gd name="T55" fmla="*/ 8 h 264"/>
                <a:gd name="T56" fmla="*/ 5 w 154"/>
                <a:gd name="T57" fmla="*/ 0 h 26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54"/>
                <a:gd name="T88" fmla="*/ 0 h 264"/>
                <a:gd name="T89" fmla="*/ 154 w 154"/>
                <a:gd name="T90" fmla="*/ 264 h 26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54" h="264">
                  <a:moveTo>
                    <a:pt x="113" y="0"/>
                  </a:moveTo>
                  <a:lnTo>
                    <a:pt x="113" y="15"/>
                  </a:lnTo>
                  <a:lnTo>
                    <a:pt x="119" y="32"/>
                  </a:lnTo>
                  <a:lnTo>
                    <a:pt x="99" y="53"/>
                  </a:lnTo>
                  <a:lnTo>
                    <a:pt x="87" y="97"/>
                  </a:lnTo>
                  <a:lnTo>
                    <a:pt x="77" y="107"/>
                  </a:lnTo>
                  <a:lnTo>
                    <a:pt x="61" y="148"/>
                  </a:lnTo>
                  <a:lnTo>
                    <a:pt x="51" y="153"/>
                  </a:lnTo>
                  <a:lnTo>
                    <a:pt x="42" y="144"/>
                  </a:lnTo>
                  <a:lnTo>
                    <a:pt x="23" y="145"/>
                  </a:lnTo>
                  <a:lnTo>
                    <a:pt x="0" y="194"/>
                  </a:lnTo>
                  <a:lnTo>
                    <a:pt x="9" y="210"/>
                  </a:lnTo>
                  <a:lnTo>
                    <a:pt x="17" y="213"/>
                  </a:lnTo>
                  <a:lnTo>
                    <a:pt x="30" y="232"/>
                  </a:lnTo>
                  <a:lnTo>
                    <a:pt x="25" y="253"/>
                  </a:lnTo>
                  <a:lnTo>
                    <a:pt x="56" y="251"/>
                  </a:lnTo>
                  <a:lnTo>
                    <a:pt x="101" y="253"/>
                  </a:lnTo>
                  <a:lnTo>
                    <a:pt x="153" y="264"/>
                  </a:lnTo>
                  <a:lnTo>
                    <a:pt x="154" y="237"/>
                  </a:lnTo>
                  <a:lnTo>
                    <a:pt x="125" y="192"/>
                  </a:lnTo>
                  <a:lnTo>
                    <a:pt x="122" y="170"/>
                  </a:lnTo>
                  <a:lnTo>
                    <a:pt x="139" y="131"/>
                  </a:lnTo>
                  <a:lnTo>
                    <a:pt x="131" y="104"/>
                  </a:lnTo>
                  <a:lnTo>
                    <a:pt x="113" y="87"/>
                  </a:lnTo>
                  <a:lnTo>
                    <a:pt x="119" y="72"/>
                  </a:lnTo>
                  <a:lnTo>
                    <a:pt x="137" y="68"/>
                  </a:lnTo>
                  <a:lnTo>
                    <a:pt x="128" y="48"/>
                  </a:lnTo>
                  <a:lnTo>
                    <a:pt x="122" y="8"/>
                  </a:lnTo>
                  <a:lnTo>
                    <a:pt x="113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05" name="Freeform 187"/>
            <p:cNvSpPr>
              <a:spLocks noChangeAspect="1"/>
            </p:cNvSpPr>
            <p:nvPr/>
          </p:nvSpPr>
          <p:spPr bwMode="auto">
            <a:xfrm>
              <a:off x="3187" y="2412"/>
              <a:ext cx="131" cy="200"/>
            </a:xfrm>
            <a:custGeom>
              <a:avLst/>
              <a:gdLst>
                <a:gd name="T0" fmla="*/ 4 w 146"/>
                <a:gd name="T1" fmla="*/ 186 h 200"/>
                <a:gd name="T2" fmla="*/ 4 w 146"/>
                <a:gd name="T3" fmla="*/ 192 h 200"/>
                <a:gd name="T4" fmla="*/ 4 w 146"/>
                <a:gd name="T5" fmla="*/ 195 h 200"/>
                <a:gd name="T6" fmla="*/ 4 w 146"/>
                <a:gd name="T7" fmla="*/ 186 h 200"/>
                <a:gd name="T8" fmla="*/ 4 w 146"/>
                <a:gd name="T9" fmla="*/ 195 h 200"/>
                <a:gd name="T10" fmla="*/ 4 w 146"/>
                <a:gd name="T11" fmla="*/ 174 h 200"/>
                <a:gd name="T12" fmla="*/ 4 w 146"/>
                <a:gd name="T13" fmla="*/ 132 h 200"/>
                <a:gd name="T14" fmla="*/ 4 w 146"/>
                <a:gd name="T15" fmla="*/ 100 h 200"/>
                <a:gd name="T16" fmla="*/ 4 w 146"/>
                <a:gd name="T17" fmla="*/ 40 h 200"/>
                <a:gd name="T18" fmla="*/ 4 w 146"/>
                <a:gd name="T19" fmla="*/ 0 h 200"/>
                <a:gd name="T20" fmla="*/ 4 w 146"/>
                <a:gd name="T21" fmla="*/ 6 h 200"/>
                <a:gd name="T22" fmla="*/ 4 w 146"/>
                <a:gd name="T23" fmla="*/ 0 h 200"/>
                <a:gd name="T24" fmla="*/ 4 w 146"/>
                <a:gd name="T25" fmla="*/ 7 h 200"/>
                <a:gd name="T26" fmla="*/ 4 w 146"/>
                <a:gd name="T27" fmla="*/ 19 h 200"/>
                <a:gd name="T28" fmla="*/ 4 w 146"/>
                <a:gd name="T29" fmla="*/ 46 h 200"/>
                <a:gd name="T30" fmla="*/ 4 w 146"/>
                <a:gd name="T31" fmla="*/ 35 h 200"/>
                <a:gd name="T32" fmla="*/ 4 w 146"/>
                <a:gd name="T33" fmla="*/ 42 h 200"/>
                <a:gd name="T34" fmla="*/ 4 w 146"/>
                <a:gd name="T35" fmla="*/ 49 h 200"/>
                <a:gd name="T36" fmla="*/ 4 w 146"/>
                <a:gd name="T37" fmla="*/ 57 h 200"/>
                <a:gd name="T38" fmla="*/ 4 w 146"/>
                <a:gd name="T39" fmla="*/ 78 h 200"/>
                <a:gd name="T40" fmla="*/ 4 w 146"/>
                <a:gd name="T41" fmla="*/ 110 h 200"/>
                <a:gd name="T42" fmla="*/ 4 w 146"/>
                <a:gd name="T43" fmla="*/ 138 h 200"/>
                <a:gd name="T44" fmla="*/ 4 w 146"/>
                <a:gd name="T45" fmla="*/ 128 h 200"/>
                <a:gd name="T46" fmla="*/ 3 w 146"/>
                <a:gd name="T47" fmla="*/ 146 h 200"/>
                <a:gd name="T48" fmla="*/ 4 w 146"/>
                <a:gd name="T49" fmla="*/ 163 h 200"/>
                <a:gd name="T50" fmla="*/ 0 w 146"/>
                <a:gd name="T51" fmla="*/ 178 h 200"/>
                <a:gd name="T52" fmla="*/ 4 w 146"/>
                <a:gd name="T53" fmla="*/ 200 h 200"/>
                <a:gd name="T54" fmla="*/ 4 w 146"/>
                <a:gd name="T55" fmla="*/ 186 h 2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46"/>
                <a:gd name="T85" fmla="*/ 0 h 200"/>
                <a:gd name="T86" fmla="*/ 146 w 146"/>
                <a:gd name="T87" fmla="*/ 200 h 2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46" h="200">
                  <a:moveTo>
                    <a:pt x="28" y="186"/>
                  </a:moveTo>
                  <a:lnTo>
                    <a:pt x="32" y="192"/>
                  </a:lnTo>
                  <a:lnTo>
                    <a:pt x="43" y="195"/>
                  </a:lnTo>
                  <a:lnTo>
                    <a:pt x="59" y="186"/>
                  </a:lnTo>
                  <a:lnTo>
                    <a:pt x="64" y="195"/>
                  </a:lnTo>
                  <a:lnTo>
                    <a:pt x="91" y="174"/>
                  </a:lnTo>
                  <a:lnTo>
                    <a:pt x="100" y="132"/>
                  </a:lnTo>
                  <a:lnTo>
                    <a:pt x="128" y="100"/>
                  </a:lnTo>
                  <a:lnTo>
                    <a:pt x="134" y="40"/>
                  </a:lnTo>
                  <a:lnTo>
                    <a:pt x="146" y="0"/>
                  </a:lnTo>
                  <a:lnTo>
                    <a:pt x="133" y="6"/>
                  </a:lnTo>
                  <a:lnTo>
                    <a:pt x="121" y="0"/>
                  </a:lnTo>
                  <a:lnTo>
                    <a:pt x="105" y="7"/>
                  </a:lnTo>
                  <a:lnTo>
                    <a:pt x="95" y="19"/>
                  </a:lnTo>
                  <a:lnTo>
                    <a:pt x="94" y="46"/>
                  </a:lnTo>
                  <a:lnTo>
                    <a:pt x="42" y="35"/>
                  </a:lnTo>
                  <a:lnTo>
                    <a:pt x="52" y="42"/>
                  </a:lnTo>
                  <a:lnTo>
                    <a:pt x="49" y="49"/>
                  </a:lnTo>
                  <a:lnTo>
                    <a:pt x="59" y="57"/>
                  </a:lnTo>
                  <a:lnTo>
                    <a:pt x="53" y="78"/>
                  </a:lnTo>
                  <a:lnTo>
                    <a:pt x="58" y="110"/>
                  </a:lnTo>
                  <a:lnTo>
                    <a:pt x="53" y="138"/>
                  </a:lnTo>
                  <a:lnTo>
                    <a:pt x="25" y="128"/>
                  </a:lnTo>
                  <a:lnTo>
                    <a:pt x="3" y="146"/>
                  </a:lnTo>
                  <a:lnTo>
                    <a:pt x="6" y="163"/>
                  </a:lnTo>
                  <a:lnTo>
                    <a:pt x="0" y="178"/>
                  </a:lnTo>
                  <a:lnTo>
                    <a:pt x="13" y="200"/>
                  </a:lnTo>
                  <a:lnTo>
                    <a:pt x="28" y="18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06" name="Freeform 188"/>
            <p:cNvSpPr>
              <a:spLocks noChangeAspect="1"/>
            </p:cNvSpPr>
            <p:nvPr/>
          </p:nvSpPr>
          <p:spPr bwMode="auto">
            <a:xfrm>
              <a:off x="3138" y="2445"/>
              <a:ext cx="102" cy="145"/>
            </a:xfrm>
            <a:custGeom>
              <a:avLst/>
              <a:gdLst>
                <a:gd name="T0" fmla="*/ 5 w 113"/>
                <a:gd name="T1" fmla="*/ 9 h 145"/>
                <a:gd name="T2" fmla="*/ 5 w 113"/>
                <a:gd name="T3" fmla="*/ 16 h 145"/>
                <a:gd name="T4" fmla="*/ 5 w 113"/>
                <a:gd name="T5" fmla="*/ 24 h 145"/>
                <a:gd name="T6" fmla="*/ 5 w 113"/>
                <a:gd name="T7" fmla="*/ 45 h 145"/>
                <a:gd name="T8" fmla="*/ 5 w 113"/>
                <a:gd name="T9" fmla="*/ 77 h 145"/>
                <a:gd name="T10" fmla="*/ 5 w 113"/>
                <a:gd name="T11" fmla="*/ 105 h 145"/>
                <a:gd name="T12" fmla="*/ 5 w 113"/>
                <a:gd name="T13" fmla="*/ 95 h 145"/>
                <a:gd name="T14" fmla="*/ 5 w 113"/>
                <a:gd name="T15" fmla="*/ 113 h 145"/>
                <a:gd name="T16" fmla="*/ 5 w 113"/>
                <a:gd name="T17" fmla="*/ 130 h 145"/>
                <a:gd name="T18" fmla="*/ 5 w 113"/>
                <a:gd name="T19" fmla="*/ 145 h 145"/>
                <a:gd name="T20" fmla="*/ 5 w 113"/>
                <a:gd name="T21" fmla="*/ 115 h 145"/>
                <a:gd name="T22" fmla="*/ 0 w 113"/>
                <a:gd name="T23" fmla="*/ 71 h 145"/>
                <a:gd name="T24" fmla="*/ 5 w 113"/>
                <a:gd name="T25" fmla="*/ 62 h 145"/>
                <a:gd name="T26" fmla="*/ 5 w 113"/>
                <a:gd name="T27" fmla="*/ 51 h 145"/>
                <a:gd name="T28" fmla="*/ 5 w 113"/>
                <a:gd name="T29" fmla="*/ 31 h 145"/>
                <a:gd name="T30" fmla="*/ 5 w 113"/>
                <a:gd name="T31" fmla="*/ 26 h 145"/>
                <a:gd name="T32" fmla="*/ 5 w 113"/>
                <a:gd name="T33" fmla="*/ 0 h 145"/>
                <a:gd name="T34" fmla="*/ 5 w 113"/>
                <a:gd name="T35" fmla="*/ 2 h 145"/>
                <a:gd name="T36" fmla="*/ 5 w 113"/>
                <a:gd name="T37" fmla="*/ 9 h 14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3"/>
                <a:gd name="T58" fmla="*/ 0 h 145"/>
                <a:gd name="T59" fmla="*/ 113 w 113"/>
                <a:gd name="T60" fmla="*/ 145 h 14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3" h="145">
                  <a:moveTo>
                    <a:pt x="106" y="9"/>
                  </a:moveTo>
                  <a:lnTo>
                    <a:pt x="103" y="16"/>
                  </a:lnTo>
                  <a:lnTo>
                    <a:pt x="113" y="24"/>
                  </a:lnTo>
                  <a:lnTo>
                    <a:pt x="107" y="45"/>
                  </a:lnTo>
                  <a:lnTo>
                    <a:pt x="112" y="77"/>
                  </a:lnTo>
                  <a:lnTo>
                    <a:pt x="107" y="105"/>
                  </a:lnTo>
                  <a:lnTo>
                    <a:pt x="79" y="95"/>
                  </a:lnTo>
                  <a:lnTo>
                    <a:pt x="57" y="113"/>
                  </a:lnTo>
                  <a:lnTo>
                    <a:pt x="60" y="130"/>
                  </a:lnTo>
                  <a:lnTo>
                    <a:pt x="54" y="145"/>
                  </a:lnTo>
                  <a:lnTo>
                    <a:pt x="23" y="115"/>
                  </a:lnTo>
                  <a:lnTo>
                    <a:pt x="0" y="71"/>
                  </a:lnTo>
                  <a:lnTo>
                    <a:pt x="11" y="62"/>
                  </a:lnTo>
                  <a:lnTo>
                    <a:pt x="12" y="51"/>
                  </a:lnTo>
                  <a:lnTo>
                    <a:pt x="18" y="31"/>
                  </a:lnTo>
                  <a:lnTo>
                    <a:pt x="54" y="26"/>
                  </a:lnTo>
                  <a:lnTo>
                    <a:pt x="51" y="0"/>
                  </a:lnTo>
                  <a:lnTo>
                    <a:pt x="96" y="2"/>
                  </a:lnTo>
                  <a:lnTo>
                    <a:pt x="106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07" name="Freeform 189"/>
            <p:cNvSpPr>
              <a:spLocks noChangeAspect="1"/>
            </p:cNvSpPr>
            <p:nvPr/>
          </p:nvSpPr>
          <p:spPr bwMode="auto">
            <a:xfrm>
              <a:off x="3148" y="2445"/>
              <a:ext cx="39" cy="31"/>
            </a:xfrm>
            <a:custGeom>
              <a:avLst/>
              <a:gdLst>
                <a:gd name="T0" fmla="*/ 5 w 43"/>
                <a:gd name="T1" fmla="*/ 26 h 31"/>
                <a:gd name="T2" fmla="*/ 5 w 43"/>
                <a:gd name="T3" fmla="*/ 0 h 31"/>
                <a:gd name="T4" fmla="*/ 5 w 43"/>
                <a:gd name="T5" fmla="*/ 2 h 31"/>
                <a:gd name="T6" fmla="*/ 0 w 43"/>
                <a:gd name="T7" fmla="*/ 26 h 31"/>
                <a:gd name="T8" fmla="*/ 5 w 43"/>
                <a:gd name="T9" fmla="*/ 31 h 31"/>
                <a:gd name="T10" fmla="*/ 5 w 43"/>
                <a:gd name="T11" fmla="*/ 26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3"/>
                <a:gd name="T19" fmla="*/ 0 h 31"/>
                <a:gd name="T20" fmla="*/ 43 w 43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3" h="31">
                  <a:moveTo>
                    <a:pt x="43" y="26"/>
                  </a:moveTo>
                  <a:lnTo>
                    <a:pt x="40" y="0"/>
                  </a:lnTo>
                  <a:lnTo>
                    <a:pt x="9" y="2"/>
                  </a:lnTo>
                  <a:lnTo>
                    <a:pt x="0" y="26"/>
                  </a:lnTo>
                  <a:lnTo>
                    <a:pt x="6" y="31"/>
                  </a:lnTo>
                  <a:lnTo>
                    <a:pt x="43" y="2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08" name="Freeform 190"/>
            <p:cNvSpPr>
              <a:spLocks noChangeAspect="1"/>
            </p:cNvSpPr>
            <p:nvPr/>
          </p:nvSpPr>
          <p:spPr bwMode="auto">
            <a:xfrm>
              <a:off x="2920" y="2241"/>
              <a:ext cx="81" cy="146"/>
            </a:xfrm>
            <a:custGeom>
              <a:avLst/>
              <a:gdLst>
                <a:gd name="T0" fmla="*/ 5 w 90"/>
                <a:gd name="T1" fmla="*/ 97 h 146"/>
                <a:gd name="T2" fmla="*/ 5 w 90"/>
                <a:gd name="T3" fmla="*/ 47 h 146"/>
                <a:gd name="T4" fmla="*/ 5 w 90"/>
                <a:gd name="T5" fmla="*/ 0 h 146"/>
                <a:gd name="T6" fmla="*/ 5 w 90"/>
                <a:gd name="T7" fmla="*/ 2 h 146"/>
                <a:gd name="T8" fmla="*/ 5 w 90"/>
                <a:gd name="T9" fmla="*/ 7 h 146"/>
                <a:gd name="T10" fmla="*/ 5 w 90"/>
                <a:gd name="T11" fmla="*/ 36 h 146"/>
                <a:gd name="T12" fmla="*/ 5 w 90"/>
                <a:gd name="T13" fmla="*/ 65 h 146"/>
                <a:gd name="T14" fmla="*/ 1 w 90"/>
                <a:gd name="T15" fmla="*/ 104 h 146"/>
                <a:gd name="T16" fmla="*/ 5 w 90"/>
                <a:gd name="T17" fmla="*/ 137 h 146"/>
                <a:gd name="T18" fmla="*/ 0 w 90"/>
                <a:gd name="T19" fmla="*/ 140 h 146"/>
                <a:gd name="T20" fmla="*/ 5 w 90"/>
                <a:gd name="T21" fmla="*/ 146 h 146"/>
                <a:gd name="T22" fmla="*/ 5 w 90"/>
                <a:gd name="T23" fmla="*/ 122 h 146"/>
                <a:gd name="T24" fmla="*/ 5 w 90"/>
                <a:gd name="T25" fmla="*/ 122 h 146"/>
                <a:gd name="T26" fmla="*/ 5 w 90"/>
                <a:gd name="T27" fmla="*/ 114 h 146"/>
                <a:gd name="T28" fmla="*/ 5 w 90"/>
                <a:gd name="T29" fmla="*/ 97 h 1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0"/>
                <a:gd name="T46" fmla="*/ 0 h 146"/>
                <a:gd name="T47" fmla="*/ 90 w 90"/>
                <a:gd name="T48" fmla="*/ 146 h 1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0" h="146">
                  <a:moveTo>
                    <a:pt x="81" y="97"/>
                  </a:moveTo>
                  <a:lnTo>
                    <a:pt x="76" y="47"/>
                  </a:lnTo>
                  <a:lnTo>
                    <a:pt x="62" y="0"/>
                  </a:lnTo>
                  <a:lnTo>
                    <a:pt x="12" y="2"/>
                  </a:lnTo>
                  <a:lnTo>
                    <a:pt x="7" y="7"/>
                  </a:lnTo>
                  <a:lnTo>
                    <a:pt x="12" y="36"/>
                  </a:lnTo>
                  <a:lnTo>
                    <a:pt x="17" y="65"/>
                  </a:lnTo>
                  <a:lnTo>
                    <a:pt x="1" y="104"/>
                  </a:lnTo>
                  <a:lnTo>
                    <a:pt x="11" y="137"/>
                  </a:lnTo>
                  <a:lnTo>
                    <a:pt x="0" y="140"/>
                  </a:lnTo>
                  <a:lnTo>
                    <a:pt x="24" y="146"/>
                  </a:lnTo>
                  <a:lnTo>
                    <a:pt x="71" y="122"/>
                  </a:lnTo>
                  <a:lnTo>
                    <a:pt x="85" y="122"/>
                  </a:lnTo>
                  <a:lnTo>
                    <a:pt x="90" y="114"/>
                  </a:lnTo>
                  <a:lnTo>
                    <a:pt x="81" y="9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09" name="Freeform 191"/>
            <p:cNvSpPr>
              <a:spLocks noChangeAspect="1"/>
            </p:cNvSpPr>
            <p:nvPr/>
          </p:nvSpPr>
          <p:spPr bwMode="auto">
            <a:xfrm>
              <a:off x="2976" y="2241"/>
              <a:ext cx="39" cy="114"/>
            </a:xfrm>
            <a:custGeom>
              <a:avLst/>
              <a:gdLst>
                <a:gd name="T0" fmla="*/ 6 w 42"/>
                <a:gd name="T1" fmla="*/ 97 h 114"/>
                <a:gd name="T2" fmla="*/ 6 w 42"/>
                <a:gd name="T3" fmla="*/ 47 h 114"/>
                <a:gd name="T4" fmla="*/ 0 w 42"/>
                <a:gd name="T5" fmla="*/ 0 h 114"/>
                <a:gd name="T6" fmla="*/ 6 w 42"/>
                <a:gd name="T7" fmla="*/ 2 h 114"/>
                <a:gd name="T8" fmla="*/ 6 w 42"/>
                <a:gd name="T9" fmla="*/ 15 h 114"/>
                <a:gd name="T10" fmla="*/ 6 w 42"/>
                <a:gd name="T11" fmla="*/ 30 h 114"/>
                <a:gd name="T12" fmla="*/ 6 w 42"/>
                <a:gd name="T13" fmla="*/ 59 h 114"/>
                <a:gd name="T14" fmla="*/ 6 w 42"/>
                <a:gd name="T15" fmla="*/ 112 h 114"/>
                <a:gd name="T16" fmla="*/ 6 w 42"/>
                <a:gd name="T17" fmla="*/ 114 h 114"/>
                <a:gd name="T18" fmla="*/ 6 w 42"/>
                <a:gd name="T19" fmla="*/ 97 h 1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2"/>
                <a:gd name="T31" fmla="*/ 0 h 114"/>
                <a:gd name="T32" fmla="*/ 42 w 42"/>
                <a:gd name="T33" fmla="*/ 114 h 1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2" h="114">
                  <a:moveTo>
                    <a:pt x="19" y="97"/>
                  </a:moveTo>
                  <a:lnTo>
                    <a:pt x="14" y="47"/>
                  </a:lnTo>
                  <a:lnTo>
                    <a:pt x="0" y="0"/>
                  </a:lnTo>
                  <a:lnTo>
                    <a:pt x="22" y="2"/>
                  </a:lnTo>
                  <a:lnTo>
                    <a:pt x="18" y="15"/>
                  </a:lnTo>
                  <a:lnTo>
                    <a:pt x="31" y="30"/>
                  </a:lnTo>
                  <a:lnTo>
                    <a:pt x="39" y="59"/>
                  </a:lnTo>
                  <a:lnTo>
                    <a:pt x="42" y="112"/>
                  </a:lnTo>
                  <a:lnTo>
                    <a:pt x="28" y="114"/>
                  </a:lnTo>
                  <a:lnTo>
                    <a:pt x="19" y="9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10" name="Freeform 192"/>
            <p:cNvSpPr>
              <a:spLocks noChangeAspect="1"/>
            </p:cNvSpPr>
            <p:nvPr/>
          </p:nvSpPr>
          <p:spPr bwMode="auto">
            <a:xfrm>
              <a:off x="3028" y="2179"/>
              <a:ext cx="213" cy="220"/>
            </a:xfrm>
            <a:custGeom>
              <a:avLst/>
              <a:gdLst>
                <a:gd name="T0" fmla="*/ 5 w 236"/>
                <a:gd name="T1" fmla="*/ 15 h 220"/>
                <a:gd name="T2" fmla="*/ 5 w 236"/>
                <a:gd name="T3" fmla="*/ 0 h 220"/>
                <a:gd name="T4" fmla="*/ 5 w 236"/>
                <a:gd name="T5" fmla="*/ 0 h 220"/>
                <a:gd name="T6" fmla="*/ 5 w 236"/>
                <a:gd name="T7" fmla="*/ 14 h 220"/>
                <a:gd name="T8" fmla="*/ 5 w 236"/>
                <a:gd name="T9" fmla="*/ 11 h 220"/>
                <a:gd name="T10" fmla="*/ 5 w 236"/>
                <a:gd name="T11" fmla="*/ 24 h 220"/>
                <a:gd name="T12" fmla="*/ 5 w 236"/>
                <a:gd name="T13" fmla="*/ 11 h 220"/>
                <a:gd name="T14" fmla="*/ 5 w 236"/>
                <a:gd name="T15" fmla="*/ 19 h 220"/>
                <a:gd name="T16" fmla="*/ 5 w 236"/>
                <a:gd name="T17" fmla="*/ 0 h 220"/>
                <a:gd name="T18" fmla="*/ 5 w 236"/>
                <a:gd name="T19" fmla="*/ 2 h 220"/>
                <a:gd name="T20" fmla="*/ 5 w 236"/>
                <a:gd name="T21" fmla="*/ 26 h 220"/>
                <a:gd name="T22" fmla="*/ 5 w 236"/>
                <a:gd name="T23" fmla="*/ 48 h 220"/>
                <a:gd name="T24" fmla="*/ 5 w 236"/>
                <a:gd name="T25" fmla="*/ 74 h 220"/>
                <a:gd name="T26" fmla="*/ 2 w 236"/>
                <a:gd name="T27" fmla="*/ 122 h 220"/>
                <a:gd name="T28" fmla="*/ 0 w 236"/>
                <a:gd name="T29" fmla="*/ 172 h 220"/>
                <a:gd name="T30" fmla="*/ 5 w 236"/>
                <a:gd name="T31" fmla="*/ 168 h 220"/>
                <a:gd name="T32" fmla="*/ 5 w 236"/>
                <a:gd name="T33" fmla="*/ 182 h 220"/>
                <a:gd name="T34" fmla="*/ 5 w 236"/>
                <a:gd name="T35" fmla="*/ 212 h 220"/>
                <a:gd name="T36" fmla="*/ 5 w 236"/>
                <a:gd name="T37" fmla="*/ 220 h 220"/>
                <a:gd name="T38" fmla="*/ 5 w 236"/>
                <a:gd name="T39" fmla="*/ 209 h 220"/>
                <a:gd name="T40" fmla="*/ 5 w 236"/>
                <a:gd name="T41" fmla="*/ 160 h 220"/>
                <a:gd name="T42" fmla="*/ 5 w 236"/>
                <a:gd name="T43" fmla="*/ 159 h 220"/>
                <a:gd name="T44" fmla="*/ 5 w 236"/>
                <a:gd name="T45" fmla="*/ 168 h 220"/>
                <a:gd name="T46" fmla="*/ 5 w 236"/>
                <a:gd name="T47" fmla="*/ 163 h 220"/>
                <a:gd name="T48" fmla="*/ 5 w 236"/>
                <a:gd name="T49" fmla="*/ 122 h 220"/>
                <a:gd name="T50" fmla="*/ 5 w 236"/>
                <a:gd name="T51" fmla="*/ 112 h 220"/>
                <a:gd name="T52" fmla="*/ 5 w 236"/>
                <a:gd name="T53" fmla="*/ 68 h 220"/>
                <a:gd name="T54" fmla="*/ 5 w 236"/>
                <a:gd name="T55" fmla="*/ 47 h 220"/>
                <a:gd name="T56" fmla="*/ 5 w 236"/>
                <a:gd name="T57" fmla="*/ 30 h 220"/>
                <a:gd name="T58" fmla="*/ 5 w 236"/>
                <a:gd name="T59" fmla="*/ 15 h 22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36"/>
                <a:gd name="T91" fmla="*/ 0 h 220"/>
                <a:gd name="T92" fmla="*/ 236 w 236"/>
                <a:gd name="T93" fmla="*/ 220 h 22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36" h="220">
                  <a:moveTo>
                    <a:pt x="230" y="15"/>
                  </a:moveTo>
                  <a:lnTo>
                    <a:pt x="218" y="0"/>
                  </a:lnTo>
                  <a:lnTo>
                    <a:pt x="212" y="0"/>
                  </a:lnTo>
                  <a:lnTo>
                    <a:pt x="194" y="14"/>
                  </a:lnTo>
                  <a:lnTo>
                    <a:pt x="157" y="11"/>
                  </a:lnTo>
                  <a:lnTo>
                    <a:pt x="133" y="24"/>
                  </a:lnTo>
                  <a:lnTo>
                    <a:pt x="104" y="11"/>
                  </a:lnTo>
                  <a:lnTo>
                    <a:pt x="88" y="19"/>
                  </a:lnTo>
                  <a:lnTo>
                    <a:pt x="60" y="0"/>
                  </a:lnTo>
                  <a:lnTo>
                    <a:pt x="41" y="2"/>
                  </a:lnTo>
                  <a:lnTo>
                    <a:pt x="22" y="26"/>
                  </a:lnTo>
                  <a:lnTo>
                    <a:pt x="19" y="48"/>
                  </a:lnTo>
                  <a:lnTo>
                    <a:pt x="23" y="74"/>
                  </a:lnTo>
                  <a:lnTo>
                    <a:pt x="2" y="122"/>
                  </a:lnTo>
                  <a:lnTo>
                    <a:pt x="0" y="172"/>
                  </a:lnTo>
                  <a:lnTo>
                    <a:pt x="26" y="168"/>
                  </a:lnTo>
                  <a:lnTo>
                    <a:pt x="47" y="182"/>
                  </a:lnTo>
                  <a:lnTo>
                    <a:pt x="56" y="212"/>
                  </a:lnTo>
                  <a:lnTo>
                    <a:pt x="66" y="220"/>
                  </a:lnTo>
                  <a:lnTo>
                    <a:pt x="117" y="209"/>
                  </a:lnTo>
                  <a:lnTo>
                    <a:pt x="140" y="160"/>
                  </a:lnTo>
                  <a:lnTo>
                    <a:pt x="159" y="159"/>
                  </a:lnTo>
                  <a:lnTo>
                    <a:pt x="168" y="168"/>
                  </a:lnTo>
                  <a:lnTo>
                    <a:pt x="178" y="163"/>
                  </a:lnTo>
                  <a:lnTo>
                    <a:pt x="194" y="122"/>
                  </a:lnTo>
                  <a:lnTo>
                    <a:pt x="204" y="112"/>
                  </a:lnTo>
                  <a:lnTo>
                    <a:pt x="216" y="68"/>
                  </a:lnTo>
                  <a:lnTo>
                    <a:pt x="236" y="47"/>
                  </a:lnTo>
                  <a:lnTo>
                    <a:pt x="230" y="30"/>
                  </a:lnTo>
                  <a:lnTo>
                    <a:pt x="230" y="1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11" name="Freeform 193"/>
            <p:cNvSpPr>
              <a:spLocks noChangeAspect="1"/>
            </p:cNvSpPr>
            <p:nvPr/>
          </p:nvSpPr>
          <p:spPr bwMode="auto">
            <a:xfrm>
              <a:off x="2993" y="2213"/>
              <a:ext cx="56" cy="140"/>
            </a:xfrm>
            <a:custGeom>
              <a:avLst/>
              <a:gdLst>
                <a:gd name="T0" fmla="*/ 5 w 62"/>
                <a:gd name="T1" fmla="*/ 87 h 140"/>
                <a:gd name="T2" fmla="*/ 5 w 62"/>
                <a:gd name="T3" fmla="*/ 58 h 140"/>
                <a:gd name="T4" fmla="*/ 0 w 62"/>
                <a:gd name="T5" fmla="*/ 43 h 140"/>
                <a:gd name="T6" fmla="*/ 4 w 62"/>
                <a:gd name="T7" fmla="*/ 30 h 140"/>
                <a:gd name="T8" fmla="*/ 5 w 62"/>
                <a:gd name="T9" fmla="*/ 19 h 140"/>
                <a:gd name="T10" fmla="*/ 5 w 62"/>
                <a:gd name="T11" fmla="*/ 21 h 140"/>
                <a:gd name="T12" fmla="*/ 5 w 62"/>
                <a:gd name="T13" fmla="*/ 9 h 140"/>
                <a:gd name="T14" fmla="*/ 5 w 62"/>
                <a:gd name="T15" fmla="*/ 1 h 140"/>
                <a:gd name="T16" fmla="*/ 5 w 62"/>
                <a:gd name="T17" fmla="*/ 0 h 140"/>
                <a:gd name="T18" fmla="*/ 5 w 62"/>
                <a:gd name="T19" fmla="*/ 14 h 140"/>
                <a:gd name="T20" fmla="*/ 5 w 62"/>
                <a:gd name="T21" fmla="*/ 40 h 140"/>
                <a:gd name="T22" fmla="*/ 5 w 62"/>
                <a:gd name="T23" fmla="*/ 88 h 140"/>
                <a:gd name="T24" fmla="*/ 5 w 62"/>
                <a:gd name="T25" fmla="*/ 138 h 140"/>
                <a:gd name="T26" fmla="*/ 5 w 62"/>
                <a:gd name="T27" fmla="*/ 140 h 140"/>
                <a:gd name="T28" fmla="*/ 5 w 62"/>
                <a:gd name="T29" fmla="*/ 87 h 1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2"/>
                <a:gd name="T46" fmla="*/ 0 h 140"/>
                <a:gd name="T47" fmla="*/ 62 w 62"/>
                <a:gd name="T48" fmla="*/ 140 h 1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2" h="140">
                  <a:moveTo>
                    <a:pt x="21" y="87"/>
                  </a:moveTo>
                  <a:lnTo>
                    <a:pt x="13" y="58"/>
                  </a:lnTo>
                  <a:lnTo>
                    <a:pt x="0" y="43"/>
                  </a:lnTo>
                  <a:lnTo>
                    <a:pt x="4" y="30"/>
                  </a:lnTo>
                  <a:lnTo>
                    <a:pt x="15" y="19"/>
                  </a:lnTo>
                  <a:lnTo>
                    <a:pt x="25" y="21"/>
                  </a:lnTo>
                  <a:lnTo>
                    <a:pt x="34" y="9"/>
                  </a:lnTo>
                  <a:lnTo>
                    <a:pt x="39" y="1"/>
                  </a:lnTo>
                  <a:lnTo>
                    <a:pt x="51" y="0"/>
                  </a:lnTo>
                  <a:lnTo>
                    <a:pt x="58" y="14"/>
                  </a:lnTo>
                  <a:lnTo>
                    <a:pt x="62" y="40"/>
                  </a:lnTo>
                  <a:lnTo>
                    <a:pt x="41" y="88"/>
                  </a:lnTo>
                  <a:lnTo>
                    <a:pt x="39" y="138"/>
                  </a:lnTo>
                  <a:lnTo>
                    <a:pt x="24" y="140"/>
                  </a:lnTo>
                  <a:lnTo>
                    <a:pt x="21" y="8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12" name="Freeform 194"/>
            <p:cNvSpPr>
              <a:spLocks noChangeAspect="1"/>
            </p:cNvSpPr>
            <p:nvPr/>
          </p:nvSpPr>
          <p:spPr bwMode="auto">
            <a:xfrm>
              <a:off x="2825" y="2250"/>
              <a:ext cx="111" cy="146"/>
            </a:xfrm>
            <a:custGeom>
              <a:avLst/>
              <a:gdLst>
                <a:gd name="T0" fmla="*/ 5 w 123"/>
                <a:gd name="T1" fmla="*/ 128 h 146"/>
                <a:gd name="T2" fmla="*/ 5 w 123"/>
                <a:gd name="T3" fmla="*/ 95 h 146"/>
                <a:gd name="T4" fmla="*/ 5 w 123"/>
                <a:gd name="T5" fmla="*/ 56 h 146"/>
                <a:gd name="T6" fmla="*/ 5 w 123"/>
                <a:gd name="T7" fmla="*/ 27 h 146"/>
                <a:gd name="T8" fmla="*/ 5 w 123"/>
                <a:gd name="T9" fmla="*/ 16 h 146"/>
                <a:gd name="T10" fmla="*/ 5 w 123"/>
                <a:gd name="T11" fmla="*/ 20 h 146"/>
                <a:gd name="T12" fmla="*/ 5 w 123"/>
                <a:gd name="T13" fmla="*/ 8 h 146"/>
                <a:gd name="T14" fmla="*/ 5 w 123"/>
                <a:gd name="T15" fmla="*/ 10 h 146"/>
                <a:gd name="T16" fmla="*/ 5 w 123"/>
                <a:gd name="T17" fmla="*/ 0 h 146"/>
                <a:gd name="T18" fmla="*/ 5 w 123"/>
                <a:gd name="T19" fmla="*/ 11 h 146"/>
                <a:gd name="T20" fmla="*/ 5 w 123"/>
                <a:gd name="T21" fmla="*/ 6 h 146"/>
                <a:gd name="T22" fmla="*/ 5 w 123"/>
                <a:gd name="T23" fmla="*/ 11 h 146"/>
                <a:gd name="T24" fmla="*/ 5 w 123"/>
                <a:gd name="T25" fmla="*/ 24 h 146"/>
                <a:gd name="T26" fmla="*/ 5 w 123"/>
                <a:gd name="T27" fmla="*/ 49 h 146"/>
                <a:gd name="T28" fmla="*/ 5 w 123"/>
                <a:gd name="T29" fmla="*/ 56 h 146"/>
                <a:gd name="T30" fmla="*/ 5 w 123"/>
                <a:gd name="T31" fmla="*/ 67 h 146"/>
                <a:gd name="T32" fmla="*/ 0 w 123"/>
                <a:gd name="T33" fmla="*/ 73 h 146"/>
                <a:gd name="T34" fmla="*/ 2 w 123"/>
                <a:gd name="T35" fmla="*/ 98 h 146"/>
                <a:gd name="T36" fmla="*/ 5 w 123"/>
                <a:gd name="T37" fmla="*/ 115 h 146"/>
                <a:gd name="T38" fmla="*/ 5 w 123"/>
                <a:gd name="T39" fmla="*/ 146 h 146"/>
                <a:gd name="T40" fmla="*/ 5 w 123"/>
                <a:gd name="T41" fmla="*/ 131 h 146"/>
                <a:gd name="T42" fmla="*/ 5 w 123"/>
                <a:gd name="T43" fmla="*/ 126 h 146"/>
                <a:gd name="T44" fmla="*/ 5 w 123"/>
                <a:gd name="T45" fmla="*/ 131 h 146"/>
                <a:gd name="T46" fmla="*/ 5 w 123"/>
                <a:gd name="T47" fmla="*/ 128 h 14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3"/>
                <a:gd name="T73" fmla="*/ 0 h 146"/>
                <a:gd name="T74" fmla="*/ 123 w 123"/>
                <a:gd name="T75" fmla="*/ 146 h 14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3" h="146">
                  <a:moveTo>
                    <a:pt x="117" y="128"/>
                  </a:moveTo>
                  <a:lnTo>
                    <a:pt x="107" y="95"/>
                  </a:lnTo>
                  <a:lnTo>
                    <a:pt x="123" y="56"/>
                  </a:lnTo>
                  <a:lnTo>
                    <a:pt x="118" y="27"/>
                  </a:lnTo>
                  <a:lnTo>
                    <a:pt x="100" y="16"/>
                  </a:lnTo>
                  <a:lnTo>
                    <a:pt x="74" y="20"/>
                  </a:lnTo>
                  <a:lnTo>
                    <a:pt x="67" y="8"/>
                  </a:lnTo>
                  <a:lnTo>
                    <a:pt x="50" y="10"/>
                  </a:lnTo>
                  <a:lnTo>
                    <a:pt x="43" y="0"/>
                  </a:lnTo>
                  <a:lnTo>
                    <a:pt x="27" y="11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8" y="24"/>
                  </a:lnTo>
                  <a:lnTo>
                    <a:pt x="16" y="49"/>
                  </a:lnTo>
                  <a:lnTo>
                    <a:pt x="5" y="56"/>
                  </a:lnTo>
                  <a:lnTo>
                    <a:pt x="8" y="67"/>
                  </a:lnTo>
                  <a:lnTo>
                    <a:pt x="0" y="73"/>
                  </a:lnTo>
                  <a:lnTo>
                    <a:pt x="2" y="98"/>
                  </a:lnTo>
                  <a:lnTo>
                    <a:pt x="21" y="115"/>
                  </a:lnTo>
                  <a:lnTo>
                    <a:pt x="17" y="146"/>
                  </a:lnTo>
                  <a:lnTo>
                    <a:pt x="51" y="131"/>
                  </a:lnTo>
                  <a:lnTo>
                    <a:pt x="83" y="126"/>
                  </a:lnTo>
                  <a:lnTo>
                    <a:pt x="106" y="131"/>
                  </a:lnTo>
                  <a:lnTo>
                    <a:pt x="117" y="12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13" name="Freeform 195"/>
            <p:cNvSpPr>
              <a:spLocks noChangeAspect="1"/>
            </p:cNvSpPr>
            <p:nvPr/>
          </p:nvSpPr>
          <p:spPr bwMode="auto">
            <a:xfrm>
              <a:off x="2770" y="2301"/>
              <a:ext cx="74" cy="95"/>
            </a:xfrm>
            <a:custGeom>
              <a:avLst/>
              <a:gdLst>
                <a:gd name="T0" fmla="*/ 5 w 82"/>
                <a:gd name="T1" fmla="*/ 22 h 95"/>
                <a:gd name="T2" fmla="*/ 5 w 82"/>
                <a:gd name="T3" fmla="*/ 47 h 95"/>
                <a:gd name="T4" fmla="*/ 5 w 82"/>
                <a:gd name="T5" fmla="*/ 64 h 95"/>
                <a:gd name="T6" fmla="*/ 5 w 82"/>
                <a:gd name="T7" fmla="*/ 95 h 95"/>
                <a:gd name="T8" fmla="*/ 5 w 82"/>
                <a:gd name="T9" fmla="*/ 92 h 95"/>
                <a:gd name="T10" fmla="*/ 0 w 82"/>
                <a:gd name="T11" fmla="*/ 37 h 95"/>
                <a:gd name="T12" fmla="*/ 1 w 82"/>
                <a:gd name="T13" fmla="*/ 34 h 95"/>
                <a:gd name="T14" fmla="*/ 5 w 82"/>
                <a:gd name="T15" fmla="*/ 3 h 95"/>
                <a:gd name="T16" fmla="*/ 5 w 82"/>
                <a:gd name="T17" fmla="*/ 0 h 95"/>
                <a:gd name="T18" fmla="*/ 5 w 82"/>
                <a:gd name="T19" fmla="*/ 29 h 95"/>
                <a:gd name="T20" fmla="*/ 5 w 82"/>
                <a:gd name="T21" fmla="*/ 22 h 9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2"/>
                <a:gd name="T34" fmla="*/ 0 h 95"/>
                <a:gd name="T35" fmla="*/ 82 w 82"/>
                <a:gd name="T36" fmla="*/ 95 h 9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2" h="95">
                  <a:moveTo>
                    <a:pt x="61" y="22"/>
                  </a:moveTo>
                  <a:lnTo>
                    <a:pt x="63" y="47"/>
                  </a:lnTo>
                  <a:lnTo>
                    <a:pt x="82" y="64"/>
                  </a:lnTo>
                  <a:lnTo>
                    <a:pt x="78" y="95"/>
                  </a:lnTo>
                  <a:lnTo>
                    <a:pt x="63" y="92"/>
                  </a:lnTo>
                  <a:lnTo>
                    <a:pt x="0" y="37"/>
                  </a:lnTo>
                  <a:lnTo>
                    <a:pt x="1" y="34"/>
                  </a:lnTo>
                  <a:lnTo>
                    <a:pt x="24" y="3"/>
                  </a:lnTo>
                  <a:lnTo>
                    <a:pt x="37" y="0"/>
                  </a:lnTo>
                  <a:lnTo>
                    <a:pt x="49" y="29"/>
                  </a:lnTo>
                  <a:lnTo>
                    <a:pt x="61" y="2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14" name="Freeform 196"/>
            <p:cNvSpPr>
              <a:spLocks noChangeAspect="1"/>
            </p:cNvSpPr>
            <p:nvPr/>
          </p:nvSpPr>
          <p:spPr bwMode="auto">
            <a:xfrm>
              <a:off x="2664" y="2113"/>
              <a:ext cx="112" cy="98"/>
            </a:xfrm>
            <a:custGeom>
              <a:avLst/>
              <a:gdLst>
                <a:gd name="T0" fmla="*/ 5 w 123"/>
                <a:gd name="T1" fmla="*/ 44 h 98"/>
                <a:gd name="T2" fmla="*/ 5 w 123"/>
                <a:gd name="T3" fmla="*/ 97 h 98"/>
                <a:gd name="T4" fmla="*/ 5 w 123"/>
                <a:gd name="T5" fmla="*/ 91 h 98"/>
                <a:gd name="T6" fmla="*/ 5 w 123"/>
                <a:gd name="T7" fmla="*/ 97 h 98"/>
                <a:gd name="T8" fmla="*/ 5 w 123"/>
                <a:gd name="T9" fmla="*/ 98 h 98"/>
                <a:gd name="T10" fmla="*/ 5 w 123"/>
                <a:gd name="T11" fmla="*/ 81 h 98"/>
                <a:gd name="T12" fmla="*/ 5 w 123"/>
                <a:gd name="T13" fmla="*/ 83 h 98"/>
                <a:gd name="T14" fmla="*/ 5 w 123"/>
                <a:gd name="T15" fmla="*/ 73 h 98"/>
                <a:gd name="T16" fmla="*/ 5 w 123"/>
                <a:gd name="T17" fmla="*/ 77 h 98"/>
                <a:gd name="T18" fmla="*/ 5 w 123"/>
                <a:gd name="T19" fmla="*/ 70 h 98"/>
                <a:gd name="T20" fmla="*/ 5 w 123"/>
                <a:gd name="T21" fmla="*/ 63 h 98"/>
                <a:gd name="T22" fmla="*/ 5 w 123"/>
                <a:gd name="T23" fmla="*/ 68 h 98"/>
                <a:gd name="T24" fmla="*/ 5 w 123"/>
                <a:gd name="T25" fmla="*/ 68 h 98"/>
                <a:gd name="T26" fmla="*/ 5 w 123"/>
                <a:gd name="T27" fmla="*/ 62 h 98"/>
                <a:gd name="T28" fmla="*/ 0 w 123"/>
                <a:gd name="T29" fmla="*/ 45 h 98"/>
                <a:gd name="T30" fmla="*/ 5 w 123"/>
                <a:gd name="T31" fmla="*/ 18 h 98"/>
                <a:gd name="T32" fmla="*/ 5 w 123"/>
                <a:gd name="T33" fmla="*/ 4 h 98"/>
                <a:gd name="T34" fmla="*/ 5 w 123"/>
                <a:gd name="T35" fmla="*/ 0 h 98"/>
                <a:gd name="T36" fmla="*/ 5 w 123"/>
                <a:gd name="T37" fmla="*/ 16 h 98"/>
                <a:gd name="T38" fmla="*/ 5 w 123"/>
                <a:gd name="T39" fmla="*/ 44 h 9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23"/>
                <a:gd name="T61" fmla="*/ 0 h 98"/>
                <a:gd name="T62" fmla="*/ 123 w 123"/>
                <a:gd name="T63" fmla="*/ 98 h 9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23" h="98">
                  <a:moveTo>
                    <a:pt x="107" y="44"/>
                  </a:moveTo>
                  <a:lnTo>
                    <a:pt x="123" y="97"/>
                  </a:lnTo>
                  <a:lnTo>
                    <a:pt x="75" y="91"/>
                  </a:lnTo>
                  <a:lnTo>
                    <a:pt x="13" y="97"/>
                  </a:lnTo>
                  <a:lnTo>
                    <a:pt x="12" y="98"/>
                  </a:lnTo>
                  <a:lnTo>
                    <a:pt x="12" y="81"/>
                  </a:lnTo>
                  <a:lnTo>
                    <a:pt x="13" y="83"/>
                  </a:lnTo>
                  <a:lnTo>
                    <a:pt x="45" y="73"/>
                  </a:lnTo>
                  <a:lnTo>
                    <a:pt x="69" y="77"/>
                  </a:lnTo>
                  <a:lnTo>
                    <a:pt x="72" y="70"/>
                  </a:lnTo>
                  <a:lnTo>
                    <a:pt x="44" y="63"/>
                  </a:lnTo>
                  <a:lnTo>
                    <a:pt x="15" y="68"/>
                  </a:lnTo>
                  <a:lnTo>
                    <a:pt x="13" y="68"/>
                  </a:lnTo>
                  <a:lnTo>
                    <a:pt x="13" y="62"/>
                  </a:lnTo>
                  <a:lnTo>
                    <a:pt x="0" y="45"/>
                  </a:lnTo>
                  <a:lnTo>
                    <a:pt x="23" y="18"/>
                  </a:lnTo>
                  <a:lnTo>
                    <a:pt x="38" y="4"/>
                  </a:lnTo>
                  <a:lnTo>
                    <a:pt x="58" y="0"/>
                  </a:lnTo>
                  <a:lnTo>
                    <a:pt x="85" y="16"/>
                  </a:lnTo>
                  <a:lnTo>
                    <a:pt x="107" y="4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15" name="Freeform 197"/>
            <p:cNvSpPr>
              <a:spLocks noChangeAspect="1"/>
            </p:cNvSpPr>
            <p:nvPr/>
          </p:nvSpPr>
          <p:spPr bwMode="auto">
            <a:xfrm>
              <a:off x="2678" y="1871"/>
              <a:ext cx="218" cy="286"/>
            </a:xfrm>
            <a:custGeom>
              <a:avLst/>
              <a:gdLst>
                <a:gd name="T0" fmla="*/ 4 w 243"/>
                <a:gd name="T1" fmla="*/ 286 h 286"/>
                <a:gd name="T2" fmla="*/ 4 w 243"/>
                <a:gd name="T3" fmla="*/ 258 h 286"/>
                <a:gd name="T4" fmla="*/ 4 w 243"/>
                <a:gd name="T5" fmla="*/ 242 h 286"/>
                <a:gd name="T6" fmla="*/ 4 w 243"/>
                <a:gd name="T7" fmla="*/ 246 h 286"/>
                <a:gd name="T8" fmla="*/ 4 w 243"/>
                <a:gd name="T9" fmla="*/ 260 h 286"/>
                <a:gd name="T10" fmla="*/ 4 w 243"/>
                <a:gd name="T11" fmla="*/ 212 h 286"/>
                <a:gd name="T12" fmla="*/ 4 w 243"/>
                <a:gd name="T13" fmla="*/ 178 h 286"/>
                <a:gd name="T14" fmla="*/ 4 w 243"/>
                <a:gd name="T15" fmla="*/ 158 h 286"/>
                <a:gd name="T16" fmla="*/ 0 w 243"/>
                <a:gd name="T17" fmla="*/ 141 h 286"/>
                <a:gd name="T18" fmla="*/ 4 w 243"/>
                <a:gd name="T19" fmla="*/ 133 h 286"/>
                <a:gd name="T20" fmla="*/ 4 w 243"/>
                <a:gd name="T21" fmla="*/ 132 h 286"/>
                <a:gd name="T22" fmla="*/ 4 w 243"/>
                <a:gd name="T23" fmla="*/ 97 h 286"/>
                <a:gd name="T24" fmla="*/ 4 w 243"/>
                <a:gd name="T25" fmla="*/ 81 h 286"/>
                <a:gd name="T26" fmla="*/ 4 w 243"/>
                <a:gd name="T27" fmla="*/ 26 h 286"/>
                <a:gd name="T28" fmla="*/ 4 w 243"/>
                <a:gd name="T29" fmla="*/ 26 h 286"/>
                <a:gd name="T30" fmla="*/ 4 w 243"/>
                <a:gd name="T31" fmla="*/ 0 h 286"/>
                <a:gd name="T32" fmla="*/ 4 w 243"/>
                <a:gd name="T33" fmla="*/ 50 h 286"/>
                <a:gd name="T34" fmla="*/ 4 w 243"/>
                <a:gd name="T35" fmla="*/ 50 h 286"/>
                <a:gd name="T36" fmla="*/ 4 w 243"/>
                <a:gd name="T37" fmla="*/ 268 h 286"/>
                <a:gd name="T38" fmla="*/ 4 w 243"/>
                <a:gd name="T39" fmla="*/ 268 h 286"/>
                <a:gd name="T40" fmla="*/ 4 w 243"/>
                <a:gd name="T41" fmla="*/ 276 h 286"/>
                <a:gd name="T42" fmla="*/ 4 w 243"/>
                <a:gd name="T43" fmla="*/ 260 h 286"/>
                <a:gd name="T44" fmla="*/ 4 w 243"/>
                <a:gd name="T45" fmla="*/ 286 h 28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43"/>
                <a:gd name="T70" fmla="*/ 0 h 286"/>
                <a:gd name="T71" fmla="*/ 243 w 243"/>
                <a:gd name="T72" fmla="*/ 286 h 28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43" h="286">
                  <a:moveTo>
                    <a:pt x="92" y="286"/>
                  </a:moveTo>
                  <a:lnTo>
                    <a:pt x="70" y="258"/>
                  </a:lnTo>
                  <a:lnTo>
                    <a:pt x="43" y="242"/>
                  </a:lnTo>
                  <a:lnTo>
                    <a:pt x="23" y="246"/>
                  </a:lnTo>
                  <a:lnTo>
                    <a:pt x="8" y="260"/>
                  </a:lnTo>
                  <a:lnTo>
                    <a:pt x="17" y="212"/>
                  </a:lnTo>
                  <a:lnTo>
                    <a:pt x="8" y="178"/>
                  </a:lnTo>
                  <a:lnTo>
                    <a:pt x="15" y="158"/>
                  </a:lnTo>
                  <a:lnTo>
                    <a:pt x="0" y="141"/>
                  </a:lnTo>
                  <a:lnTo>
                    <a:pt x="13" y="133"/>
                  </a:lnTo>
                  <a:lnTo>
                    <a:pt x="82" y="132"/>
                  </a:lnTo>
                  <a:lnTo>
                    <a:pt x="81" y="97"/>
                  </a:lnTo>
                  <a:lnTo>
                    <a:pt x="105" y="81"/>
                  </a:lnTo>
                  <a:lnTo>
                    <a:pt x="109" y="26"/>
                  </a:lnTo>
                  <a:lnTo>
                    <a:pt x="172" y="26"/>
                  </a:lnTo>
                  <a:lnTo>
                    <a:pt x="173" y="0"/>
                  </a:lnTo>
                  <a:lnTo>
                    <a:pt x="243" y="50"/>
                  </a:lnTo>
                  <a:lnTo>
                    <a:pt x="209" y="50"/>
                  </a:lnTo>
                  <a:lnTo>
                    <a:pt x="225" y="268"/>
                  </a:lnTo>
                  <a:lnTo>
                    <a:pt x="138" y="268"/>
                  </a:lnTo>
                  <a:lnTo>
                    <a:pt x="121" y="276"/>
                  </a:lnTo>
                  <a:lnTo>
                    <a:pt x="109" y="260"/>
                  </a:lnTo>
                  <a:lnTo>
                    <a:pt x="92" y="28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16" name="Freeform 198"/>
            <p:cNvSpPr>
              <a:spLocks noChangeAspect="1"/>
            </p:cNvSpPr>
            <p:nvPr/>
          </p:nvSpPr>
          <p:spPr bwMode="auto">
            <a:xfrm>
              <a:off x="2678" y="1860"/>
              <a:ext cx="156" cy="152"/>
            </a:xfrm>
            <a:custGeom>
              <a:avLst/>
              <a:gdLst>
                <a:gd name="T0" fmla="*/ 5 w 173"/>
                <a:gd name="T1" fmla="*/ 0 h 152"/>
                <a:gd name="T2" fmla="*/ 5 w 173"/>
                <a:gd name="T3" fmla="*/ 11 h 152"/>
                <a:gd name="T4" fmla="*/ 5 w 173"/>
                <a:gd name="T5" fmla="*/ 37 h 152"/>
                <a:gd name="T6" fmla="*/ 5 w 173"/>
                <a:gd name="T7" fmla="*/ 37 h 152"/>
                <a:gd name="T8" fmla="*/ 5 w 173"/>
                <a:gd name="T9" fmla="*/ 92 h 152"/>
                <a:gd name="T10" fmla="*/ 5 w 173"/>
                <a:gd name="T11" fmla="*/ 108 h 152"/>
                <a:gd name="T12" fmla="*/ 5 w 173"/>
                <a:gd name="T13" fmla="*/ 143 h 152"/>
                <a:gd name="T14" fmla="*/ 5 w 173"/>
                <a:gd name="T15" fmla="*/ 144 h 152"/>
                <a:gd name="T16" fmla="*/ 0 w 173"/>
                <a:gd name="T17" fmla="*/ 152 h 152"/>
                <a:gd name="T18" fmla="*/ 4 w 173"/>
                <a:gd name="T19" fmla="*/ 129 h 152"/>
                <a:gd name="T20" fmla="*/ 5 w 173"/>
                <a:gd name="T21" fmla="*/ 70 h 152"/>
                <a:gd name="T22" fmla="*/ 5 w 173"/>
                <a:gd name="T23" fmla="*/ 36 h 152"/>
                <a:gd name="T24" fmla="*/ 5 w 173"/>
                <a:gd name="T25" fmla="*/ 24 h 152"/>
                <a:gd name="T26" fmla="*/ 5 w 173"/>
                <a:gd name="T27" fmla="*/ 0 h 152"/>
                <a:gd name="T28" fmla="*/ 5 w 173"/>
                <a:gd name="T29" fmla="*/ 0 h 15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3"/>
                <a:gd name="T46" fmla="*/ 0 h 152"/>
                <a:gd name="T47" fmla="*/ 173 w 173"/>
                <a:gd name="T48" fmla="*/ 152 h 15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3" h="152">
                  <a:moveTo>
                    <a:pt x="173" y="0"/>
                  </a:moveTo>
                  <a:lnTo>
                    <a:pt x="173" y="11"/>
                  </a:lnTo>
                  <a:lnTo>
                    <a:pt x="172" y="37"/>
                  </a:lnTo>
                  <a:lnTo>
                    <a:pt x="109" y="37"/>
                  </a:lnTo>
                  <a:lnTo>
                    <a:pt x="105" y="92"/>
                  </a:lnTo>
                  <a:lnTo>
                    <a:pt x="81" y="108"/>
                  </a:lnTo>
                  <a:lnTo>
                    <a:pt x="82" y="143"/>
                  </a:lnTo>
                  <a:lnTo>
                    <a:pt x="13" y="144"/>
                  </a:lnTo>
                  <a:lnTo>
                    <a:pt x="0" y="152"/>
                  </a:lnTo>
                  <a:lnTo>
                    <a:pt x="4" y="129"/>
                  </a:lnTo>
                  <a:lnTo>
                    <a:pt x="43" y="70"/>
                  </a:lnTo>
                  <a:lnTo>
                    <a:pt x="57" y="36"/>
                  </a:lnTo>
                  <a:lnTo>
                    <a:pt x="71" y="24"/>
                  </a:lnTo>
                  <a:lnTo>
                    <a:pt x="87" y="0"/>
                  </a:lnTo>
                  <a:lnTo>
                    <a:pt x="173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17" name="Freeform 199"/>
            <p:cNvSpPr>
              <a:spLocks noChangeAspect="1"/>
            </p:cNvSpPr>
            <p:nvPr/>
          </p:nvSpPr>
          <p:spPr bwMode="auto">
            <a:xfrm>
              <a:off x="3118" y="1641"/>
              <a:ext cx="65" cy="159"/>
            </a:xfrm>
            <a:custGeom>
              <a:avLst/>
              <a:gdLst>
                <a:gd name="T0" fmla="*/ 5 w 72"/>
                <a:gd name="T1" fmla="*/ 92 h 159"/>
                <a:gd name="T2" fmla="*/ 5 w 72"/>
                <a:gd name="T3" fmla="*/ 112 h 159"/>
                <a:gd name="T4" fmla="*/ 5 w 72"/>
                <a:gd name="T5" fmla="*/ 133 h 159"/>
                <a:gd name="T6" fmla="*/ 5 w 72"/>
                <a:gd name="T7" fmla="*/ 153 h 159"/>
                <a:gd name="T8" fmla="*/ 5 w 72"/>
                <a:gd name="T9" fmla="*/ 159 h 159"/>
                <a:gd name="T10" fmla="*/ 5 w 72"/>
                <a:gd name="T11" fmla="*/ 123 h 159"/>
                <a:gd name="T12" fmla="*/ 5 w 72"/>
                <a:gd name="T13" fmla="*/ 109 h 159"/>
                <a:gd name="T14" fmla="*/ 0 w 72"/>
                <a:gd name="T15" fmla="*/ 82 h 159"/>
                <a:gd name="T16" fmla="*/ 5 w 72"/>
                <a:gd name="T17" fmla="*/ 56 h 159"/>
                <a:gd name="T18" fmla="*/ 5 w 72"/>
                <a:gd name="T19" fmla="*/ 16 h 159"/>
                <a:gd name="T20" fmla="*/ 5 w 72"/>
                <a:gd name="T21" fmla="*/ 6 h 159"/>
                <a:gd name="T22" fmla="*/ 5 w 72"/>
                <a:gd name="T23" fmla="*/ 0 h 159"/>
                <a:gd name="T24" fmla="*/ 5 w 72"/>
                <a:gd name="T25" fmla="*/ 3 h 159"/>
                <a:gd name="T26" fmla="*/ 5 w 72"/>
                <a:gd name="T27" fmla="*/ 14 h 159"/>
                <a:gd name="T28" fmla="*/ 5 w 72"/>
                <a:gd name="T29" fmla="*/ 8 h 159"/>
                <a:gd name="T30" fmla="*/ 5 w 72"/>
                <a:gd name="T31" fmla="*/ 21 h 159"/>
                <a:gd name="T32" fmla="*/ 5 w 72"/>
                <a:gd name="T33" fmla="*/ 48 h 159"/>
                <a:gd name="T34" fmla="*/ 5 w 72"/>
                <a:gd name="T35" fmla="*/ 71 h 159"/>
                <a:gd name="T36" fmla="*/ 5 w 72"/>
                <a:gd name="T37" fmla="*/ 80 h 159"/>
                <a:gd name="T38" fmla="*/ 5 w 72"/>
                <a:gd name="T39" fmla="*/ 83 h 159"/>
                <a:gd name="T40" fmla="*/ 5 w 72"/>
                <a:gd name="T41" fmla="*/ 92 h 1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2"/>
                <a:gd name="T64" fmla="*/ 0 h 159"/>
                <a:gd name="T65" fmla="*/ 72 w 72"/>
                <a:gd name="T66" fmla="*/ 159 h 1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2" h="159">
                  <a:moveTo>
                    <a:pt x="70" y="92"/>
                  </a:moveTo>
                  <a:lnTo>
                    <a:pt x="72" y="112"/>
                  </a:lnTo>
                  <a:lnTo>
                    <a:pt x="49" y="133"/>
                  </a:lnTo>
                  <a:lnTo>
                    <a:pt x="49" y="153"/>
                  </a:lnTo>
                  <a:lnTo>
                    <a:pt x="37" y="159"/>
                  </a:lnTo>
                  <a:lnTo>
                    <a:pt x="31" y="123"/>
                  </a:lnTo>
                  <a:lnTo>
                    <a:pt x="14" y="109"/>
                  </a:lnTo>
                  <a:lnTo>
                    <a:pt x="0" y="82"/>
                  </a:lnTo>
                  <a:lnTo>
                    <a:pt x="17" y="56"/>
                  </a:lnTo>
                  <a:lnTo>
                    <a:pt x="17" y="16"/>
                  </a:lnTo>
                  <a:lnTo>
                    <a:pt x="27" y="6"/>
                  </a:lnTo>
                  <a:lnTo>
                    <a:pt x="42" y="0"/>
                  </a:lnTo>
                  <a:lnTo>
                    <a:pt x="51" y="3"/>
                  </a:lnTo>
                  <a:lnTo>
                    <a:pt x="56" y="14"/>
                  </a:lnTo>
                  <a:lnTo>
                    <a:pt x="68" y="8"/>
                  </a:lnTo>
                  <a:lnTo>
                    <a:pt x="57" y="21"/>
                  </a:lnTo>
                  <a:lnTo>
                    <a:pt x="68" y="48"/>
                  </a:lnTo>
                  <a:lnTo>
                    <a:pt x="49" y="71"/>
                  </a:lnTo>
                  <a:lnTo>
                    <a:pt x="51" y="80"/>
                  </a:lnTo>
                  <a:lnTo>
                    <a:pt x="67" y="83"/>
                  </a:lnTo>
                  <a:lnTo>
                    <a:pt x="70" y="9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18" name="Freeform 200"/>
            <p:cNvSpPr>
              <a:spLocks noChangeAspect="1"/>
            </p:cNvSpPr>
            <p:nvPr/>
          </p:nvSpPr>
          <p:spPr bwMode="auto">
            <a:xfrm>
              <a:off x="3218" y="2171"/>
              <a:ext cx="39" cy="38"/>
            </a:xfrm>
            <a:custGeom>
              <a:avLst/>
              <a:gdLst>
                <a:gd name="T0" fmla="*/ 0 w 44"/>
                <a:gd name="T1" fmla="*/ 2 h 38"/>
                <a:gd name="T2" fmla="*/ 4 w 44"/>
                <a:gd name="T3" fmla="*/ 38 h 38"/>
                <a:gd name="T4" fmla="*/ 4 w 44"/>
                <a:gd name="T5" fmla="*/ 29 h 38"/>
                <a:gd name="T6" fmla="*/ 4 w 44"/>
                <a:gd name="T7" fmla="*/ 17 h 38"/>
                <a:gd name="T8" fmla="*/ 4 w 44"/>
                <a:gd name="T9" fmla="*/ 15 h 38"/>
                <a:gd name="T10" fmla="*/ 4 w 44"/>
                <a:gd name="T11" fmla="*/ 0 h 38"/>
                <a:gd name="T12" fmla="*/ 0 w 44"/>
                <a:gd name="T13" fmla="*/ 2 h 3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4"/>
                <a:gd name="T22" fmla="*/ 0 h 38"/>
                <a:gd name="T23" fmla="*/ 44 w 44"/>
                <a:gd name="T24" fmla="*/ 38 h 3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4" h="38">
                  <a:moveTo>
                    <a:pt x="0" y="2"/>
                  </a:moveTo>
                  <a:lnTo>
                    <a:pt x="23" y="38"/>
                  </a:lnTo>
                  <a:lnTo>
                    <a:pt x="41" y="29"/>
                  </a:lnTo>
                  <a:lnTo>
                    <a:pt x="44" y="17"/>
                  </a:lnTo>
                  <a:lnTo>
                    <a:pt x="21" y="15"/>
                  </a:lnTo>
                  <a:lnTo>
                    <a:pt x="1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19" name="Freeform 201"/>
            <p:cNvSpPr>
              <a:spLocks noChangeAspect="1"/>
            </p:cNvSpPr>
            <p:nvPr/>
          </p:nvSpPr>
          <p:spPr bwMode="auto">
            <a:xfrm>
              <a:off x="3556" y="2490"/>
              <a:ext cx="49" cy="70"/>
            </a:xfrm>
            <a:custGeom>
              <a:avLst/>
              <a:gdLst>
                <a:gd name="T0" fmla="*/ 0 w 53"/>
                <a:gd name="T1" fmla="*/ 54 h 70"/>
                <a:gd name="T2" fmla="*/ 3 w 53"/>
                <a:gd name="T3" fmla="*/ 70 h 70"/>
                <a:gd name="T4" fmla="*/ 6 w 53"/>
                <a:gd name="T5" fmla="*/ 60 h 70"/>
                <a:gd name="T6" fmla="*/ 6 w 53"/>
                <a:gd name="T7" fmla="*/ 63 h 70"/>
                <a:gd name="T8" fmla="*/ 6 w 53"/>
                <a:gd name="T9" fmla="*/ 56 h 70"/>
                <a:gd name="T10" fmla="*/ 6 w 53"/>
                <a:gd name="T11" fmla="*/ 54 h 70"/>
                <a:gd name="T12" fmla="*/ 6 w 53"/>
                <a:gd name="T13" fmla="*/ 16 h 70"/>
                <a:gd name="T14" fmla="*/ 6 w 53"/>
                <a:gd name="T15" fmla="*/ 4 h 70"/>
                <a:gd name="T16" fmla="*/ 6 w 53"/>
                <a:gd name="T17" fmla="*/ 0 h 70"/>
                <a:gd name="T18" fmla="*/ 3 w 53"/>
                <a:gd name="T19" fmla="*/ 10 h 70"/>
                <a:gd name="T20" fmla="*/ 0 w 53"/>
                <a:gd name="T21" fmla="*/ 54 h 7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"/>
                <a:gd name="T34" fmla="*/ 0 h 70"/>
                <a:gd name="T35" fmla="*/ 53 w 53"/>
                <a:gd name="T36" fmla="*/ 70 h 7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" h="70">
                  <a:moveTo>
                    <a:pt x="0" y="54"/>
                  </a:moveTo>
                  <a:lnTo>
                    <a:pt x="3" y="70"/>
                  </a:lnTo>
                  <a:lnTo>
                    <a:pt x="12" y="60"/>
                  </a:lnTo>
                  <a:lnTo>
                    <a:pt x="36" y="63"/>
                  </a:lnTo>
                  <a:lnTo>
                    <a:pt x="45" y="56"/>
                  </a:lnTo>
                  <a:lnTo>
                    <a:pt x="33" y="54"/>
                  </a:lnTo>
                  <a:lnTo>
                    <a:pt x="53" y="16"/>
                  </a:lnTo>
                  <a:lnTo>
                    <a:pt x="47" y="4"/>
                  </a:lnTo>
                  <a:lnTo>
                    <a:pt x="28" y="0"/>
                  </a:lnTo>
                  <a:lnTo>
                    <a:pt x="3" y="10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20" name="Freeform 202"/>
            <p:cNvSpPr>
              <a:spLocks noChangeAspect="1"/>
            </p:cNvSpPr>
            <p:nvPr/>
          </p:nvSpPr>
          <p:spPr bwMode="auto">
            <a:xfrm>
              <a:off x="3510" y="2573"/>
              <a:ext cx="36" cy="125"/>
            </a:xfrm>
            <a:custGeom>
              <a:avLst/>
              <a:gdLst>
                <a:gd name="T0" fmla="*/ 3 w 40"/>
                <a:gd name="T1" fmla="*/ 62 h 125"/>
                <a:gd name="T2" fmla="*/ 5 w 40"/>
                <a:gd name="T3" fmla="*/ 93 h 125"/>
                <a:gd name="T4" fmla="*/ 5 w 40"/>
                <a:gd name="T5" fmla="*/ 120 h 125"/>
                <a:gd name="T6" fmla="*/ 5 w 40"/>
                <a:gd name="T7" fmla="*/ 125 h 125"/>
                <a:gd name="T8" fmla="*/ 5 w 40"/>
                <a:gd name="T9" fmla="*/ 80 h 125"/>
                <a:gd name="T10" fmla="*/ 5 w 40"/>
                <a:gd name="T11" fmla="*/ 65 h 125"/>
                <a:gd name="T12" fmla="*/ 5 w 40"/>
                <a:gd name="T13" fmla="*/ 56 h 125"/>
                <a:gd name="T14" fmla="*/ 5 w 40"/>
                <a:gd name="T15" fmla="*/ 0 h 125"/>
                <a:gd name="T16" fmla="*/ 0 w 40"/>
                <a:gd name="T17" fmla="*/ 16 h 125"/>
                <a:gd name="T18" fmla="*/ 3 w 40"/>
                <a:gd name="T19" fmla="*/ 62 h 1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125"/>
                <a:gd name="T32" fmla="*/ 40 w 40"/>
                <a:gd name="T33" fmla="*/ 125 h 1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125">
                  <a:moveTo>
                    <a:pt x="3" y="62"/>
                  </a:moveTo>
                  <a:lnTo>
                    <a:pt x="24" y="93"/>
                  </a:lnTo>
                  <a:lnTo>
                    <a:pt x="28" y="120"/>
                  </a:lnTo>
                  <a:lnTo>
                    <a:pt x="40" y="125"/>
                  </a:lnTo>
                  <a:lnTo>
                    <a:pt x="30" y="80"/>
                  </a:lnTo>
                  <a:lnTo>
                    <a:pt x="13" y="65"/>
                  </a:lnTo>
                  <a:lnTo>
                    <a:pt x="18" y="56"/>
                  </a:lnTo>
                  <a:lnTo>
                    <a:pt x="5" y="0"/>
                  </a:lnTo>
                  <a:lnTo>
                    <a:pt x="0" y="16"/>
                  </a:lnTo>
                  <a:lnTo>
                    <a:pt x="3" y="6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21" name="Freeform 203"/>
            <p:cNvSpPr>
              <a:spLocks noChangeAspect="1"/>
            </p:cNvSpPr>
            <p:nvPr/>
          </p:nvSpPr>
          <p:spPr bwMode="auto">
            <a:xfrm>
              <a:off x="3599" y="2716"/>
              <a:ext cx="22" cy="113"/>
            </a:xfrm>
            <a:custGeom>
              <a:avLst/>
              <a:gdLst>
                <a:gd name="T0" fmla="*/ 0 w 24"/>
                <a:gd name="T1" fmla="*/ 59 h 113"/>
                <a:gd name="T2" fmla="*/ 5 w 24"/>
                <a:gd name="T3" fmla="*/ 89 h 113"/>
                <a:gd name="T4" fmla="*/ 6 w 24"/>
                <a:gd name="T5" fmla="*/ 113 h 113"/>
                <a:gd name="T6" fmla="*/ 6 w 24"/>
                <a:gd name="T7" fmla="*/ 75 h 113"/>
                <a:gd name="T8" fmla="*/ 6 w 24"/>
                <a:gd name="T9" fmla="*/ 46 h 113"/>
                <a:gd name="T10" fmla="*/ 6 w 24"/>
                <a:gd name="T11" fmla="*/ 7 h 113"/>
                <a:gd name="T12" fmla="*/ 1 w 24"/>
                <a:gd name="T13" fmla="*/ 0 h 113"/>
                <a:gd name="T14" fmla="*/ 6 w 24"/>
                <a:gd name="T15" fmla="*/ 50 h 113"/>
                <a:gd name="T16" fmla="*/ 0 w 24"/>
                <a:gd name="T17" fmla="*/ 59 h 1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113"/>
                <a:gd name="T29" fmla="*/ 24 w 24"/>
                <a:gd name="T30" fmla="*/ 113 h 1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113">
                  <a:moveTo>
                    <a:pt x="0" y="59"/>
                  </a:moveTo>
                  <a:lnTo>
                    <a:pt x="5" y="89"/>
                  </a:lnTo>
                  <a:lnTo>
                    <a:pt x="24" y="113"/>
                  </a:lnTo>
                  <a:lnTo>
                    <a:pt x="16" y="75"/>
                  </a:lnTo>
                  <a:lnTo>
                    <a:pt x="19" y="46"/>
                  </a:lnTo>
                  <a:lnTo>
                    <a:pt x="10" y="7"/>
                  </a:lnTo>
                  <a:lnTo>
                    <a:pt x="1" y="0"/>
                  </a:lnTo>
                  <a:lnTo>
                    <a:pt x="7" y="50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22" name="Freeform 204"/>
            <p:cNvSpPr>
              <a:spLocks noChangeAspect="1"/>
            </p:cNvSpPr>
            <p:nvPr/>
          </p:nvSpPr>
          <p:spPr bwMode="auto">
            <a:xfrm>
              <a:off x="2757" y="1674"/>
              <a:ext cx="211" cy="186"/>
            </a:xfrm>
            <a:custGeom>
              <a:avLst/>
              <a:gdLst>
                <a:gd name="T0" fmla="*/ 5 w 234"/>
                <a:gd name="T1" fmla="*/ 23 h 186"/>
                <a:gd name="T2" fmla="*/ 5 w 234"/>
                <a:gd name="T3" fmla="*/ 79 h 186"/>
                <a:gd name="T4" fmla="*/ 5 w 234"/>
                <a:gd name="T5" fmla="*/ 93 h 186"/>
                <a:gd name="T6" fmla="*/ 5 w 234"/>
                <a:gd name="T7" fmla="*/ 107 h 186"/>
                <a:gd name="T8" fmla="*/ 5 w 234"/>
                <a:gd name="T9" fmla="*/ 132 h 186"/>
                <a:gd name="T10" fmla="*/ 5 w 234"/>
                <a:gd name="T11" fmla="*/ 150 h 186"/>
                <a:gd name="T12" fmla="*/ 5 w 234"/>
                <a:gd name="T13" fmla="*/ 159 h 186"/>
                <a:gd name="T14" fmla="*/ 5 w 234"/>
                <a:gd name="T15" fmla="*/ 186 h 186"/>
                <a:gd name="T16" fmla="*/ 0 w 234"/>
                <a:gd name="T17" fmla="*/ 186 h 186"/>
                <a:gd name="T18" fmla="*/ 5 w 234"/>
                <a:gd name="T19" fmla="*/ 173 h 186"/>
                <a:gd name="T20" fmla="*/ 5 w 234"/>
                <a:gd name="T21" fmla="*/ 140 h 186"/>
                <a:gd name="T22" fmla="*/ 5 w 234"/>
                <a:gd name="T23" fmla="*/ 126 h 186"/>
                <a:gd name="T24" fmla="*/ 5 w 234"/>
                <a:gd name="T25" fmla="*/ 100 h 186"/>
                <a:gd name="T26" fmla="*/ 5 w 234"/>
                <a:gd name="T27" fmla="*/ 76 h 186"/>
                <a:gd name="T28" fmla="*/ 5 w 234"/>
                <a:gd name="T29" fmla="*/ 59 h 186"/>
                <a:gd name="T30" fmla="*/ 5 w 234"/>
                <a:gd name="T31" fmla="*/ 41 h 186"/>
                <a:gd name="T32" fmla="*/ 5 w 234"/>
                <a:gd name="T33" fmla="*/ 1 h 186"/>
                <a:gd name="T34" fmla="*/ 5 w 234"/>
                <a:gd name="T35" fmla="*/ 0 h 186"/>
                <a:gd name="T36" fmla="*/ 5 w 234"/>
                <a:gd name="T37" fmla="*/ 15 h 186"/>
                <a:gd name="T38" fmla="*/ 5 w 234"/>
                <a:gd name="T39" fmla="*/ 11 h 186"/>
                <a:gd name="T40" fmla="*/ 5 w 234"/>
                <a:gd name="T41" fmla="*/ 13 h 186"/>
                <a:gd name="T42" fmla="*/ 5 w 234"/>
                <a:gd name="T43" fmla="*/ 23 h 18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34"/>
                <a:gd name="T67" fmla="*/ 0 h 186"/>
                <a:gd name="T68" fmla="*/ 234 w 234"/>
                <a:gd name="T69" fmla="*/ 186 h 18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34" h="186">
                  <a:moveTo>
                    <a:pt x="227" y="23"/>
                  </a:moveTo>
                  <a:lnTo>
                    <a:pt x="234" y="79"/>
                  </a:lnTo>
                  <a:lnTo>
                    <a:pt x="184" y="93"/>
                  </a:lnTo>
                  <a:lnTo>
                    <a:pt x="186" y="107"/>
                  </a:lnTo>
                  <a:lnTo>
                    <a:pt x="150" y="132"/>
                  </a:lnTo>
                  <a:lnTo>
                    <a:pt x="98" y="150"/>
                  </a:lnTo>
                  <a:lnTo>
                    <a:pt x="89" y="159"/>
                  </a:lnTo>
                  <a:lnTo>
                    <a:pt x="86" y="186"/>
                  </a:lnTo>
                  <a:lnTo>
                    <a:pt x="0" y="186"/>
                  </a:lnTo>
                  <a:lnTo>
                    <a:pt x="29" y="173"/>
                  </a:lnTo>
                  <a:lnTo>
                    <a:pt x="63" y="140"/>
                  </a:lnTo>
                  <a:lnTo>
                    <a:pt x="69" y="126"/>
                  </a:lnTo>
                  <a:lnTo>
                    <a:pt x="65" y="100"/>
                  </a:lnTo>
                  <a:lnTo>
                    <a:pt x="79" y="76"/>
                  </a:lnTo>
                  <a:lnTo>
                    <a:pt x="95" y="59"/>
                  </a:lnTo>
                  <a:lnTo>
                    <a:pt x="127" y="41"/>
                  </a:lnTo>
                  <a:lnTo>
                    <a:pt x="147" y="1"/>
                  </a:lnTo>
                  <a:lnTo>
                    <a:pt x="156" y="0"/>
                  </a:lnTo>
                  <a:lnTo>
                    <a:pt x="173" y="15"/>
                  </a:lnTo>
                  <a:lnTo>
                    <a:pt x="203" y="11"/>
                  </a:lnTo>
                  <a:lnTo>
                    <a:pt x="220" y="13"/>
                  </a:lnTo>
                  <a:lnTo>
                    <a:pt x="227" y="2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23" name="Freeform 205"/>
            <p:cNvSpPr>
              <a:spLocks noChangeAspect="1"/>
            </p:cNvSpPr>
            <p:nvPr/>
          </p:nvSpPr>
          <p:spPr bwMode="auto">
            <a:xfrm>
              <a:off x="3741" y="2204"/>
              <a:ext cx="27" cy="43"/>
            </a:xfrm>
            <a:custGeom>
              <a:avLst/>
              <a:gdLst>
                <a:gd name="T0" fmla="*/ 5 w 30"/>
                <a:gd name="T1" fmla="*/ 30 h 43"/>
                <a:gd name="T2" fmla="*/ 5 w 30"/>
                <a:gd name="T3" fmla="*/ 24 h 43"/>
                <a:gd name="T4" fmla="*/ 5 w 30"/>
                <a:gd name="T5" fmla="*/ 18 h 43"/>
                <a:gd name="T6" fmla="*/ 5 w 30"/>
                <a:gd name="T7" fmla="*/ 7 h 43"/>
                <a:gd name="T8" fmla="*/ 5 w 30"/>
                <a:gd name="T9" fmla="*/ 0 h 43"/>
                <a:gd name="T10" fmla="*/ 5 w 30"/>
                <a:gd name="T11" fmla="*/ 1 h 43"/>
                <a:gd name="T12" fmla="*/ 5 w 30"/>
                <a:gd name="T13" fmla="*/ 10 h 43"/>
                <a:gd name="T14" fmla="*/ 0 w 30"/>
                <a:gd name="T15" fmla="*/ 34 h 43"/>
                <a:gd name="T16" fmla="*/ 1 w 30"/>
                <a:gd name="T17" fmla="*/ 40 h 43"/>
                <a:gd name="T18" fmla="*/ 5 w 30"/>
                <a:gd name="T19" fmla="*/ 41 h 43"/>
                <a:gd name="T20" fmla="*/ 5 w 30"/>
                <a:gd name="T21" fmla="*/ 43 h 43"/>
                <a:gd name="T22" fmla="*/ 5 w 30"/>
                <a:gd name="T23" fmla="*/ 3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0"/>
                <a:gd name="T37" fmla="*/ 0 h 43"/>
                <a:gd name="T38" fmla="*/ 30 w 30"/>
                <a:gd name="T39" fmla="*/ 43 h 4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0" h="43">
                  <a:moveTo>
                    <a:pt x="28" y="30"/>
                  </a:moveTo>
                  <a:lnTo>
                    <a:pt x="20" y="24"/>
                  </a:lnTo>
                  <a:lnTo>
                    <a:pt x="30" y="18"/>
                  </a:lnTo>
                  <a:lnTo>
                    <a:pt x="28" y="7"/>
                  </a:lnTo>
                  <a:lnTo>
                    <a:pt x="20" y="0"/>
                  </a:lnTo>
                  <a:lnTo>
                    <a:pt x="20" y="1"/>
                  </a:lnTo>
                  <a:lnTo>
                    <a:pt x="8" y="10"/>
                  </a:lnTo>
                  <a:lnTo>
                    <a:pt x="0" y="34"/>
                  </a:lnTo>
                  <a:lnTo>
                    <a:pt x="1" y="40"/>
                  </a:lnTo>
                  <a:lnTo>
                    <a:pt x="21" y="41"/>
                  </a:lnTo>
                  <a:lnTo>
                    <a:pt x="21" y="43"/>
                  </a:lnTo>
                  <a:lnTo>
                    <a:pt x="28" y="3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24" name="Freeform 206"/>
            <p:cNvSpPr>
              <a:spLocks noChangeAspect="1"/>
            </p:cNvSpPr>
            <p:nvPr/>
          </p:nvSpPr>
          <p:spPr bwMode="auto">
            <a:xfrm>
              <a:off x="3728" y="2222"/>
              <a:ext cx="180" cy="312"/>
            </a:xfrm>
            <a:custGeom>
              <a:avLst/>
              <a:gdLst>
                <a:gd name="T0" fmla="*/ 5 w 200"/>
                <a:gd name="T1" fmla="*/ 185 h 312"/>
                <a:gd name="T2" fmla="*/ 0 w 200"/>
                <a:gd name="T3" fmla="*/ 213 h 312"/>
                <a:gd name="T4" fmla="*/ 0 w 200"/>
                <a:gd name="T5" fmla="*/ 290 h 312"/>
                <a:gd name="T6" fmla="*/ 5 w 200"/>
                <a:gd name="T7" fmla="*/ 312 h 312"/>
                <a:gd name="T8" fmla="*/ 5 w 200"/>
                <a:gd name="T9" fmla="*/ 312 h 312"/>
                <a:gd name="T10" fmla="*/ 5 w 200"/>
                <a:gd name="T11" fmla="*/ 265 h 312"/>
                <a:gd name="T12" fmla="*/ 5 w 200"/>
                <a:gd name="T13" fmla="*/ 215 h 312"/>
                <a:gd name="T14" fmla="*/ 5 w 200"/>
                <a:gd name="T15" fmla="*/ 179 h 312"/>
                <a:gd name="T16" fmla="*/ 5 w 200"/>
                <a:gd name="T17" fmla="*/ 142 h 312"/>
                <a:gd name="T18" fmla="*/ 5 w 200"/>
                <a:gd name="T19" fmla="*/ 35 h 312"/>
                <a:gd name="T20" fmla="*/ 5 w 200"/>
                <a:gd name="T21" fmla="*/ 5 h 312"/>
                <a:gd name="T22" fmla="*/ 5 w 200"/>
                <a:gd name="T23" fmla="*/ 0 h 312"/>
                <a:gd name="T24" fmla="*/ 5 w 200"/>
                <a:gd name="T25" fmla="*/ 10 h 312"/>
                <a:gd name="T26" fmla="*/ 5 w 200"/>
                <a:gd name="T27" fmla="*/ 19 h 312"/>
                <a:gd name="T28" fmla="*/ 5 w 200"/>
                <a:gd name="T29" fmla="*/ 20 h 312"/>
                <a:gd name="T30" fmla="*/ 5 w 200"/>
                <a:gd name="T31" fmla="*/ 37 h 312"/>
                <a:gd name="T32" fmla="*/ 5 w 200"/>
                <a:gd name="T33" fmla="*/ 35 h 312"/>
                <a:gd name="T34" fmla="*/ 5 w 200"/>
                <a:gd name="T35" fmla="*/ 12 h 312"/>
                <a:gd name="T36" fmla="*/ 5 w 200"/>
                <a:gd name="T37" fmla="*/ 25 h 312"/>
                <a:gd name="T38" fmla="*/ 5 w 200"/>
                <a:gd name="T39" fmla="*/ 37 h 312"/>
                <a:gd name="T40" fmla="*/ 5 w 200"/>
                <a:gd name="T41" fmla="*/ 66 h 312"/>
                <a:gd name="T42" fmla="*/ 5 w 200"/>
                <a:gd name="T43" fmla="*/ 90 h 312"/>
                <a:gd name="T44" fmla="*/ 5 w 200"/>
                <a:gd name="T45" fmla="*/ 90 h 312"/>
                <a:gd name="T46" fmla="*/ 5 w 200"/>
                <a:gd name="T47" fmla="*/ 158 h 312"/>
                <a:gd name="T48" fmla="*/ 5 w 200"/>
                <a:gd name="T49" fmla="*/ 162 h 312"/>
                <a:gd name="T50" fmla="*/ 5 w 200"/>
                <a:gd name="T51" fmla="*/ 185 h 31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"/>
                <a:gd name="T79" fmla="*/ 0 h 312"/>
                <a:gd name="T80" fmla="*/ 200 w 200"/>
                <a:gd name="T81" fmla="*/ 312 h 31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" h="312">
                  <a:moveTo>
                    <a:pt x="17" y="185"/>
                  </a:moveTo>
                  <a:lnTo>
                    <a:pt x="0" y="213"/>
                  </a:lnTo>
                  <a:lnTo>
                    <a:pt x="0" y="290"/>
                  </a:lnTo>
                  <a:lnTo>
                    <a:pt x="11" y="312"/>
                  </a:lnTo>
                  <a:lnTo>
                    <a:pt x="12" y="312"/>
                  </a:lnTo>
                  <a:lnTo>
                    <a:pt x="44" y="265"/>
                  </a:lnTo>
                  <a:lnTo>
                    <a:pt x="105" y="215"/>
                  </a:lnTo>
                  <a:lnTo>
                    <a:pt x="134" y="179"/>
                  </a:lnTo>
                  <a:lnTo>
                    <a:pt x="159" y="142"/>
                  </a:lnTo>
                  <a:lnTo>
                    <a:pt x="199" y="35"/>
                  </a:lnTo>
                  <a:lnTo>
                    <a:pt x="200" y="5"/>
                  </a:lnTo>
                  <a:lnTo>
                    <a:pt x="190" y="0"/>
                  </a:lnTo>
                  <a:lnTo>
                    <a:pt x="181" y="10"/>
                  </a:lnTo>
                  <a:lnTo>
                    <a:pt x="158" y="19"/>
                  </a:lnTo>
                  <a:lnTo>
                    <a:pt x="126" y="20"/>
                  </a:lnTo>
                  <a:lnTo>
                    <a:pt x="73" y="37"/>
                  </a:lnTo>
                  <a:lnTo>
                    <a:pt x="62" y="35"/>
                  </a:lnTo>
                  <a:lnTo>
                    <a:pt x="42" y="12"/>
                  </a:lnTo>
                  <a:lnTo>
                    <a:pt x="35" y="25"/>
                  </a:lnTo>
                  <a:lnTo>
                    <a:pt x="35" y="37"/>
                  </a:lnTo>
                  <a:lnTo>
                    <a:pt x="60" y="66"/>
                  </a:lnTo>
                  <a:lnTo>
                    <a:pt x="122" y="90"/>
                  </a:lnTo>
                  <a:lnTo>
                    <a:pt x="139" y="90"/>
                  </a:lnTo>
                  <a:lnTo>
                    <a:pt x="83" y="158"/>
                  </a:lnTo>
                  <a:lnTo>
                    <a:pt x="54" y="162"/>
                  </a:lnTo>
                  <a:lnTo>
                    <a:pt x="17" y="18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25" name="Freeform 207"/>
            <p:cNvSpPr>
              <a:spLocks noChangeAspect="1"/>
            </p:cNvSpPr>
            <p:nvPr/>
          </p:nvSpPr>
          <p:spPr bwMode="auto">
            <a:xfrm>
              <a:off x="2676" y="2176"/>
              <a:ext cx="54" cy="20"/>
            </a:xfrm>
            <a:custGeom>
              <a:avLst/>
              <a:gdLst>
                <a:gd name="T0" fmla="*/ 1 w 60"/>
                <a:gd name="T1" fmla="*/ 20 h 20"/>
                <a:gd name="T2" fmla="*/ 5 w 60"/>
                <a:gd name="T3" fmla="*/ 10 h 20"/>
                <a:gd name="T4" fmla="*/ 5 w 60"/>
                <a:gd name="T5" fmla="*/ 14 h 20"/>
                <a:gd name="T6" fmla="*/ 5 w 60"/>
                <a:gd name="T7" fmla="*/ 7 h 20"/>
                <a:gd name="T8" fmla="*/ 5 w 60"/>
                <a:gd name="T9" fmla="*/ 0 h 20"/>
                <a:gd name="T10" fmla="*/ 3 w 60"/>
                <a:gd name="T11" fmla="*/ 5 h 20"/>
                <a:gd name="T12" fmla="*/ 1 w 60"/>
                <a:gd name="T13" fmla="*/ 5 h 20"/>
                <a:gd name="T14" fmla="*/ 0 w 60"/>
                <a:gd name="T15" fmla="*/ 18 h 20"/>
                <a:gd name="T16" fmla="*/ 1 w 60"/>
                <a:gd name="T17" fmla="*/ 2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0"/>
                <a:gd name="T28" fmla="*/ 0 h 20"/>
                <a:gd name="T29" fmla="*/ 60 w 60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0" h="20">
                  <a:moveTo>
                    <a:pt x="1" y="20"/>
                  </a:moveTo>
                  <a:lnTo>
                    <a:pt x="33" y="10"/>
                  </a:lnTo>
                  <a:lnTo>
                    <a:pt x="57" y="14"/>
                  </a:lnTo>
                  <a:lnTo>
                    <a:pt x="60" y="7"/>
                  </a:lnTo>
                  <a:lnTo>
                    <a:pt x="32" y="0"/>
                  </a:lnTo>
                  <a:lnTo>
                    <a:pt x="3" y="5"/>
                  </a:lnTo>
                  <a:lnTo>
                    <a:pt x="1" y="5"/>
                  </a:lnTo>
                  <a:lnTo>
                    <a:pt x="0" y="18"/>
                  </a:lnTo>
                  <a:lnTo>
                    <a:pt x="1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26" name="Freeform 208"/>
            <p:cNvSpPr>
              <a:spLocks noChangeAspect="1"/>
            </p:cNvSpPr>
            <p:nvPr/>
          </p:nvSpPr>
          <p:spPr bwMode="auto">
            <a:xfrm>
              <a:off x="2676" y="2204"/>
              <a:ext cx="56" cy="41"/>
            </a:xfrm>
            <a:custGeom>
              <a:avLst/>
              <a:gdLst>
                <a:gd name="T0" fmla="*/ 4 w 63"/>
                <a:gd name="T1" fmla="*/ 0 h 41"/>
                <a:gd name="T2" fmla="*/ 4 w 63"/>
                <a:gd name="T3" fmla="*/ 23 h 41"/>
                <a:gd name="T4" fmla="*/ 4 w 63"/>
                <a:gd name="T5" fmla="*/ 29 h 41"/>
                <a:gd name="T6" fmla="*/ 4 w 63"/>
                <a:gd name="T7" fmla="*/ 40 h 41"/>
                <a:gd name="T8" fmla="*/ 4 w 63"/>
                <a:gd name="T9" fmla="*/ 41 h 41"/>
                <a:gd name="T10" fmla="*/ 4 w 63"/>
                <a:gd name="T11" fmla="*/ 34 h 41"/>
                <a:gd name="T12" fmla="*/ 4 w 63"/>
                <a:gd name="T13" fmla="*/ 18 h 41"/>
                <a:gd name="T14" fmla="*/ 4 w 63"/>
                <a:gd name="T15" fmla="*/ 21 h 41"/>
                <a:gd name="T16" fmla="*/ 0 w 63"/>
                <a:gd name="T17" fmla="*/ 7 h 41"/>
                <a:gd name="T18" fmla="*/ 1 w 63"/>
                <a:gd name="T19" fmla="*/ 6 h 41"/>
                <a:gd name="T20" fmla="*/ 4 w 63"/>
                <a:gd name="T21" fmla="*/ 0 h 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3"/>
                <a:gd name="T34" fmla="*/ 0 h 41"/>
                <a:gd name="T35" fmla="*/ 63 w 63"/>
                <a:gd name="T36" fmla="*/ 41 h 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3" h="41">
                  <a:moveTo>
                    <a:pt x="63" y="0"/>
                  </a:moveTo>
                  <a:lnTo>
                    <a:pt x="60" y="23"/>
                  </a:lnTo>
                  <a:lnTo>
                    <a:pt x="43" y="29"/>
                  </a:lnTo>
                  <a:lnTo>
                    <a:pt x="34" y="40"/>
                  </a:lnTo>
                  <a:lnTo>
                    <a:pt x="34" y="41"/>
                  </a:lnTo>
                  <a:lnTo>
                    <a:pt x="27" y="34"/>
                  </a:lnTo>
                  <a:lnTo>
                    <a:pt x="26" y="18"/>
                  </a:lnTo>
                  <a:lnTo>
                    <a:pt x="17" y="21"/>
                  </a:lnTo>
                  <a:lnTo>
                    <a:pt x="0" y="7"/>
                  </a:lnTo>
                  <a:lnTo>
                    <a:pt x="1" y="6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27" name="Freeform 209"/>
            <p:cNvSpPr>
              <a:spLocks noChangeAspect="1"/>
            </p:cNvSpPr>
            <p:nvPr/>
          </p:nvSpPr>
          <p:spPr bwMode="auto">
            <a:xfrm>
              <a:off x="2738" y="2266"/>
              <a:ext cx="54" cy="72"/>
            </a:xfrm>
            <a:custGeom>
              <a:avLst/>
              <a:gdLst>
                <a:gd name="T0" fmla="*/ 0 w 60"/>
                <a:gd name="T1" fmla="*/ 19 h 72"/>
                <a:gd name="T2" fmla="*/ 5 w 60"/>
                <a:gd name="T3" fmla="*/ 51 h 72"/>
                <a:gd name="T4" fmla="*/ 5 w 60"/>
                <a:gd name="T5" fmla="*/ 72 h 72"/>
                <a:gd name="T6" fmla="*/ 5 w 60"/>
                <a:gd name="T7" fmla="*/ 69 h 72"/>
                <a:gd name="T8" fmla="*/ 5 w 60"/>
                <a:gd name="T9" fmla="*/ 38 h 72"/>
                <a:gd name="T10" fmla="*/ 5 w 60"/>
                <a:gd name="T11" fmla="*/ 38 h 72"/>
                <a:gd name="T12" fmla="*/ 5 w 60"/>
                <a:gd name="T13" fmla="*/ 25 h 72"/>
                <a:gd name="T14" fmla="*/ 5 w 60"/>
                <a:gd name="T15" fmla="*/ 0 h 72"/>
                <a:gd name="T16" fmla="*/ 5 w 60"/>
                <a:gd name="T17" fmla="*/ 1 h 72"/>
                <a:gd name="T18" fmla="*/ 0 w 60"/>
                <a:gd name="T19" fmla="*/ 19 h 7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72"/>
                <a:gd name="T32" fmla="*/ 60 w 60"/>
                <a:gd name="T33" fmla="*/ 72 h 7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72">
                  <a:moveTo>
                    <a:pt x="0" y="19"/>
                  </a:moveTo>
                  <a:lnTo>
                    <a:pt x="6" y="51"/>
                  </a:lnTo>
                  <a:lnTo>
                    <a:pt x="36" y="72"/>
                  </a:lnTo>
                  <a:lnTo>
                    <a:pt x="37" y="69"/>
                  </a:lnTo>
                  <a:lnTo>
                    <a:pt x="60" y="38"/>
                  </a:lnTo>
                  <a:lnTo>
                    <a:pt x="54" y="38"/>
                  </a:lnTo>
                  <a:lnTo>
                    <a:pt x="56" y="25"/>
                  </a:lnTo>
                  <a:lnTo>
                    <a:pt x="38" y="0"/>
                  </a:lnTo>
                  <a:lnTo>
                    <a:pt x="19" y="1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28" name="Freeform 210"/>
            <p:cNvSpPr>
              <a:spLocks noChangeAspect="1"/>
            </p:cNvSpPr>
            <p:nvPr/>
          </p:nvSpPr>
          <p:spPr bwMode="auto">
            <a:xfrm>
              <a:off x="3511" y="2551"/>
              <a:ext cx="30" cy="46"/>
            </a:xfrm>
            <a:custGeom>
              <a:avLst/>
              <a:gdLst>
                <a:gd name="T0" fmla="*/ 0 w 32"/>
                <a:gd name="T1" fmla="*/ 7 h 46"/>
                <a:gd name="T2" fmla="*/ 8 w 32"/>
                <a:gd name="T3" fmla="*/ 0 h 46"/>
                <a:gd name="T4" fmla="*/ 8 w 32"/>
                <a:gd name="T5" fmla="*/ 22 h 46"/>
                <a:gd name="T6" fmla="*/ 8 w 32"/>
                <a:gd name="T7" fmla="*/ 46 h 46"/>
                <a:gd name="T8" fmla="*/ 7 w 32"/>
                <a:gd name="T9" fmla="*/ 46 h 46"/>
                <a:gd name="T10" fmla="*/ 4 w 32"/>
                <a:gd name="T11" fmla="*/ 22 h 46"/>
                <a:gd name="T12" fmla="*/ 0 w 32"/>
                <a:gd name="T13" fmla="*/ 7 h 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46"/>
                <a:gd name="T23" fmla="*/ 32 w 32"/>
                <a:gd name="T24" fmla="*/ 46 h 4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46">
                  <a:moveTo>
                    <a:pt x="0" y="7"/>
                  </a:moveTo>
                  <a:lnTo>
                    <a:pt x="30" y="0"/>
                  </a:lnTo>
                  <a:lnTo>
                    <a:pt x="32" y="22"/>
                  </a:lnTo>
                  <a:lnTo>
                    <a:pt x="11" y="46"/>
                  </a:lnTo>
                  <a:lnTo>
                    <a:pt x="7" y="46"/>
                  </a:lnTo>
                  <a:lnTo>
                    <a:pt x="4" y="22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29" name="Freeform 211"/>
            <p:cNvSpPr>
              <a:spLocks noChangeAspect="1"/>
            </p:cNvSpPr>
            <p:nvPr/>
          </p:nvSpPr>
          <p:spPr bwMode="auto">
            <a:xfrm>
              <a:off x="3510" y="2519"/>
              <a:ext cx="34" cy="39"/>
            </a:xfrm>
            <a:custGeom>
              <a:avLst/>
              <a:gdLst>
                <a:gd name="T0" fmla="*/ 6 w 37"/>
                <a:gd name="T1" fmla="*/ 32 h 39"/>
                <a:gd name="T2" fmla="*/ 2 w 37"/>
                <a:gd name="T3" fmla="*/ 39 h 39"/>
                <a:gd name="T4" fmla="*/ 0 w 37"/>
                <a:gd name="T5" fmla="*/ 31 h 39"/>
                <a:gd name="T6" fmla="*/ 6 w 37"/>
                <a:gd name="T7" fmla="*/ 7 h 39"/>
                <a:gd name="T8" fmla="*/ 6 w 37"/>
                <a:gd name="T9" fmla="*/ 0 h 39"/>
                <a:gd name="T10" fmla="*/ 6 w 37"/>
                <a:gd name="T11" fmla="*/ 19 h 39"/>
                <a:gd name="T12" fmla="*/ 6 w 37"/>
                <a:gd name="T13" fmla="*/ 32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9"/>
                <a:gd name="T23" fmla="*/ 37 w 37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9">
                  <a:moveTo>
                    <a:pt x="32" y="32"/>
                  </a:moveTo>
                  <a:lnTo>
                    <a:pt x="2" y="39"/>
                  </a:lnTo>
                  <a:lnTo>
                    <a:pt x="0" y="31"/>
                  </a:lnTo>
                  <a:lnTo>
                    <a:pt x="13" y="7"/>
                  </a:lnTo>
                  <a:lnTo>
                    <a:pt x="29" y="0"/>
                  </a:lnTo>
                  <a:lnTo>
                    <a:pt x="37" y="19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30" name="Freeform 212"/>
            <p:cNvSpPr>
              <a:spLocks noChangeAspect="1"/>
            </p:cNvSpPr>
            <p:nvPr/>
          </p:nvSpPr>
          <p:spPr bwMode="auto">
            <a:xfrm>
              <a:off x="3532" y="3089"/>
              <a:ext cx="21" cy="32"/>
            </a:xfrm>
            <a:custGeom>
              <a:avLst/>
              <a:gdLst>
                <a:gd name="T0" fmla="*/ 5 w 23"/>
                <a:gd name="T1" fmla="*/ 22 h 32"/>
                <a:gd name="T2" fmla="*/ 5 w 23"/>
                <a:gd name="T3" fmla="*/ 0 h 32"/>
                <a:gd name="T4" fmla="*/ 5 w 23"/>
                <a:gd name="T5" fmla="*/ 2 h 32"/>
                <a:gd name="T6" fmla="*/ 0 w 23"/>
                <a:gd name="T7" fmla="*/ 23 h 32"/>
                <a:gd name="T8" fmla="*/ 5 w 23"/>
                <a:gd name="T9" fmla="*/ 32 h 32"/>
                <a:gd name="T10" fmla="*/ 5 w 23"/>
                <a:gd name="T11" fmla="*/ 2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3"/>
                <a:gd name="T19" fmla="*/ 0 h 32"/>
                <a:gd name="T20" fmla="*/ 23 w 23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3" h="32">
                  <a:moveTo>
                    <a:pt x="23" y="22"/>
                  </a:moveTo>
                  <a:lnTo>
                    <a:pt x="23" y="0"/>
                  </a:lnTo>
                  <a:lnTo>
                    <a:pt x="7" y="2"/>
                  </a:lnTo>
                  <a:lnTo>
                    <a:pt x="0" y="23"/>
                  </a:lnTo>
                  <a:lnTo>
                    <a:pt x="11" y="32"/>
                  </a:lnTo>
                  <a:lnTo>
                    <a:pt x="23" y="2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31" name="Freeform 213"/>
            <p:cNvSpPr>
              <a:spLocks noChangeAspect="1"/>
            </p:cNvSpPr>
            <p:nvPr/>
          </p:nvSpPr>
          <p:spPr bwMode="auto">
            <a:xfrm>
              <a:off x="3337" y="2905"/>
              <a:ext cx="169" cy="207"/>
            </a:xfrm>
            <a:custGeom>
              <a:avLst/>
              <a:gdLst>
                <a:gd name="T0" fmla="*/ 4 w 188"/>
                <a:gd name="T1" fmla="*/ 0 h 207"/>
                <a:gd name="T2" fmla="*/ 4 w 188"/>
                <a:gd name="T3" fmla="*/ 37 h 207"/>
                <a:gd name="T4" fmla="*/ 4 w 188"/>
                <a:gd name="T5" fmla="*/ 64 h 207"/>
                <a:gd name="T6" fmla="*/ 4 w 188"/>
                <a:gd name="T7" fmla="*/ 89 h 207"/>
                <a:gd name="T8" fmla="*/ 4 w 188"/>
                <a:gd name="T9" fmla="*/ 99 h 207"/>
                <a:gd name="T10" fmla="*/ 4 w 188"/>
                <a:gd name="T11" fmla="*/ 125 h 207"/>
                <a:gd name="T12" fmla="*/ 4 w 188"/>
                <a:gd name="T13" fmla="*/ 180 h 207"/>
                <a:gd name="T14" fmla="*/ 4 w 188"/>
                <a:gd name="T15" fmla="*/ 182 h 207"/>
                <a:gd name="T16" fmla="*/ 4 w 188"/>
                <a:gd name="T17" fmla="*/ 175 h 207"/>
                <a:gd name="T18" fmla="*/ 4 w 188"/>
                <a:gd name="T19" fmla="*/ 204 h 207"/>
                <a:gd name="T20" fmla="*/ 4 w 188"/>
                <a:gd name="T21" fmla="*/ 207 h 207"/>
                <a:gd name="T22" fmla="*/ 4 w 188"/>
                <a:gd name="T23" fmla="*/ 203 h 207"/>
                <a:gd name="T24" fmla="*/ 4 w 188"/>
                <a:gd name="T25" fmla="*/ 176 h 207"/>
                <a:gd name="T26" fmla="*/ 1 w 188"/>
                <a:gd name="T27" fmla="*/ 160 h 207"/>
                <a:gd name="T28" fmla="*/ 0 w 188"/>
                <a:gd name="T29" fmla="*/ 160 h 207"/>
                <a:gd name="T30" fmla="*/ 1 w 188"/>
                <a:gd name="T31" fmla="*/ 102 h 207"/>
                <a:gd name="T32" fmla="*/ 4 w 188"/>
                <a:gd name="T33" fmla="*/ 91 h 207"/>
                <a:gd name="T34" fmla="*/ 4 w 188"/>
                <a:gd name="T35" fmla="*/ 14 h 207"/>
                <a:gd name="T36" fmla="*/ 4 w 188"/>
                <a:gd name="T37" fmla="*/ 6 h 207"/>
                <a:gd name="T38" fmla="*/ 4 w 188"/>
                <a:gd name="T39" fmla="*/ 7 h 207"/>
                <a:gd name="T40" fmla="*/ 4 w 188"/>
                <a:gd name="T41" fmla="*/ 18 h 207"/>
                <a:gd name="T42" fmla="*/ 4 w 188"/>
                <a:gd name="T43" fmla="*/ 6 h 207"/>
                <a:gd name="T44" fmla="*/ 4 w 188"/>
                <a:gd name="T45" fmla="*/ 0 h 20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88"/>
                <a:gd name="T70" fmla="*/ 0 h 207"/>
                <a:gd name="T71" fmla="*/ 188 w 188"/>
                <a:gd name="T72" fmla="*/ 207 h 20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88" h="207">
                  <a:moveTo>
                    <a:pt x="108" y="0"/>
                  </a:moveTo>
                  <a:lnTo>
                    <a:pt x="125" y="37"/>
                  </a:lnTo>
                  <a:lnTo>
                    <a:pt x="158" y="64"/>
                  </a:lnTo>
                  <a:lnTo>
                    <a:pt x="164" y="89"/>
                  </a:lnTo>
                  <a:lnTo>
                    <a:pt x="188" y="99"/>
                  </a:lnTo>
                  <a:lnTo>
                    <a:pt x="152" y="125"/>
                  </a:lnTo>
                  <a:lnTo>
                    <a:pt x="108" y="180"/>
                  </a:lnTo>
                  <a:lnTo>
                    <a:pt x="90" y="182"/>
                  </a:lnTo>
                  <a:lnTo>
                    <a:pt x="72" y="175"/>
                  </a:lnTo>
                  <a:lnTo>
                    <a:pt x="44" y="204"/>
                  </a:lnTo>
                  <a:lnTo>
                    <a:pt x="24" y="207"/>
                  </a:lnTo>
                  <a:lnTo>
                    <a:pt x="15" y="203"/>
                  </a:lnTo>
                  <a:lnTo>
                    <a:pt x="16" y="176"/>
                  </a:lnTo>
                  <a:lnTo>
                    <a:pt x="1" y="160"/>
                  </a:lnTo>
                  <a:lnTo>
                    <a:pt x="0" y="160"/>
                  </a:lnTo>
                  <a:lnTo>
                    <a:pt x="1" y="102"/>
                  </a:lnTo>
                  <a:lnTo>
                    <a:pt x="22" y="91"/>
                  </a:lnTo>
                  <a:lnTo>
                    <a:pt x="24" y="14"/>
                  </a:lnTo>
                  <a:lnTo>
                    <a:pt x="64" y="6"/>
                  </a:lnTo>
                  <a:lnTo>
                    <a:pt x="72" y="7"/>
                  </a:lnTo>
                  <a:lnTo>
                    <a:pt x="75" y="18"/>
                  </a:lnTo>
                  <a:lnTo>
                    <a:pt x="87" y="6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32" name="Freeform 214"/>
            <p:cNvSpPr>
              <a:spLocks noChangeAspect="1"/>
            </p:cNvSpPr>
            <p:nvPr/>
          </p:nvSpPr>
          <p:spPr bwMode="auto">
            <a:xfrm>
              <a:off x="3757" y="2772"/>
              <a:ext cx="135" cy="313"/>
            </a:xfrm>
            <a:custGeom>
              <a:avLst/>
              <a:gdLst>
                <a:gd name="T0" fmla="*/ 0 w 150"/>
                <a:gd name="T1" fmla="*/ 229 h 313"/>
                <a:gd name="T2" fmla="*/ 4 w 150"/>
                <a:gd name="T3" fmla="*/ 288 h 313"/>
                <a:gd name="T4" fmla="*/ 4 w 150"/>
                <a:gd name="T5" fmla="*/ 306 h 313"/>
                <a:gd name="T6" fmla="*/ 4 w 150"/>
                <a:gd name="T7" fmla="*/ 313 h 313"/>
                <a:gd name="T8" fmla="*/ 4 w 150"/>
                <a:gd name="T9" fmla="*/ 303 h 313"/>
                <a:gd name="T10" fmla="*/ 4 w 150"/>
                <a:gd name="T11" fmla="*/ 292 h 313"/>
                <a:gd name="T12" fmla="*/ 4 w 150"/>
                <a:gd name="T13" fmla="*/ 149 h 313"/>
                <a:gd name="T14" fmla="*/ 4 w 150"/>
                <a:gd name="T15" fmla="*/ 80 h 313"/>
                <a:gd name="T16" fmla="*/ 4 w 150"/>
                <a:gd name="T17" fmla="*/ 90 h 313"/>
                <a:gd name="T18" fmla="*/ 4 w 150"/>
                <a:gd name="T19" fmla="*/ 79 h 313"/>
                <a:gd name="T20" fmla="*/ 4 w 150"/>
                <a:gd name="T21" fmla="*/ 23 h 313"/>
                <a:gd name="T22" fmla="*/ 4 w 150"/>
                <a:gd name="T23" fmla="*/ 0 h 313"/>
                <a:gd name="T24" fmla="*/ 4 w 150"/>
                <a:gd name="T25" fmla="*/ 9 h 313"/>
                <a:gd name="T26" fmla="*/ 4 w 150"/>
                <a:gd name="T27" fmla="*/ 30 h 313"/>
                <a:gd name="T28" fmla="*/ 4 w 150"/>
                <a:gd name="T29" fmla="*/ 36 h 313"/>
                <a:gd name="T30" fmla="*/ 4 w 150"/>
                <a:gd name="T31" fmla="*/ 63 h 313"/>
                <a:gd name="T32" fmla="*/ 4 w 150"/>
                <a:gd name="T33" fmla="*/ 96 h 313"/>
                <a:gd name="T34" fmla="*/ 4 w 150"/>
                <a:gd name="T35" fmla="*/ 125 h 313"/>
                <a:gd name="T36" fmla="*/ 4 w 150"/>
                <a:gd name="T37" fmla="*/ 184 h 313"/>
                <a:gd name="T38" fmla="*/ 0 w 150"/>
                <a:gd name="T39" fmla="*/ 229 h 31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50"/>
                <a:gd name="T61" fmla="*/ 0 h 313"/>
                <a:gd name="T62" fmla="*/ 150 w 150"/>
                <a:gd name="T63" fmla="*/ 313 h 31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50" h="313">
                  <a:moveTo>
                    <a:pt x="0" y="229"/>
                  </a:moveTo>
                  <a:lnTo>
                    <a:pt x="6" y="288"/>
                  </a:lnTo>
                  <a:lnTo>
                    <a:pt x="22" y="306"/>
                  </a:lnTo>
                  <a:lnTo>
                    <a:pt x="29" y="313"/>
                  </a:lnTo>
                  <a:lnTo>
                    <a:pt x="67" y="303"/>
                  </a:lnTo>
                  <a:lnTo>
                    <a:pt x="74" y="292"/>
                  </a:lnTo>
                  <a:lnTo>
                    <a:pt x="124" y="149"/>
                  </a:lnTo>
                  <a:lnTo>
                    <a:pt x="136" y="80"/>
                  </a:lnTo>
                  <a:lnTo>
                    <a:pt x="143" y="90"/>
                  </a:lnTo>
                  <a:lnTo>
                    <a:pt x="150" y="79"/>
                  </a:lnTo>
                  <a:lnTo>
                    <a:pt x="141" y="23"/>
                  </a:lnTo>
                  <a:lnTo>
                    <a:pt x="130" y="0"/>
                  </a:lnTo>
                  <a:lnTo>
                    <a:pt x="121" y="9"/>
                  </a:lnTo>
                  <a:lnTo>
                    <a:pt x="119" y="30"/>
                  </a:lnTo>
                  <a:lnTo>
                    <a:pt x="100" y="36"/>
                  </a:lnTo>
                  <a:lnTo>
                    <a:pt x="96" y="63"/>
                  </a:lnTo>
                  <a:lnTo>
                    <a:pt x="31" y="96"/>
                  </a:lnTo>
                  <a:lnTo>
                    <a:pt x="18" y="125"/>
                  </a:lnTo>
                  <a:lnTo>
                    <a:pt x="25" y="184"/>
                  </a:lnTo>
                  <a:lnTo>
                    <a:pt x="0" y="22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33" name="Freeform 215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237" y="1720"/>
              <a:ext cx="45" cy="63"/>
            </a:xfrm>
            <a:custGeom>
              <a:avLst/>
              <a:gdLst>
                <a:gd name="T0" fmla="*/ 0 w 50"/>
                <a:gd name="T1" fmla="*/ 13 h 63"/>
                <a:gd name="T2" fmla="*/ 5 w 50"/>
                <a:gd name="T3" fmla="*/ 24 h 63"/>
                <a:gd name="T4" fmla="*/ 5 w 50"/>
                <a:gd name="T5" fmla="*/ 24 h 63"/>
                <a:gd name="T6" fmla="*/ 5 w 50"/>
                <a:gd name="T7" fmla="*/ 17 h 63"/>
                <a:gd name="T8" fmla="*/ 5 w 50"/>
                <a:gd name="T9" fmla="*/ 24 h 63"/>
                <a:gd name="T10" fmla="*/ 5 w 50"/>
                <a:gd name="T11" fmla="*/ 58 h 63"/>
                <a:gd name="T12" fmla="*/ 5 w 50"/>
                <a:gd name="T13" fmla="*/ 63 h 63"/>
                <a:gd name="T14" fmla="*/ 5 w 50"/>
                <a:gd name="T15" fmla="*/ 55 h 63"/>
                <a:gd name="T16" fmla="*/ 5 w 50"/>
                <a:gd name="T17" fmla="*/ 22 h 63"/>
                <a:gd name="T18" fmla="*/ 5 w 50"/>
                <a:gd name="T19" fmla="*/ 4 h 63"/>
                <a:gd name="T20" fmla="*/ 5 w 50"/>
                <a:gd name="T21" fmla="*/ 0 h 63"/>
                <a:gd name="T22" fmla="*/ 0 w 50"/>
                <a:gd name="T23" fmla="*/ 13 h 6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0"/>
                <a:gd name="T37" fmla="*/ 0 h 63"/>
                <a:gd name="T38" fmla="*/ 50 w 50"/>
                <a:gd name="T39" fmla="*/ 63 h 6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0" h="63">
                  <a:moveTo>
                    <a:pt x="0" y="13"/>
                  </a:moveTo>
                  <a:lnTo>
                    <a:pt x="8" y="24"/>
                  </a:lnTo>
                  <a:lnTo>
                    <a:pt x="17" y="24"/>
                  </a:lnTo>
                  <a:lnTo>
                    <a:pt x="16" y="17"/>
                  </a:lnTo>
                  <a:lnTo>
                    <a:pt x="23" y="24"/>
                  </a:lnTo>
                  <a:lnTo>
                    <a:pt x="29" y="58"/>
                  </a:lnTo>
                  <a:lnTo>
                    <a:pt x="41" y="63"/>
                  </a:lnTo>
                  <a:lnTo>
                    <a:pt x="50" y="55"/>
                  </a:lnTo>
                  <a:lnTo>
                    <a:pt x="50" y="22"/>
                  </a:lnTo>
                  <a:lnTo>
                    <a:pt x="36" y="4"/>
                  </a:lnTo>
                  <a:lnTo>
                    <a:pt x="12" y="0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34" name="Freeform 216"/>
            <p:cNvSpPr>
              <a:spLocks noChangeAspect="1"/>
            </p:cNvSpPr>
            <p:nvPr/>
          </p:nvSpPr>
          <p:spPr bwMode="auto">
            <a:xfrm>
              <a:off x="5283" y="1710"/>
              <a:ext cx="37" cy="34"/>
            </a:xfrm>
            <a:custGeom>
              <a:avLst/>
              <a:gdLst>
                <a:gd name="T0" fmla="*/ 0 w 42"/>
                <a:gd name="T1" fmla="*/ 20 h 34"/>
                <a:gd name="T2" fmla="*/ 4 w 42"/>
                <a:gd name="T3" fmla="*/ 34 h 34"/>
                <a:gd name="T4" fmla="*/ 4 w 42"/>
                <a:gd name="T5" fmla="*/ 21 h 34"/>
                <a:gd name="T6" fmla="*/ 4 w 42"/>
                <a:gd name="T7" fmla="*/ 17 h 34"/>
                <a:gd name="T8" fmla="*/ 4 w 42"/>
                <a:gd name="T9" fmla="*/ 23 h 34"/>
                <a:gd name="T10" fmla="*/ 4 w 42"/>
                <a:gd name="T11" fmla="*/ 10 h 34"/>
                <a:gd name="T12" fmla="*/ 4 w 42"/>
                <a:gd name="T13" fmla="*/ 2 h 34"/>
                <a:gd name="T14" fmla="*/ 4 w 42"/>
                <a:gd name="T15" fmla="*/ 0 h 34"/>
                <a:gd name="T16" fmla="*/ 4 w 42"/>
                <a:gd name="T17" fmla="*/ 8 h 34"/>
                <a:gd name="T18" fmla="*/ 4 w 42"/>
                <a:gd name="T19" fmla="*/ 5 h 34"/>
                <a:gd name="T20" fmla="*/ 0 w 42"/>
                <a:gd name="T21" fmla="*/ 20 h 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34"/>
                <a:gd name="T35" fmla="*/ 42 w 42"/>
                <a:gd name="T36" fmla="*/ 34 h 3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34">
                  <a:moveTo>
                    <a:pt x="0" y="20"/>
                  </a:moveTo>
                  <a:lnTo>
                    <a:pt x="18" y="34"/>
                  </a:lnTo>
                  <a:lnTo>
                    <a:pt x="21" y="21"/>
                  </a:lnTo>
                  <a:lnTo>
                    <a:pt x="28" y="17"/>
                  </a:lnTo>
                  <a:lnTo>
                    <a:pt x="36" y="23"/>
                  </a:lnTo>
                  <a:lnTo>
                    <a:pt x="42" y="10"/>
                  </a:lnTo>
                  <a:lnTo>
                    <a:pt x="38" y="2"/>
                  </a:lnTo>
                  <a:lnTo>
                    <a:pt x="18" y="0"/>
                  </a:lnTo>
                  <a:lnTo>
                    <a:pt x="17" y="8"/>
                  </a:lnTo>
                  <a:lnTo>
                    <a:pt x="6" y="5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35" name="Freeform 21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252" y="1544"/>
              <a:ext cx="159" cy="186"/>
            </a:xfrm>
            <a:custGeom>
              <a:avLst/>
              <a:gdLst>
                <a:gd name="T0" fmla="*/ 0 w 176"/>
                <a:gd name="T1" fmla="*/ 164 h 186"/>
                <a:gd name="T2" fmla="*/ 4 w 176"/>
                <a:gd name="T3" fmla="*/ 174 h 186"/>
                <a:gd name="T4" fmla="*/ 5 w 176"/>
                <a:gd name="T5" fmla="*/ 174 h 186"/>
                <a:gd name="T6" fmla="*/ 5 w 176"/>
                <a:gd name="T7" fmla="*/ 166 h 186"/>
                <a:gd name="T8" fmla="*/ 5 w 176"/>
                <a:gd name="T9" fmla="*/ 153 h 186"/>
                <a:gd name="T10" fmla="*/ 5 w 176"/>
                <a:gd name="T11" fmla="*/ 154 h 186"/>
                <a:gd name="T12" fmla="*/ 5 w 176"/>
                <a:gd name="T13" fmla="*/ 174 h 186"/>
                <a:gd name="T14" fmla="*/ 5 w 176"/>
                <a:gd name="T15" fmla="*/ 186 h 186"/>
                <a:gd name="T16" fmla="*/ 5 w 176"/>
                <a:gd name="T17" fmla="*/ 164 h 186"/>
                <a:gd name="T18" fmla="*/ 5 w 176"/>
                <a:gd name="T19" fmla="*/ 157 h 186"/>
                <a:gd name="T20" fmla="*/ 5 w 176"/>
                <a:gd name="T21" fmla="*/ 149 h 186"/>
                <a:gd name="T22" fmla="*/ 5 w 176"/>
                <a:gd name="T23" fmla="*/ 158 h 186"/>
                <a:gd name="T24" fmla="*/ 5 w 176"/>
                <a:gd name="T25" fmla="*/ 158 h 186"/>
                <a:gd name="T26" fmla="*/ 5 w 176"/>
                <a:gd name="T27" fmla="*/ 147 h 186"/>
                <a:gd name="T28" fmla="*/ 5 w 176"/>
                <a:gd name="T29" fmla="*/ 158 h 186"/>
                <a:gd name="T30" fmla="*/ 5 w 176"/>
                <a:gd name="T31" fmla="*/ 143 h 186"/>
                <a:gd name="T32" fmla="*/ 5 w 176"/>
                <a:gd name="T33" fmla="*/ 137 h 186"/>
                <a:gd name="T34" fmla="*/ 5 w 176"/>
                <a:gd name="T35" fmla="*/ 151 h 186"/>
                <a:gd name="T36" fmla="*/ 5 w 176"/>
                <a:gd name="T37" fmla="*/ 145 h 186"/>
                <a:gd name="T38" fmla="*/ 5 w 176"/>
                <a:gd name="T39" fmla="*/ 131 h 186"/>
                <a:gd name="T40" fmla="*/ 5 w 176"/>
                <a:gd name="T41" fmla="*/ 78 h 186"/>
                <a:gd name="T42" fmla="*/ 5 w 176"/>
                <a:gd name="T43" fmla="*/ 73 h 186"/>
                <a:gd name="T44" fmla="*/ 5 w 176"/>
                <a:gd name="T45" fmla="*/ 73 h 186"/>
                <a:gd name="T46" fmla="*/ 5 w 176"/>
                <a:gd name="T47" fmla="*/ 55 h 186"/>
                <a:gd name="T48" fmla="*/ 5 w 176"/>
                <a:gd name="T49" fmla="*/ 4 h 186"/>
                <a:gd name="T50" fmla="*/ 5 w 176"/>
                <a:gd name="T51" fmla="*/ 0 h 186"/>
                <a:gd name="T52" fmla="*/ 5 w 176"/>
                <a:gd name="T53" fmla="*/ 14 h 186"/>
                <a:gd name="T54" fmla="*/ 5 w 176"/>
                <a:gd name="T55" fmla="*/ 8 h 186"/>
                <a:gd name="T56" fmla="*/ 5 w 176"/>
                <a:gd name="T57" fmla="*/ 57 h 186"/>
                <a:gd name="T58" fmla="*/ 5 w 176"/>
                <a:gd name="T59" fmla="*/ 94 h 186"/>
                <a:gd name="T60" fmla="*/ 5 w 176"/>
                <a:gd name="T61" fmla="*/ 108 h 186"/>
                <a:gd name="T62" fmla="*/ 5 w 176"/>
                <a:gd name="T63" fmla="*/ 91 h 186"/>
                <a:gd name="T64" fmla="*/ 5 w 176"/>
                <a:gd name="T65" fmla="*/ 97 h 186"/>
                <a:gd name="T66" fmla="*/ 5 w 176"/>
                <a:gd name="T67" fmla="*/ 134 h 186"/>
                <a:gd name="T68" fmla="*/ 5 w 176"/>
                <a:gd name="T69" fmla="*/ 137 h 186"/>
                <a:gd name="T70" fmla="*/ 5 w 176"/>
                <a:gd name="T71" fmla="*/ 131 h 186"/>
                <a:gd name="T72" fmla="*/ 5 w 176"/>
                <a:gd name="T73" fmla="*/ 137 h 186"/>
                <a:gd name="T74" fmla="*/ 0 w 176"/>
                <a:gd name="T75" fmla="*/ 164 h 1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76"/>
                <a:gd name="T115" fmla="*/ 0 h 186"/>
                <a:gd name="T116" fmla="*/ 176 w 176"/>
                <a:gd name="T117" fmla="*/ 186 h 18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76" h="186">
                  <a:moveTo>
                    <a:pt x="0" y="164"/>
                  </a:moveTo>
                  <a:lnTo>
                    <a:pt x="4" y="174"/>
                  </a:lnTo>
                  <a:lnTo>
                    <a:pt x="25" y="174"/>
                  </a:lnTo>
                  <a:lnTo>
                    <a:pt x="28" y="166"/>
                  </a:lnTo>
                  <a:lnTo>
                    <a:pt x="64" y="153"/>
                  </a:lnTo>
                  <a:lnTo>
                    <a:pt x="84" y="154"/>
                  </a:lnTo>
                  <a:lnTo>
                    <a:pt x="86" y="174"/>
                  </a:lnTo>
                  <a:lnTo>
                    <a:pt x="103" y="186"/>
                  </a:lnTo>
                  <a:lnTo>
                    <a:pt x="113" y="164"/>
                  </a:lnTo>
                  <a:lnTo>
                    <a:pt x="105" y="157"/>
                  </a:lnTo>
                  <a:lnTo>
                    <a:pt x="106" y="149"/>
                  </a:lnTo>
                  <a:lnTo>
                    <a:pt x="120" y="158"/>
                  </a:lnTo>
                  <a:lnTo>
                    <a:pt x="136" y="158"/>
                  </a:lnTo>
                  <a:lnTo>
                    <a:pt x="143" y="147"/>
                  </a:lnTo>
                  <a:lnTo>
                    <a:pt x="150" y="158"/>
                  </a:lnTo>
                  <a:lnTo>
                    <a:pt x="149" y="143"/>
                  </a:lnTo>
                  <a:lnTo>
                    <a:pt x="160" y="137"/>
                  </a:lnTo>
                  <a:lnTo>
                    <a:pt x="165" y="151"/>
                  </a:lnTo>
                  <a:lnTo>
                    <a:pt x="173" y="145"/>
                  </a:lnTo>
                  <a:lnTo>
                    <a:pt x="176" y="131"/>
                  </a:lnTo>
                  <a:lnTo>
                    <a:pt x="153" y="78"/>
                  </a:lnTo>
                  <a:lnTo>
                    <a:pt x="154" y="73"/>
                  </a:lnTo>
                  <a:lnTo>
                    <a:pt x="161" y="73"/>
                  </a:lnTo>
                  <a:lnTo>
                    <a:pt x="159" y="55"/>
                  </a:lnTo>
                  <a:lnTo>
                    <a:pt x="123" y="4"/>
                  </a:lnTo>
                  <a:lnTo>
                    <a:pt x="110" y="0"/>
                  </a:lnTo>
                  <a:lnTo>
                    <a:pt x="122" y="14"/>
                  </a:lnTo>
                  <a:lnTo>
                    <a:pt x="105" y="8"/>
                  </a:lnTo>
                  <a:lnTo>
                    <a:pt x="122" y="57"/>
                  </a:lnTo>
                  <a:lnTo>
                    <a:pt x="116" y="94"/>
                  </a:lnTo>
                  <a:lnTo>
                    <a:pt x="92" y="108"/>
                  </a:lnTo>
                  <a:lnTo>
                    <a:pt x="87" y="91"/>
                  </a:lnTo>
                  <a:lnTo>
                    <a:pt x="82" y="97"/>
                  </a:lnTo>
                  <a:lnTo>
                    <a:pt x="85" y="134"/>
                  </a:lnTo>
                  <a:lnTo>
                    <a:pt x="80" y="137"/>
                  </a:lnTo>
                  <a:lnTo>
                    <a:pt x="69" y="131"/>
                  </a:lnTo>
                  <a:lnTo>
                    <a:pt x="24" y="137"/>
                  </a:lnTo>
                  <a:lnTo>
                    <a:pt x="0" y="16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36" name="Freeform 218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314" y="1452"/>
              <a:ext cx="98" cy="95"/>
            </a:xfrm>
            <a:custGeom>
              <a:avLst/>
              <a:gdLst>
                <a:gd name="T0" fmla="*/ 5 w 108"/>
                <a:gd name="T1" fmla="*/ 68 h 95"/>
                <a:gd name="T2" fmla="*/ 5 w 108"/>
                <a:gd name="T3" fmla="*/ 95 h 95"/>
                <a:gd name="T4" fmla="*/ 5 w 108"/>
                <a:gd name="T5" fmla="*/ 85 h 95"/>
                <a:gd name="T6" fmla="*/ 5 w 108"/>
                <a:gd name="T7" fmla="*/ 69 h 95"/>
                <a:gd name="T8" fmla="*/ 5 w 108"/>
                <a:gd name="T9" fmla="*/ 73 h 95"/>
                <a:gd name="T10" fmla="*/ 5 w 108"/>
                <a:gd name="T11" fmla="*/ 68 h 95"/>
                <a:gd name="T12" fmla="*/ 5 w 108"/>
                <a:gd name="T13" fmla="*/ 81 h 95"/>
                <a:gd name="T14" fmla="*/ 5 w 108"/>
                <a:gd name="T15" fmla="*/ 58 h 95"/>
                <a:gd name="T16" fmla="*/ 5 w 108"/>
                <a:gd name="T17" fmla="*/ 60 h 95"/>
                <a:gd name="T18" fmla="*/ 5 w 108"/>
                <a:gd name="T19" fmla="*/ 49 h 95"/>
                <a:gd name="T20" fmla="*/ 5 w 108"/>
                <a:gd name="T21" fmla="*/ 51 h 95"/>
                <a:gd name="T22" fmla="*/ 5 w 108"/>
                <a:gd name="T23" fmla="*/ 41 h 95"/>
                <a:gd name="T24" fmla="*/ 5 w 108"/>
                <a:gd name="T25" fmla="*/ 30 h 95"/>
                <a:gd name="T26" fmla="*/ 5 w 108"/>
                <a:gd name="T27" fmla="*/ 38 h 95"/>
                <a:gd name="T28" fmla="*/ 5 w 108"/>
                <a:gd name="T29" fmla="*/ 32 h 95"/>
                <a:gd name="T30" fmla="*/ 5 w 108"/>
                <a:gd name="T31" fmla="*/ 0 h 95"/>
                <a:gd name="T32" fmla="*/ 0 w 108"/>
                <a:gd name="T33" fmla="*/ 6 h 95"/>
                <a:gd name="T34" fmla="*/ 5 w 108"/>
                <a:gd name="T35" fmla="*/ 17 h 95"/>
                <a:gd name="T36" fmla="*/ 5 w 108"/>
                <a:gd name="T37" fmla="*/ 55 h 95"/>
                <a:gd name="T38" fmla="*/ 5 w 108"/>
                <a:gd name="T39" fmla="*/ 52 h 95"/>
                <a:gd name="T40" fmla="*/ 5 w 108"/>
                <a:gd name="T41" fmla="*/ 60 h 95"/>
                <a:gd name="T42" fmla="*/ 5 w 108"/>
                <a:gd name="T43" fmla="*/ 68 h 9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8"/>
                <a:gd name="T67" fmla="*/ 0 h 95"/>
                <a:gd name="T68" fmla="*/ 108 w 108"/>
                <a:gd name="T69" fmla="*/ 95 h 9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8" h="95">
                  <a:moveTo>
                    <a:pt x="7" y="68"/>
                  </a:moveTo>
                  <a:lnTo>
                    <a:pt x="26" y="95"/>
                  </a:lnTo>
                  <a:lnTo>
                    <a:pt x="41" y="85"/>
                  </a:lnTo>
                  <a:lnTo>
                    <a:pt x="18" y="69"/>
                  </a:lnTo>
                  <a:lnTo>
                    <a:pt x="31" y="73"/>
                  </a:lnTo>
                  <a:lnTo>
                    <a:pt x="45" y="68"/>
                  </a:lnTo>
                  <a:lnTo>
                    <a:pt x="79" y="81"/>
                  </a:lnTo>
                  <a:lnTo>
                    <a:pt x="82" y="58"/>
                  </a:lnTo>
                  <a:lnTo>
                    <a:pt x="94" y="60"/>
                  </a:lnTo>
                  <a:lnTo>
                    <a:pt x="108" y="49"/>
                  </a:lnTo>
                  <a:lnTo>
                    <a:pt x="98" y="51"/>
                  </a:lnTo>
                  <a:lnTo>
                    <a:pt x="87" y="41"/>
                  </a:lnTo>
                  <a:lnTo>
                    <a:pt x="86" y="30"/>
                  </a:lnTo>
                  <a:lnTo>
                    <a:pt x="79" y="38"/>
                  </a:lnTo>
                  <a:lnTo>
                    <a:pt x="56" y="32"/>
                  </a:lnTo>
                  <a:lnTo>
                    <a:pt x="5" y="0"/>
                  </a:lnTo>
                  <a:lnTo>
                    <a:pt x="0" y="6"/>
                  </a:lnTo>
                  <a:lnTo>
                    <a:pt x="12" y="17"/>
                  </a:lnTo>
                  <a:lnTo>
                    <a:pt x="26" y="55"/>
                  </a:lnTo>
                  <a:lnTo>
                    <a:pt x="7" y="52"/>
                  </a:lnTo>
                  <a:lnTo>
                    <a:pt x="13" y="60"/>
                  </a:lnTo>
                  <a:lnTo>
                    <a:pt x="7" y="6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37" name="Freeform 219"/>
            <p:cNvSpPr>
              <a:spLocks noChangeAspect="1"/>
            </p:cNvSpPr>
            <p:nvPr/>
          </p:nvSpPr>
          <p:spPr bwMode="auto">
            <a:xfrm>
              <a:off x="5114" y="2238"/>
              <a:ext cx="42" cy="66"/>
            </a:xfrm>
            <a:custGeom>
              <a:avLst/>
              <a:gdLst>
                <a:gd name="T0" fmla="*/ 0 w 46"/>
                <a:gd name="T1" fmla="*/ 66 h 66"/>
                <a:gd name="T2" fmla="*/ 5 w 46"/>
                <a:gd name="T3" fmla="*/ 17 h 66"/>
                <a:gd name="T4" fmla="*/ 5 w 46"/>
                <a:gd name="T5" fmla="*/ 0 h 66"/>
                <a:gd name="T6" fmla="*/ 5 w 46"/>
                <a:gd name="T7" fmla="*/ 17 h 66"/>
                <a:gd name="T8" fmla="*/ 0 w 46"/>
                <a:gd name="T9" fmla="*/ 66 h 6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6"/>
                <a:gd name="T16" fmla="*/ 0 h 66"/>
                <a:gd name="T17" fmla="*/ 46 w 46"/>
                <a:gd name="T18" fmla="*/ 66 h 6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6" h="66">
                  <a:moveTo>
                    <a:pt x="0" y="66"/>
                  </a:moveTo>
                  <a:lnTo>
                    <a:pt x="46" y="17"/>
                  </a:lnTo>
                  <a:lnTo>
                    <a:pt x="42" y="0"/>
                  </a:lnTo>
                  <a:lnTo>
                    <a:pt x="35" y="17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38" name="Freeform 220"/>
            <p:cNvSpPr>
              <a:spLocks noChangeAspect="1"/>
            </p:cNvSpPr>
            <p:nvPr/>
          </p:nvSpPr>
          <p:spPr bwMode="auto">
            <a:xfrm>
              <a:off x="5686" y="2592"/>
              <a:ext cx="76" cy="48"/>
            </a:xfrm>
            <a:custGeom>
              <a:avLst/>
              <a:gdLst>
                <a:gd name="T0" fmla="*/ 0 w 85"/>
                <a:gd name="T1" fmla="*/ 31 h 48"/>
                <a:gd name="T2" fmla="*/ 4 w 85"/>
                <a:gd name="T3" fmla="*/ 46 h 48"/>
                <a:gd name="T4" fmla="*/ 4 w 85"/>
                <a:gd name="T5" fmla="*/ 48 h 48"/>
                <a:gd name="T6" fmla="*/ 4 w 85"/>
                <a:gd name="T7" fmla="*/ 33 h 48"/>
                <a:gd name="T8" fmla="*/ 4 w 85"/>
                <a:gd name="T9" fmla="*/ 11 h 48"/>
                <a:gd name="T10" fmla="*/ 4 w 85"/>
                <a:gd name="T11" fmla="*/ 0 h 48"/>
                <a:gd name="T12" fmla="*/ 4 w 85"/>
                <a:gd name="T13" fmla="*/ 0 h 48"/>
                <a:gd name="T14" fmla="*/ 4 w 85"/>
                <a:gd name="T15" fmla="*/ 17 h 48"/>
                <a:gd name="T16" fmla="*/ 4 w 85"/>
                <a:gd name="T17" fmla="*/ 17 h 48"/>
                <a:gd name="T18" fmla="*/ 4 w 85"/>
                <a:gd name="T19" fmla="*/ 31 h 48"/>
                <a:gd name="T20" fmla="*/ 0 w 85"/>
                <a:gd name="T21" fmla="*/ 31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5"/>
                <a:gd name="T34" fmla="*/ 0 h 48"/>
                <a:gd name="T35" fmla="*/ 85 w 85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5" h="48">
                  <a:moveTo>
                    <a:pt x="0" y="31"/>
                  </a:moveTo>
                  <a:lnTo>
                    <a:pt x="18" y="46"/>
                  </a:lnTo>
                  <a:lnTo>
                    <a:pt x="48" y="48"/>
                  </a:lnTo>
                  <a:lnTo>
                    <a:pt x="77" y="33"/>
                  </a:lnTo>
                  <a:lnTo>
                    <a:pt x="85" y="11"/>
                  </a:lnTo>
                  <a:lnTo>
                    <a:pt x="83" y="0"/>
                  </a:lnTo>
                  <a:lnTo>
                    <a:pt x="68" y="0"/>
                  </a:lnTo>
                  <a:lnTo>
                    <a:pt x="71" y="17"/>
                  </a:lnTo>
                  <a:lnTo>
                    <a:pt x="62" y="17"/>
                  </a:lnTo>
                  <a:lnTo>
                    <a:pt x="52" y="31"/>
                  </a:lnTo>
                  <a:lnTo>
                    <a:pt x="0" y="3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39" name="Freeform 221"/>
            <p:cNvSpPr>
              <a:spLocks noChangeAspect="1"/>
            </p:cNvSpPr>
            <p:nvPr/>
          </p:nvSpPr>
          <p:spPr bwMode="auto">
            <a:xfrm>
              <a:off x="5736" y="2556"/>
              <a:ext cx="38" cy="52"/>
            </a:xfrm>
            <a:custGeom>
              <a:avLst/>
              <a:gdLst>
                <a:gd name="T0" fmla="*/ 0 w 43"/>
                <a:gd name="T1" fmla="*/ 0 h 52"/>
                <a:gd name="T2" fmla="*/ 4 w 43"/>
                <a:gd name="T3" fmla="*/ 24 h 52"/>
                <a:gd name="T4" fmla="*/ 4 w 43"/>
                <a:gd name="T5" fmla="*/ 52 h 52"/>
                <a:gd name="T6" fmla="*/ 4 w 43"/>
                <a:gd name="T7" fmla="*/ 30 h 52"/>
                <a:gd name="T8" fmla="*/ 4 w 43"/>
                <a:gd name="T9" fmla="*/ 6 h 52"/>
                <a:gd name="T10" fmla="*/ 0 w 43"/>
                <a:gd name="T11" fmla="*/ 0 h 5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3"/>
                <a:gd name="T19" fmla="*/ 0 h 52"/>
                <a:gd name="T20" fmla="*/ 43 w 43"/>
                <a:gd name="T21" fmla="*/ 52 h 5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3" h="52">
                  <a:moveTo>
                    <a:pt x="0" y="0"/>
                  </a:moveTo>
                  <a:lnTo>
                    <a:pt x="27" y="24"/>
                  </a:lnTo>
                  <a:lnTo>
                    <a:pt x="40" y="52"/>
                  </a:lnTo>
                  <a:lnTo>
                    <a:pt x="43" y="30"/>
                  </a:lnTo>
                  <a:lnTo>
                    <a:pt x="13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40" name="Freeform 222"/>
            <p:cNvSpPr>
              <a:spLocks noChangeAspect="1"/>
            </p:cNvSpPr>
            <p:nvPr/>
          </p:nvSpPr>
          <p:spPr bwMode="auto">
            <a:xfrm>
              <a:off x="5196" y="1258"/>
              <a:ext cx="137" cy="186"/>
            </a:xfrm>
            <a:custGeom>
              <a:avLst/>
              <a:gdLst>
                <a:gd name="T0" fmla="*/ 5 w 152"/>
                <a:gd name="T1" fmla="*/ 21 h 186"/>
                <a:gd name="T2" fmla="*/ 5 w 152"/>
                <a:gd name="T3" fmla="*/ 138 h 186"/>
                <a:gd name="T4" fmla="*/ 5 w 152"/>
                <a:gd name="T5" fmla="*/ 170 h 186"/>
                <a:gd name="T6" fmla="*/ 5 w 152"/>
                <a:gd name="T7" fmla="*/ 186 h 186"/>
                <a:gd name="T8" fmla="*/ 5 w 152"/>
                <a:gd name="T9" fmla="*/ 169 h 186"/>
                <a:gd name="T10" fmla="*/ 5 w 152"/>
                <a:gd name="T11" fmla="*/ 177 h 186"/>
                <a:gd name="T12" fmla="*/ 5 w 152"/>
                <a:gd name="T13" fmla="*/ 131 h 186"/>
                <a:gd name="T14" fmla="*/ 5 w 152"/>
                <a:gd name="T15" fmla="*/ 109 h 186"/>
                <a:gd name="T16" fmla="*/ 5 w 152"/>
                <a:gd name="T17" fmla="*/ 114 h 186"/>
                <a:gd name="T18" fmla="*/ 5 w 152"/>
                <a:gd name="T19" fmla="*/ 6 h 186"/>
                <a:gd name="T20" fmla="*/ 0 w 152"/>
                <a:gd name="T21" fmla="*/ 0 h 186"/>
                <a:gd name="T22" fmla="*/ 5 w 152"/>
                <a:gd name="T23" fmla="*/ 10 h 186"/>
                <a:gd name="T24" fmla="*/ 5 w 152"/>
                <a:gd name="T25" fmla="*/ 21 h 18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2"/>
                <a:gd name="T40" fmla="*/ 0 h 186"/>
                <a:gd name="T41" fmla="*/ 152 w 152"/>
                <a:gd name="T42" fmla="*/ 186 h 18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2" h="186">
                  <a:moveTo>
                    <a:pt x="7" y="21"/>
                  </a:moveTo>
                  <a:lnTo>
                    <a:pt x="103" y="138"/>
                  </a:lnTo>
                  <a:lnTo>
                    <a:pt x="117" y="170"/>
                  </a:lnTo>
                  <a:lnTo>
                    <a:pt x="131" y="186"/>
                  </a:lnTo>
                  <a:lnTo>
                    <a:pt x="131" y="169"/>
                  </a:lnTo>
                  <a:lnTo>
                    <a:pt x="152" y="177"/>
                  </a:lnTo>
                  <a:lnTo>
                    <a:pt x="106" y="131"/>
                  </a:lnTo>
                  <a:lnTo>
                    <a:pt x="102" y="109"/>
                  </a:lnTo>
                  <a:lnTo>
                    <a:pt x="125" y="114"/>
                  </a:lnTo>
                  <a:lnTo>
                    <a:pt x="16" y="6"/>
                  </a:lnTo>
                  <a:lnTo>
                    <a:pt x="0" y="0"/>
                  </a:lnTo>
                  <a:lnTo>
                    <a:pt x="12" y="10"/>
                  </a:lnTo>
                  <a:lnTo>
                    <a:pt x="7" y="2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41" name="Freeform 223"/>
            <p:cNvSpPr>
              <a:spLocks noChangeAspect="1"/>
            </p:cNvSpPr>
            <p:nvPr/>
          </p:nvSpPr>
          <p:spPr bwMode="auto">
            <a:xfrm>
              <a:off x="3465" y="1659"/>
              <a:ext cx="11" cy="14"/>
            </a:xfrm>
            <a:custGeom>
              <a:avLst/>
              <a:gdLst>
                <a:gd name="T0" fmla="*/ 0 w 11"/>
                <a:gd name="T1" fmla="*/ 8 h 14"/>
                <a:gd name="T2" fmla="*/ 2 w 11"/>
                <a:gd name="T3" fmla="*/ 14 h 14"/>
                <a:gd name="T4" fmla="*/ 11 w 11"/>
                <a:gd name="T5" fmla="*/ 0 h 14"/>
                <a:gd name="T6" fmla="*/ 0 w 11"/>
                <a:gd name="T7" fmla="*/ 8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4"/>
                <a:gd name="T14" fmla="*/ 11 w 11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4">
                  <a:moveTo>
                    <a:pt x="0" y="8"/>
                  </a:moveTo>
                  <a:lnTo>
                    <a:pt x="2" y="14"/>
                  </a:lnTo>
                  <a:lnTo>
                    <a:pt x="11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42" name="Freeform 224"/>
            <p:cNvSpPr>
              <a:spLocks noChangeAspect="1"/>
            </p:cNvSpPr>
            <p:nvPr/>
          </p:nvSpPr>
          <p:spPr bwMode="auto">
            <a:xfrm>
              <a:off x="3133" y="2410"/>
              <a:ext cx="8" cy="11"/>
            </a:xfrm>
            <a:custGeom>
              <a:avLst/>
              <a:gdLst>
                <a:gd name="T0" fmla="*/ 0 w 9"/>
                <a:gd name="T1" fmla="*/ 10 h 11"/>
                <a:gd name="T2" fmla="*/ 4 w 9"/>
                <a:gd name="T3" fmla="*/ 11 h 11"/>
                <a:gd name="T4" fmla="*/ 4 w 9"/>
                <a:gd name="T5" fmla="*/ 4 h 11"/>
                <a:gd name="T6" fmla="*/ 4 w 9"/>
                <a:gd name="T7" fmla="*/ 0 h 11"/>
                <a:gd name="T8" fmla="*/ 0 w 9"/>
                <a:gd name="T9" fmla="*/ 1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1"/>
                <a:gd name="T17" fmla="*/ 9 w 9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1">
                  <a:moveTo>
                    <a:pt x="0" y="10"/>
                  </a:moveTo>
                  <a:lnTo>
                    <a:pt x="5" y="11"/>
                  </a:lnTo>
                  <a:lnTo>
                    <a:pt x="9" y="4"/>
                  </a:lnTo>
                  <a:lnTo>
                    <a:pt x="4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43" name="Freeform 225"/>
            <p:cNvSpPr>
              <a:spLocks noChangeAspect="1"/>
            </p:cNvSpPr>
            <p:nvPr/>
          </p:nvSpPr>
          <p:spPr bwMode="auto">
            <a:xfrm>
              <a:off x="3461" y="3151"/>
              <a:ext cx="43" cy="48"/>
            </a:xfrm>
            <a:custGeom>
              <a:avLst/>
              <a:gdLst>
                <a:gd name="T0" fmla="*/ 7 w 46"/>
                <a:gd name="T1" fmla="*/ 18 h 48"/>
                <a:gd name="T2" fmla="*/ 7 w 46"/>
                <a:gd name="T3" fmla="*/ 32 h 48"/>
                <a:gd name="T4" fmla="*/ 7 w 46"/>
                <a:gd name="T5" fmla="*/ 48 h 48"/>
                <a:gd name="T6" fmla="*/ 0 w 46"/>
                <a:gd name="T7" fmla="*/ 27 h 48"/>
                <a:gd name="T8" fmla="*/ 7 w 46"/>
                <a:gd name="T9" fmla="*/ 0 h 48"/>
                <a:gd name="T10" fmla="*/ 7 w 46"/>
                <a:gd name="T11" fmla="*/ 3 h 48"/>
                <a:gd name="T12" fmla="*/ 7 w 46"/>
                <a:gd name="T13" fmla="*/ 18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6"/>
                <a:gd name="T22" fmla="*/ 0 h 48"/>
                <a:gd name="T23" fmla="*/ 46 w 46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6" h="48">
                  <a:moveTo>
                    <a:pt x="46" y="18"/>
                  </a:moveTo>
                  <a:lnTo>
                    <a:pt x="40" y="32"/>
                  </a:lnTo>
                  <a:lnTo>
                    <a:pt x="15" y="48"/>
                  </a:lnTo>
                  <a:lnTo>
                    <a:pt x="0" y="27"/>
                  </a:lnTo>
                  <a:lnTo>
                    <a:pt x="27" y="0"/>
                  </a:lnTo>
                  <a:lnTo>
                    <a:pt x="37" y="3"/>
                  </a:lnTo>
                  <a:lnTo>
                    <a:pt x="46" y="1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44" name="Freeform 226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4438" y="2271"/>
              <a:ext cx="37" cy="87"/>
            </a:xfrm>
            <a:custGeom>
              <a:avLst/>
              <a:gdLst>
                <a:gd name="T0" fmla="*/ 0 w 43"/>
                <a:gd name="T1" fmla="*/ 40 h 87"/>
                <a:gd name="T2" fmla="*/ 3 w 43"/>
                <a:gd name="T3" fmla="*/ 87 h 87"/>
                <a:gd name="T4" fmla="*/ 3 w 43"/>
                <a:gd name="T5" fmla="*/ 84 h 87"/>
                <a:gd name="T6" fmla="*/ 3 w 43"/>
                <a:gd name="T7" fmla="*/ 76 h 87"/>
                <a:gd name="T8" fmla="*/ 3 w 43"/>
                <a:gd name="T9" fmla="*/ 51 h 87"/>
                <a:gd name="T10" fmla="*/ 3 w 43"/>
                <a:gd name="T11" fmla="*/ 7 h 87"/>
                <a:gd name="T12" fmla="*/ 3 w 43"/>
                <a:gd name="T13" fmla="*/ 0 h 87"/>
                <a:gd name="T14" fmla="*/ 3 w 43"/>
                <a:gd name="T15" fmla="*/ 10 h 87"/>
                <a:gd name="T16" fmla="*/ 0 w 43"/>
                <a:gd name="T17" fmla="*/ 40 h 8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"/>
                <a:gd name="T28" fmla="*/ 0 h 87"/>
                <a:gd name="T29" fmla="*/ 43 w 43"/>
                <a:gd name="T30" fmla="*/ 87 h 8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" h="87">
                  <a:moveTo>
                    <a:pt x="0" y="40"/>
                  </a:moveTo>
                  <a:lnTo>
                    <a:pt x="13" y="87"/>
                  </a:lnTo>
                  <a:lnTo>
                    <a:pt x="32" y="84"/>
                  </a:lnTo>
                  <a:lnTo>
                    <a:pt x="40" y="76"/>
                  </a:lnTo>
                  <a:lnTo>
                    <a:pt x="43" y="51"/>
                  </a:lnTo>
                  <a:lnTo>
                    <a:pt x="15" y="7"/>
                  </a:lnTo>
                  <a:lnTo>
                    <a:pt x="3" y="0"/>
                  </a:lnTo>
                  <a:lnTo>
                    <a:pt x="8" y="10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45" name="Freeform 22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4196" y="1673"/>
              <a:ext cx="506" cy="641"/>
            </a:xfrm>
            <a:custGeom>
              <a:avLst/>
              <a:gdLst>
                <a:gd name="T0" fmla="*/ 5 w 561"/>
                <a:gd name="T1" fmla="*/ 199 h 641"/>
                <a:gd name="T2" fmla="*/ 5 w 561"/>
                <a:gd name="T3" fmla="*/ 213 h 641"/>
                <a:gd name="T4" fmla="*/ 5 w 561"/>
                <a:gd name="T5" fmla="*/ 202 h 641"/>
                <a:gd name="T6" fmla="*/ 5 w 561"/>
                <a:gd name="T7" fmla="*/ 179 h 641"/>
                <a:gd name="T8" fmla="*/ 5 w 561"/>
                <a:gd name="T9" fmla="*/ 151 h 641"/>
                <a:gd name="T10" fmla="*/ 5 w 561"/>
                <a:gd name="T11" fmla="*/ 203 h 641"/>
                <a:gd name="T12" fmla="*/ 5 w 561"/>
                <a:gd name="T13" fmla="*/ 219 h 641"/>
                <a:gd name="T14" fmla="*/ 5 w 561"/>
                <a:gd name="T15" fmla="*/ 282 h 641"/>
                <a:gd name="T16" fmla="*/ 5 w 561"/>
                <a:gd name="T17" fmla="*/ 323 h 641"/>
                <a:gd name="T18" fmla="*/ 5 w 561"/>
                <a:gd name="T19" fmla="*/ 281 h 641"/>
                <a:gd name="T20" fmla="*/ 5 w 561"/>
                <a:gd name="T21" fmla="*/ 283 h 641"/>
                <a:gd name="T22" fmla="*/ 5 w 561"/>
                <a:gd name="T23" fmla="*/ 251 h 641"/>
                <a:gd name="T24" fmla="*/ 5 w 561"/>
                <a:gd name="T25" fmla="*/ 226 h 641"/>
                <a:gd name="T26" fmla="*/ 5 w 561"/>
                <a:gd name="T27" fmla="*/ 227 h 641"/>
                <a:gd name="T28" fmla="*/ 5 w 561"/>
                <a:gd name="T29" fmla="*/ 227 h 641"/>
                <a:gd name="T30" fmla="*/ 5 w 561"/>
                <a:gd name="T31" fmla="*/ 241 h 641"/>
                <a:gd name="T32" fmla="*/ 5 w 561"/>
                <a:gd name="T33" fmla="*/ 268 h 641"/>
                <a:gd name="T34" fmla="*/ 5 w 561"/>
                <a:gd name="T35" fmla="*/ 333 h 641"/>
                <a:gd name="T36" fmla="*/ 5 w 561"/>
                <a:gd name="T37" fmla="*/ 327 h 641"/>
                <a:gd name="T38" fmla="*/ 5 w 561"/>
                <a:gd name="T39" fmla="*/ 369 h 641"/>
                <a:gd name="T40" fmla="*/ 5 w 561"/>
                <a:gd name="T41" fmla="*/ 399 h 641"/>
                <a:gd name="T42" fmla="*/ 5 w 561"/>
                <a:gd name="T43" fmla="*/ 452 h 641"/>
                <a:gd name="T44" fmla="*/ 5 w 561"/>
                <a:gd name="T45" fmla="*/ 465 h 641"/>
                <a:gd name="T46" fmla="*/ 5 w 561"/>
                <a:gd name="T47" fmla="*/ 482 h 641"/>
                <a:gd name="T48" fmla="*/ 5 w 561"/>
                <a:gd name="T49" fmla="*/ 557 h 641"/>
                <a:gd name="T50" fmla="*/ 5 w 561"/>
                <a:gd name="T51" fmla="*/ 591 h 641"/>
                <a:gd name="T52" fmla="*/ 5 w 561"/>
                <a:gd name="T53" fmla="*/ 621 h 641"/>
                <a:gd name="T54" fmla="*/ 5 w 561"/>
                <a:gd name="T55" fmla="*/ 620 h 641"/>
                <a:gd name="T56" fmla="*/ 5 w 561"/>
                <a:gd name="T57" fmla="*/ 449 h 641"/>
                <a:gd name="T58" fmla="*/ 5 w 561"/>
                <a:gd name="T59" fmla="*/ 316 h 641"/>
                <a:gd name="T60" fmla="*/ 5 w 561"/>
                <a:gd name="T61" fmla="*/ 346 h 641"/>
                <a:gd name="T62" fmla="*/ 5 w 561"/>
                <a:gd name="T63" fmla="*/ 316 h 641"/>
                <a:gd name="T64" fmla="*/ 5 w 561"/>
                <a:gd name="T65" fmla="*/ 300 h 641"/>
                <a:gd name="T66" fmla="*/ 0 w 561"/>
                <a:gd name="T67" fmla="*/ 282 h 641"/>
                <a:gd name="T68" fmla="*/ 5 w 561"/>
                <a:gd name="T69" fmla="*/ 268 h 641"/>
                <a:gd name="T70" fmla="*/ 5 w 561"/>
                <a:gd name="T71" fmla="*/ 237 h 641"/>
                <a:gd name="T72" fmla="*/ 5 w 561"/>
                <a:gd name="T73" fmla="*/ 218 h 641"/>
                <a:gd name="T74" fmla="*/ 5 w 561"/>
                <a:gd name="T75" fmla="*/ 201 h 641"/>
                <a:gd name="T76" fmla="*/ 5 w 561"/>
                <a:gd name="T77" fmla="*/ 191 h 641"/>
                <a:gd name="T78" fmla="*/ 5 w 561"/>
                <a:gd name="T79" fmla="*/ 112 h 641"/>
                <a:gd name="T80" fmla="*/ 5 w 561"/>
                <a:gd name="T81" fmla="*/ 90 h 641"/>
                <a:gd name="T82" fmla="*/ 5 w 561"/>
                <a:gd name="T83" fmla="*/ 67 h 641"/>
                <a:gd name="T84" fmla="*/ 5 w 561"/>
                <a:gd name="T85" fmla="*/ 33 h 641"/>
                <a:gd name="T86" fmla="*/ 5 w 561"/>
                <a:gd name="T87" fmla="*/ 33 h 641"/>
                <a:gd name="T88" fmla="*/ 5 w 561"/>
                <a:gd name="T89" fmla="*/ 13 h 641"/>
                <a:gd name="T90" fmla="*/ 5 w 561"/>
                <a:gd name="T91" fmla="*/ 10 h 641"/>
                <a:gd name="T92" fmla="*/ 5 w 561"/>
                <a:gd name="T93" fmla="*/ 51 h 641"/>
                <a:gd name="T94" fmla="*/ 5 w 561"/>
                <a:gd name="T95" fmla="*/ 79 h 641"/>
                <a:gd name="T96" fmla="*/ 5 w 561"/>
                <a:gd name="T97" fmla="*/ 116 h 641"/>
                <a:gd name="T98" fmla="*/ 5 w 561"/>
                <a:gd name="T99" fmla="*/ 165 h 641"/>
                <a:gd name="T100" fmla="*/ 5 w 561"/>
                <a:gd name="T101" fmla="*/ 199 h 641"/>
                <a:gd name="T102" fmla="*/ 5 w 561"/>
                <a:gd name="T103" fmla="*/ 220 h 641"/>
                <a:gd name="T104" fmla="*/ 5 w 561"/>
                <a:gd name="T105" fmla="*/ 204 h 641"/>
                <a:gd name="T106" fmla="*/ 5 w 561"/>
                <a:gd name="T107" fmla="*/ 182 h 64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61"/>
                <a:gd name="T163" fmla="*/ 0 h 641"/>
                <a:gd name="T164" fmla="*/ 561 w 561"/>
                <a:gd name="T165" fmla="*/ 641 h 64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61" h="641">
                  <a:moveTo>
                    <a:pt x="390" y="182"/>
                  </a:moveTo>
                  <a:lnTo>
                    <a:pt x="399" y="199"/>
                  </a:lnTo>
                  <a:lnTo>
                    <a:pt x="396" y="204"/>
                  </a:lnTo>
                  <a:lnTo>
                    <a:pt x="407" y="213"/>
                  </a:lnTo>
                  <a:lnTo>
                    <a:pt x="456" y="210"/>
                  </a:lnTo>
                  <a:lnTo>
                    <a:pt x="463" y="202"/>
                  </a:lnTo>
                  <a:lnTo>
                    <a:pt x="452" y="188"/>
                  </a:lnTo>
                  <a:lnTo>
                    <a:pt x="479" y="179"/>
                  </a:lnTo>
                  <a:lnTo>
                    <a:pt x="499" y="154"/>
                  </a:lnTo>
                  <a:lnTo>
                    <a:pt x="524" y="151"/>
                  </a:lnTo>
                  <a:lnTo>
                    <a:pt x="561" y="181"/>
                  </a:lnTo>
                  <a:lnTo>
                    <a:pt x="558" y="203"/>
                  </a:lnTo>
                  <a:lnTo>
                    <a:pt x="542" y="203"/>
                  </a:lnTo>
                  <a:lnTo>
                    <a:pt x="527" y="219"/>
                  </a:lnTo>
                  <a:lnTo>
                    <a:pt x="515" y="277"/>
                  </a:lnTo>
                  <a:lnTo>
                    <a:pt x="499" y="282"/>
                  </a:lnTo>
                  <a:lnTo>
                    <a:pt x="497" y="317"/>
                  </a:lnTo>
                  <a:lnTo>
                    <a:pt x="491" y="323"/>
                  </a:lnTo>
                  <a:lnTo>
                    <a:pt x="479" y="287"/>
                  </a:lnTo>
                  <a:lnTo>
                    <a:pt x="473" y="281"/>
                  </a:lnTo>
                  <a:lnTo>
                    <a:pt x="468" y="294"/>
                  </a:lnTo>
                  <a:lnTo>
                    <a:pt x="455" y="283"/>
                  </a:lnTo>
                  <a:lnTo>
                    <a:pt x="453" y="275"/>
                  </a:lnTo>
                  <a:lnTo>
                    <a:pt x="473" y="251"/>
                  </a:lnTo>
                  <a:lnTo>
                    <a:pt x="428" y="245"/>
                  </a:lnTo>
                  <a:lnTo>
                    <a:pt x="416" y="226"/>
                  </a:lnTo>
                  <a:lnTo>
                    <a:pt x="402" y="220"/>
                  </a:lnTo>
                  <a:lnTo>
                    <a:pt x="400" y="227"/>
                  </a:lnTo>
                  <a:lnTo>
                    <a:pt x="395" y="220"/>
                  </a:lnTo>
                  <a:lnTo>
                    <a:pt x="389" y="227"/>
                  </a:lnTo>
                  <a:lnTo>
                    <a:pt x="390" y="239"/>
                  </a:lnTo>
                  <a:lnTo>
                    <a:pt x="397" y="241"/>
                  </a:lnTo>
                  <a:lnTo>
                    <a:pt x="388" y="259"/>
                  </a:lnTo>
                  <a:lnTo>
                    <a:pt x="401" y="268"/>
                  </a:lnTo>
                  <a:lnTo>
                    <a:pt x="418" y="330"/>
                  </a:lnTo>
                  <a:lnTo>
                    <a:pt x="407" y="333"/>
                  </a:lnTo>
                  <a:lnTo>
                    <a:pt x="401" y="319"/>
                  </a:lnTo>
                  <a:lnTo>
                    <a:pt x="400" y="327"/>
                  </a:lnTo>
                  <a:lnTo>
                    <a:pt x="382" y="335"/>
                  </a:lnTo>
                  <a:lnTo>
                    <a:pt x="373" y="369"/>
                  </a:lnTo>
                  <a:lnTo>
                    <a:pt x="348" y="382"/>
                  </a:lnTo>
                  <a:lnTo>
                    <a:pt x="338" y="399"/>
                  </a:lnTo>
                  <a:lnTo>
                    <a:pt x="298" y="436"/>
                  </a:lnTo>
                  <a:lnTo>
                    <a:pt x="293" y="452"/>
                  </a:lnTo>
                  <a:lnTo>
                    <a:pt x="277" y="455"/>
                  </a:lnTo>
                  <a:lnTo>
                    <a:pt x="275" y="465"/>
                  </a:lnTo>
                  <a:lnTo>
                    <a:pt x="263" y="463"/>
                  </a:lnTo>
                  <a:lnTo>
                    <a:pt x="258" y="482"/>
                  </a:lnTo>
                  <a:lnTo>
                    <a:pt x="265" y="522"/>
                  </a:lnTo>
                  <a:lnTo>
                    <a:pt x="256" y="557"/>
                  </a:lnTo>
                  <a:lnTo>
                    <a:pt x="259" y="591"/>
                  </a:lnTo>
                  <a:lnTo>
                    <a:pt x="250" y="591"/>
                  </a:lnTo>
                  <a:lnTo>
                    <a:pt x="243" y="614"/>
                  </a:lnTo>
                  <a:lnTo>
                    <a:pt x="228" y="621"/>
                  </a:lnTo>
                  <a:lnTo>
                    <a:pt x="217" y="641"/>
                  </a:lnTo>
                  <a:lnTo>
                    <a:pt x="194" y="620"/>
                  </a:lnTo>
                  <a:lnTo>
                    <a:pt x="144" y="494"/>
                  </a:lnTo>
                  <a:lnTo>
                    <a:pt x="120" y="449"/>
                  </a:lnTo>
                  <a:lnTo>
                    <a:pt x="92" y="317"/>
                  </a:lnTo>
                  <a:lnTo>
                    <a:pt x="87" y="316"/>
                  </a:lnTo>
                  <a:lnTo>
                    <a:pt x="85" y="339"/>
                  </a:lnTo>
                  <a:lnTo>
                    <a:pt x="77" y="346"/>
                  </a:lnTo>
                  <a:lnTo>
                    <a:pt x="55" y="350"/>
                  </a:lnTo>
                  <a:lnTo>
                    <a:pt x="23" y="316"/>
                  </a:lnTo>
                  <a:lnTo>
                    <a:pt x="43" y="312"/>
                  </a:lnTo>
                  <a:lnTo>
                    <a:pt x="46" y="300"/>
                  </a:lnTo>
                  <a:lnTo>
                    <a:pt x="24" y="304"/>
                  </a:lnTo>
                  <a:lnTo>
                    <a:pt x="0" y="282"/>
                  </a:lnTo>
                  <a:lnTo>
                    <a:pt x="14" y="270"/>
                  </a:lnTo>
                  <a:lnTo>
                    <a:pt x="54" y="268"/>
                  </a:lnTo>
                  <a:lnTo>
                    <a:pt x="54" y="255"/>
                  </a:lnTo>
                  <a:lnTo>
                    <a:pt x="45" y="237"/>
                  </a:lnTo>
                  <a:lnTo>
                    <a:pt x="34" y="231"/>
                  </a:lnTo>
                  <a:lnTo>
                    <a:pt x="34" y="218"/>
                  </a:lnTo>
                  <a:lnTo>
                    <a:pt x="21" y="215"/>
                  </a:lnTo>
                  <a:lnTo>
                    <a:pt x="21" y="201"/>
                  </a:lnTo>
                  <a:lnTo>
                    <a:pt x="32" y="185"/>
                  </a:lnTo>
                  <a:lnTo>
                    <a:pt x="45" y="191"/>
                  </a:lnTo>
                  <a:lnTo>
                    <a:pt x="62" y="185"/>
                  </a:lnTo>
                  <a:lnTo>
                    <a:pt x="108" y="112"/>
                  </a:lnTo>
                  <a:lnTo>
                    <a:pt x="103" y="94"/>
                  </a:lnTo>
                  <a:lnTo>
                    <a:pt x="112" y="90"/>
                  </a:lnTo>
                  <a:lnTo>
                    <a:pt x="112" y="84"/>
                  </a:lnTo>
                  <a:lnTo>
                    <a:pt x="87" y="67"/>
                  </a:lnTo>
                  <a:lnTo>
                    <a:pt x="83" y="44"/>
                  </a:lnTo>
                  <a:lnTo>
                    <a:pt x="74" y="33"/>
                  </a:lnTo>
                  <a:lnTo>
                    <a:pt x="77" y="27"/>
                  </a:lnTo>
                  <a:lnTo>
                    <a:pt x="111" y="33"/>
                  </a:lnTo>
                  <a:lnTo>
                    <a:pt x="132" y="26"/>
                  </a:lnTo>
                  <a:lnTo>
                    <a:pt x="143" y="13"/>
                  </a:lnTo>
                  <a:lnTo>
                    <a:pt x="172" y="0"/>
                  </a:lnTo>
                  <a:lnTo>
                    <a:pt x="193" y="10"/>
                  </a:lnTo>
                  <a:lnTo>
                    <a:pt x="191" y="30"/>
                  </a:lnTo>
                  <a:lnTo>
                    <a:pt x="178" y="51"/>
                  </a:lnTo>
                  <a:lnTo>
                    <a:pt x="191" y="79"/>
                  </a:lnTo>
                  <a:lnTo>
                    <a:pt x="174" y="79"/>
                  </a:lnTo>
                  <a:lnTo>
                    <a:pt x="174" y="85"/>
                  </a:lnTo>
                  <a:lnTo>
                    <a:pt x="193" y="116"/>
                  </a:lnTo>
                  <a:lnTo>
                    <a:pt x="233" y="132"/>
                  </a:lnTo>
                  <a:lnTo>
                    <a:pt x="220" y="165"/>
                  </a:lnTo>
                  <a:lnTo>
                    <a:pt x="280" y="198"/>
                  </a:lnTo>
                  <a:lnTo>
                    <a:pt x="305" y="199"/>
                  </a:lnTo>
                  <a:lnTo>
                    <a:pt x="325" y="213"/>
                  </a:lnTo>
                  <a:lnTo>
                    <a:pt x="366" y="220"/>
                  </a:lnTo>
                  <a:lnTo>
                    <a:pt x="384" y="220"/>
                  </a:lnTo>
                  <a:lnTo>
                    <a:pt x="381" y="204"/>
                  </a:lnTo>
                  <a:lnTo>
                    <a:pt x="381" y="186"/>
                  </a:lnTo>
                  <a:lnTo>
                    <a:pt x="390" y="18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46" name="Freeform 228"/>
            <p:cNvSpPr>
              <a:spLocks noChangeAspect="1"/>
            </p:cNvSpPr>
            <p:nvPr/>
          </p:nvSpPr>
          <p:spPr bwMode="auto">
            <a:xfrm>
              <a:off x="3276" y="3004"/>
              <a:ext cx="291" cy="292"/>
            </a:xfrm>
            <a:custGeom>
              <a:avLst/>
              <a:gdLst>
                <a:gd name="T0" fmla="*/ 4 w 324"/>
                <a:gd name="T1" fmla="*/ 0 h 292"/>
                <a:gd name="T2" fmla="*/ 4 w 324"/>
                <a:gd name="T3" fmla="*/ 4 h 292"/>
                <a:gd name="T4" fmla="*/ 4 w 324"/>
                <a:gd name="T5" fmla="*/ 13 h 292"/>
                <a:gd name="T6" fmla="*/ 4 w 324"/>
                <a:gd name="T7" fmla="*/ 85 h 292"/>
                <a:gd name="T8" fmla="*/ 4 w 324"/>
                <a:gd name="T9" fmla="*/ 87 h 292"/>
                <a:gd name="T10" fmla="*/ 4 w 324"/>
                <a:gd name="T11" fmla="*/ 108 h 292"/>
                <a:gd name="T12" fmla="*/ 4 w 324"/>
                <a:gd name="T13" fmla="*/ 117 h 292"/>
                <a:gd name="T14" fmla="*/ 4 w 324"/>
                <a:gd name="T15" fmla="*/ 107 h 292"/>
                <a:gd name="T16" fmla="*/ 4 w 324"/>
                <a:gd name="T17" fmla="*/ 107 h 292"/>
                <a:gd name="T18" fmla="*/ 4 w 324"/>
                <a:gd name="T19" fmla="*/ 113 h 292"/>
                <a:gd name="T20" fmla="*/ 4 w 324"/>
                <a:gd name="T21" fmla="*/ 150 h 292"/>
                <a:gd name="T22" fmla="*/ 4 w 324"/>
                <a:gd name="T23" fmla="*/ 163 h 292"/>
                <a:gd name="T24" fmla="*/ 4 w 324"/>
                <a:gd name="T25" fmla="*/ 203 h 292"/>
                <a:gd name="T26" fmla="*/ 4 w 324"/>
                <a:gd name="T27" fmla="*/ 245 h 292"/>
                <a:gd name="T28" fmla="*/ 4 w 324"/>
                <a:gd name="T29" fmla="*/ 266 h 292"/>
                <a:gd name="T30" fmla="*/ 4 w 324"/>
                <a:gd name="T31" fmla="*/ 279 h 292"/>
                <a:gd name="T32" fmla="*/ 4 w 324"/>
                <a:gd name="T33" fmla="*/ 276 h 292"/>
                <a:gd name="T34" fmla="*/ 4 w 324"/>
                <a:gd name="T35" fmla="*/ 292 h 292"/>
                <a:gd name="T36" fmla="*/ 4 w 324"/>
                <a:gd name="T37" fmla="*/ 292 h 292"/>
                <a:gd name="T38" fmla="*/ 4 w 324"/>
                <a:gd name="T39" fmla="*/ 276 h 292"/>
                <a:gd name="T40" fmla="*/ 4 w 324"/>
                <a:gd name="T41" fmla="*/ 279 h 292"/>
                <a:gd name="T42" fmla="*/ 4 w 324"/>
                <a:gd name="T43" fmla="*/ 248 h 292"/>
                <a:gd name="T44" fmla="*/ 4 w 324"/>
                <a:gd name="T45" fmla="*/ 242 h 292"/>
                <a:gd name="T46" fmla="*/ 4 w 324"/>
                <a:gd name="T47" fmla="*/ 229 h 292"/>
                <a:gd name="T48" fmla="*/ 4 w 324"/>
                <a:gd name="T49" fmla="*/ 159 h 292"/>
                <a:gd name="T50" fmla="*/ 0 w 324"/>
                <a:gd name="T51" fmla="*/ 152 h 292"/>
                <a:gd name="T52" fmla="*/ 4 w 324"/>
                <a:gd name="T53" fmla="*/ 144 h 292"/>
                <a:gd name="T54" fmla="*/ 4 w 324"/>
                <a:gd name="T55" fmla="*/ 150 h 292"/>
                <a:gd name="T56" fmla="*/ 4 w 324"/>
                <a:gd name="T57" fmla="*/ 159 h 292"/>
                <a:gd name="T58" fmla="*/ 4 w 324"/>
                <a:gd name="T59" fmla="*/ 159 h 292"/>
                <a:gd name="T60" fmla="*/ 4 w 324"/>
                <a:gd name="T61" fmla="*/ 145 h 292"/>
                <a:gd name="T62" fmla="*/ 4 w 324"/>
                <a:gd name="T63" fmla="*/ 61 h 292"/>
                <a:gd name="T64" fmla="*/ 4 w 324"/>
                <a:gd name="T65" fmla="*/ 61 h 292"/>
                <a:gd name="T66" fmla="*/ 4 w 324"/>
                <a:gd name="T67" fmla="*/ 77 h 292"/>
                <a:gd name="T68" fmla="*/ 4 w 324"/>
                <a:gd name="T69" fmla="*/ 104 h 292"/>
                <a:gd name="T70" fmla="*/ 4 w 324"/>
                <a:gd name="T71" fmla="*/ 108 h 292"/>
                <a:gd name="T72" fmla="*/ 4 w 324"/>
                <a:gd name="T73" fmla="*/ 105 h 292"/>
                <a:gd name="T74" fmla="*/ 4 w 324"/>
                <a:gd name="T75" fmla="*/ 76 h 292"/>
                <a:gd name="T76" fmla="*/ 4 w 324"/>
                <a:gd name="T77" fmla="*/ 83 h 292"/>
                <a:gd name="T78" fmla="*/ 4 w 324"/>
                <a:gd name="T79" fmla="*/ 81 h 292"/>
                <a:gd name="T80" fmla="*/ 4 w 324"/>
                <a:gd name="T81" fmla="*/ 26 h 292"/>
                <a:gd name="T82" fmla="*/ 4 w 324"/>
                <a:gd name="T83" fmla="*/ 0 h 29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24"/>
                <a:gd name="T127" fmla="*/ 0 h 292"/>
                <a:gd name="T128" fmla="*/ 324 w 324"/>
                <a:gd name="T129" fmla="*/ 292 h 29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24" h="292">
                  <a:moveTo>
                    <a:pt x="256" y="0"/>
                  </a:moveTo>
                  <a:lnTo>
                    <a:pt x="289" y="4"/>
                  </a:lnTo>
                  <a:lnTo>
                    <a:pt x="301" y="13"/>
                  </a:lnTo>
                  <a:lnTo>
                    <a:pt x="307" y="85"/>
                  </a:lnTo>
                  <a:lnTo>
                    <a:pt x="291" y="87"/>
                  </a:lnTo>
                  <a:lnTo>
                    <a:pt x="284" y="108"/>
                  </a:lnTo>
                  <a:lnTo>
                    <a:pt x="295" y="117"/>
                  </a:lnTo>
                  <a:lnTo>
                    <a:pt x="307" y="107"/>
                  </a:lnTo>
                  <a:lnTo>
                    <a:pt x="322" y="107"/>
                  </a:lnTo>
                  <a:lnTo>
                    <a:pt x="324" y="113"/>
                  </a:lnTo>
                  <a:lnTo>
                    <a:pt x="312" y="150"/>
                  </a:lnTo>
                  <a:lnTo>
                    <a:pt x="294" y="163"/>
                  </a:lnTo>
                  <a:lnTo>
                    <a:pt x="271" y="203"/>
                  </a:lnTo>
                  <a:lnTo>
                    <a:pt x="231" y="245"/>
                  </a:lnTo>
                  <a:lnTo>
                    <a:pt x="203" y="266"/>
                  </a:lnTo>
                  <a:lnTo>
                    <a:pt x="157" y="279"/>
                  </a:lnTo>
                  <a:lnTo>
                    <a:pt x="118" y="276"/>
                  </a:lnTo>
                  <a:lnTo>
                    <a:pt x="69" y="292"/>
                  </a:lnTo>
                  <a:lnTo>
                    <a:pt x="57" y="292"/>
                  </a:lnTo>
                  <a:lnTo>
                    <a:pt x="43" y="276"/>
                  </a:lnTo>
                  <a:lnTo>
                    <a:pt x="35" y="279"/>
                  </a:lnTo>
                  <a:lnTo>
                    <a:pt x="26" y="248"/>
                  </a:lnTo>
                  <a:lnTo>
                    <a:pt x="35" y="242"/>
                  </a:lnTo>
                  <a:lnTo>
                    <a:pt x="34" y="229"/>
                  </a:lnTo>
                  <a:lnTo>
                    <a:pt x="6" y="159"/>
                  </a:lnTo>
                  <a:lnTo>
                    <a:pt x="0" y="152"/>
                  </a:lnTo>
                  <a:lnTo>
                    <a:pt x="7" y="144"/>
                  </a:lnTo>
                  <a:lnTo>
                    <a:pt x="21" y="150"/>
                  </a:lnTo>
                  <a:lnTo>
                    <a:pt x="24" y="159"/>
                  </a:lnTo>
                  <a:lnTo>
                    <a:pt x="50" y="159"/>
                  </a:lnTo>
                  <a:lnTo>
                    <a:pt x="66" y="145"/>
                  </a:lnTo>
                  <a:lnTo>
                    <a:pt x="68" y="61"/>
                  </a:lnTo>
                  <a:lnTo>
                    <a:pt x="69" y="61"/>
                  </a:lnTo>
                  <a:lnTo>
                    <a:pt x="84" y="77"/>
                  </a:lnTo>
                  <a:lnTo>
                    <a:pt x="83" y="104"/>
                  </a:lnTo>
                  <a:lnTo>
                    <a:pt x="92" y="108"/>
                  </a:lnTo>
                  <a:lnTo>
                    <a:pt x="112" y="105"/>
                  </a:lnTo>
                  <a:lnTo>
                    <a:pt x="140" y="76"/>
                  </a:lnTo>
                  <a:lnTo>
                    <a:pt x="158" y="83"/>
                  </a:lnTo>
                  <a:lnTo>
                    <a:pt x="176" y="81"/>
                  </a:lnTo>
                  <a:lnTo>
                    <a:pt x="220" y="26"/>
                  </a:lnTo>
                  <a:lnTo>
                    <a:pt x="256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47" name="Freeform 229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149" y="1613"/>
              <a:ext cx="64" cy="95"/>
            </a:xfrm>
            <a:custGeom>
              <a:avLst/>
              <a:gdLst>
                <a:gd name="T0" fmla="*/ 0 w 72"/>
                <a:gd name="T1" fmla="*/ 17 h 95"/>
                <a:gd name="T2" fmla="*/ 4 w 72"/>
                <a:gd name="T3" fmla="*/ 6 h 95"/>
                <a:gd name="T4" fmla="*/ 4 w 72"/>
                <a:gd name="T5" fmla="*/ 0 h 95"/>
                <a:gd name="T6" fmla="*/ 4 w 72"/>
                <a:gd name="T7" fmla="*/ 22 h 95"/>
                <a:gd name="T8" fmla="*/ 4 w 72"/>
                <a:gd name="T9" fmla="*/ 57 h 95"/>
                <a:gd name="T10" fmla="*/ 4 w 72"/>
                <a:gd name="T11" fmla="*/ 76 h 95"/>
                <a:gd name="T12" fmla="*/ 4 w 72"/>
                <a:gd name="T13" fmla="*/ 95 h 95"/>
                <a:gd name="T14" fmla="*/ 4 w 72"/>
                <a:gd name="T15" fmla="*/ 72 h 95"/>
                <a:gd name="T16" fmla="*/ 4 w 72"/>
                <a:gd name="T17" fmla="*/ 62 h 95"/>
                <a:gd name="T18" fmla="*/ 0 w 72"/>
                <a:gd name="T19" fmla="*/ 36 h 95"/>
                <a:gd name="T20" fmla="*/ 4 w 72"/>
                <a:gd name="T21" fmla="*/ 34 h 95"/>
                <a:gd name="T22" fmla="*/ 3 w 72"/>
                <a:gd name="T23" fmla="*/ 25 h 95"/>
                <a:gd name="T24" fmla="*/ 0 w 72"/>
                <a:gd name="T25" fmla="*/ 17 h 9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2"/>
                <a:gd name="T40" fmla="*/ 0 h 95"/>
                <a:gd name="T41" fmla="*/ 72 w 72"/>
                <a:gd name="T42" fmla="*/ 95 h 9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2" h="95">
                  <a:moveTo>
                    <a:pt x="0" y="17"/>
                  </a:moveTo>
                  <a:lnTo>
                    <a:pt x="8" y="6"/>
                  </a:lnTo>
                  <a:lnTo>
                    <a:pt x="29" y="0"/>
                  </a:lnTo>
                  <a:lnTo>
                    <a:pt x="52" y="22"/>
                  </a:lnTo>
                  <a:lnTo>
                    <a:pt x="71" y="57"/>
                  </a:lnTo>
                  <a:lnTo>
                    <a:pt x="72" y="76"/>
                  </a:lnTo>
                  <a:lnTo>
                    <a:pt x="32" y="95"/>
                  </a:lnTo>
                  <a:lnTo>
                    <a:pt x="18" y="72"/>
                  </a:lnTo>
                  <a:lnTo>
                    <a:pt x="23" y="62"/>
                  </a:lnTo>
                  <a:lnTo>
                    <a:pt x="0" y="36"/>
                  </a:lnTo>
                  <a:lnTo>
                    <a:pt x="11" y="34"/>
                  </a:lnTo>
                  <a:lnTo>
                    <a:pt x="3" y="25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48" name="Freeform 230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195" y="2225"/>
              <a:ext cx="52" cy="65"/>
            </a:xfrm>
            <a:custGeom>
              <a:avLst/>
              <a:gdLst>
                <a:gd name="T0" fmla="*/ 2 w 57"/>
                <a:gd name="T1" fmla="*/ 30 h 65"/>
                <a:gd name="T2" fmla="*/ 5 w 57"/>
                <a:gd name="T3" fmla="*/ 32 h 65"/>
                <a:gd name="T4" fmla="*/ 5 w 57"/>
                <a:gd name="T5" fmla="*/ 42 h 65"/>
                <a:gd name="T6" fmla="*/ 5 w 57"/>
                <a:gd name="T7" fmla="*/ 48 h 65"/>
                <a:gd name="T8" fmla="*/ 5 w 57"/>
                <a:gd name="T9" fmla="*/ 65 h 65"/>
                <a:gd name="T10" fmla="*/ 5 w 57"/>
                <a:gd name="T11" fmla="*/ 59 h 65"/>
                <a:gd name="T12" fmla="*/ 5 w 57"/>
                <a:gd name="T13" fmla="*/ 48 h 65"/>
                <a:gd name="T14" fmla="*/ 5 w 57"/>
                <a:gd name="T15" fmla="*/ 52 h 65"/>
                <a:gd name="T16" fmla="*/ 5 w 57"/>
                <a:gd name="T17" fmla="*/ 43 h 65"/>
                <a:gd name="T18" fmla="*/ 5 w 57"/>
                <a:gd name="T19" fmla="*/ 52 h 65"/>
                <a:gd name="T20" fmla="*/ 5 w 57"/>
                <a:gd name="T21" fmla="*/ 49 h 65"/>
                <a:gd name="T22" fmla="*/ 5 w 57"/>
                <a:gd name="T23" fmla="*/ 40 h 65"/>
                <a:gd name="T24" fmla="*/ 5 w 57"/>
                <a:gd name="T25" fmla="*/ 39 h 65"/>
                <a:gd name="T26" fmla="*/ 5 w 57"/>
                <a:gd name="T27" fmla="*/ 17 h 65"/>
                <a:gd name="T28" fmla="*/ 5 w 57"/>
                <a:gd name="T29" fmla="*/ 32 h 65"/>
                <a:gd name="T30" fmla="*/ 5 w 57"/>
                <a:gd name="T31" fmla="*/ 7 h 65"/>
                <a:gd name="T32" fmla="*/ 5 w 57"/>
                <a:gd name="T33" fmla="*/ 7 h 65"/>
                <a:gd name="T34" fmla="*/ 5 w 57"/>
                <a:gd name="T35" fmla="*/ 2 h 65"/>
                <a:gd name="T36" fmla="*/ 0 w 57"/>
                <a:gd name="T37" fmla="*/ 0 h 65"/>
                <a:gd name="T38" fmla="*/ 2 w 57"/>
                <a:gd name="T39" fmla="*/ 30 h 6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7"/>
                <a:gd name="T61" fmla="*/ 0 h 65"/>
                <a:gd name="T62" fmla="*/ 57 w 57"/>
                <a:gd name="T63" fmla="*/ 65 h 6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7" h="65">
                  <a:moveTo>
                    <a:pt x="2" y="30"/>
                  </a:moveTo>
                  <a:lnTo>
                    <a:pt x="20" y="32"/>
                  </a:lnTo>
                  <a:lnTo>
                    <a:pt x="22" y="42"/>
                  </a:lnTo>
                  <a:lnTo>
                    <a:pt x="14" y="48"/>
                  </a:lnTo>
                  <a:lnTo>
                    <a:pt x="27" y="65"/>
                  </a:lnTo>
                  <a:lnTo>
                    <a:pt x="34" y="59"/>
                  </a:lnTo>
                  <a:lnTo>
                    <a:pt x="29" y="48"/>
                  </a:lnTo>
                  <a:lnTo>
                    <a:pt x="36" y="52"/>
                  </a:lnTo>
                  <a:lnTo>
                    <a:pt x="41" y="43"/>
                  </a:lnTo>
                  <a:lnTo>
                    <a:pt x="46" y="52"/>
                  </a:lnTo>
                  <a:lnTo>
                    <a:pt x="57" y="49"/>
                  </a:lnTo>
                  <a:lnTo>
                    <a:pt x="56" y="40"/>
                  </a:lnTo>
                  <a:lnTo>
                    <a:pt x="45" y="39"/>
                  </a:lnTo>
                  <a:lnTo>
                    <a:pt x="44" y="17"/>
                  </a:lnTo>
                  <a:lnTo>
                    <a:pt x="33" y="32"/>
                  </a:lnTo>
                  <a:lnTo>
                    <a:pt x="25" y="7"/>
                  </a:lnTo>
                  <a:lnTo>
                    <a:pt x="13" y="7"/>
                  </a:lnTo>
                  <a:lnTo>
                    <a:pt x="12" y="2"/>
                  </a:lnTo>
                  <a:lnTo>
                    <a:pt x="0" y="0"/>
                  </a:lnTo>
                  <a:lnTo>
                    <a:pt x="2" y="3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49" name="Freeform 231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4809" y="2342"/>
              <a:ext cx="75" cy="122"/>
            </a:xfrm>
            <a:custGeom>
              <a:avLst/>
              <a:gdLst>
                <a:gd name="T0" fmla="*/ 0 w 83"/>
                <a:gd name="T1" fmla="*/ 6 h 122"/>
                <a:gd name="T2" fmla="*/ 0 w 83"/>
                <a:gd name="T3" fmla="*/ 0 h 122"/>
                <a:gd name="T4" fmla="*/ 5 w 83"/>
                <a:gd name="T5" fmla="*/ 6 h 122"/>
                <a:gd name="T6" fmla="*/ 5 w 83"/>
                <a:gd name="T7" fmla="*/ 19 h 122"/>
                <a:gd name="T8" fmla="*/ 5 w 83"/>
                <a:gd name="T9" fmla="*/ 21 h 122"/>
                <a:gd name="T10" fmla="*/ 5 w 83"/>
                <a:gd name="T11" fmla="*/ 14 h 122"/>
                <a:gd name="T12" fmla="*/ 5 w 83"/>
                <a:gd name="T13" fmla="*/ 42 h 122"/>
                <a:gd name="T14" fmla="*/ 5 w 83"/>
                <a:gd name="T15" fmla="*/ 88 h 122"/>
                <a:gd name="T16" fmla="*/ 5 w 83"/>
                <a:gd name="T17" fmla="*/ 122 h 122"/>
                <a:gd name="T18" fmla="*/ 5 w 83"/>
                <a:gd name="T19" fmla="*/ 122 h 122"/>
                <a:gd name="T20" fmla="*/ 5 w 83"/>
                <a:gd name="T21" fmla="*/ 89 h 122"/>
                <a:gd name="T22" fmla="*/ 5 w 83"/>
                <a:gd name="T23" fmla="*/ 57 h 122"/>
                <a:gd name="T24" fmla="*/ 0 w 83"/>
                <a:gd name="T25" fmla="*/ 6 h 12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3"/>
                <a:gd name="T40" fmla="*/ 0 h 122"/>
                <a:gd name="T41" fmla="*/ 83 w 83"/>
                <a:gd name="T42" fmla="*/ 122 h 12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3" h="122">
                  <a:moveTo>
                    <a:pt x="0" y="6"/>
                  </a:moveTo>
                  <a:lnTo>
                    <a:pt x="0" y="0"/>
                  </a:lnTo>
                  <a:lnTo>
                    <a:pt x="14" y="6"/>
                  </a:lnTo>
                  <a:lnTo>
                    <a:pt x="18" y="19"/>
                  </a:lnTo>
                  <a:lnTo>
                    <a:pt x="25" y="21"/>
                  </a:lnTo>
                  <a:lnTo>
                    <a:pt x="39" y="14"/>
                  </a:lnTo>
                  <a:lnTo>
                    <a:pt x="64" y="42"/>
                  </a:lnTo>
                  <a:lnTo>
                    <a:pt x="65" y="88"/>
                  </a:lnTo>
                  <a:lnTo>
                    <a:pt x="83" y="122"/>
                  </a:lnTo>
                  <a:lnTo>
                    <a:pt x="68" y="122"/>
                  </a:lnTo>
                  <a:lnTo>
                    <a:pt x="25" y="89"/>
                  </a:lnTo>
                  <a:lnTo>
                    <a:pt x="7" y="57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50" name="Freeform 232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371" y="2504"/>
              <a:ext cx="185" cy="203"/>
            </a:xfrm>
            <a:custGeom>
              <a:avLst/>
              <a:gdLst>
                <a:gd name="T0" fmla="*/ 4 w 206"/>
                <a:gd name="T1" fmla="*/ 203 h 203"/>
                <a:gd name="T2" fmla="*/ 4 w 206"/>
                <a:gd name="T3" fmla="*/ 176 h 203"/>
                <a:gd name="T4" fmla="*/ 4 w 206"/>
                <a:gd name="T5" fmla="*/ 184 h 203"/>
                <a:gd name="T6" fmla="*/ 4 w 206"/>
                <a:gd name="T7" fmla="*/ 161 h 203"/>
                <a:gd name="T8" fmla="*/ 4 w 206"/>
                <a:gd name="T9" fmla="*/ 159 h 203"/>
                <a:gd name="T10" fmla="*/ 4 w 206"/>
                <a:gd name="T11" fmla="*/ 121 h 203"/>
                <a:gd name="T12" fmla="*/ 4 w 206"/>
                <a:gd name="T13" fmla="*/ 108 h 203"/>
                <a:gd name="T14" fmla="*/ 4 w 206"/>
                <a:gd name="T15" fmla="*/ 92 h 203"/>
                <a:gd name="T16" fmla="*/ 4 w 206"/>
                <a:gd name="T17" fmla="*/ 72 h 203"/>
                <a:gd name="T18" fmla="*/ 4 w 206"/>
                <a:gd name="T19" fmla="*/ 85 h 203"/>
                <a:gd name="T20" fmla="*/ 4 w 206"/>
                <a:gd name="T21" fmla="*/ 85 h 203"/>
                <a:gd name="T22" fmla="*/ 4 w 206"/>
                <a:gd name="T23" fmla="*/ 68 h 203"/>
                <a:gd name="T24" fmla="*/ 4 w 206"/>
                <a:gd name="T25" fmla="*/ 58 h 203"/>
                <a:gd name="T26" fmla="*/ 4 w 206"/>
                <a:gd name="T27" fmla="*/ 49 h 203"/>
                <a:gd name="T28" fmla="*/ 4 w 206"/>
                <a:gd name="T29" fmla="*/ 39 h 203"/>
                <a:gd name="T30" fmla="*/ 4 w 206"/>
                <a:gd name="T31" fmla="*/ 45 h 203"/>
                <a:gd name="T32" fmla="*/ 4 w 206"/>
                <a:gd name="T33" fmla="*/ 39 h 203"/>
                <a:gd name="T34" fmla="*/ 4 w 206"/>
                <a:gd name="T35" fmla="*/ 29 h 203"/>
                <a:gd name="T36" fmla="*/ 0 w 206"/>
                <a:gd name="T37" fmla="*/ 23 h 203"/>
                <a:gd name="T38" fmla="*/ 4 w 206"/>
                <a:gd name="T39" fmla="*/ 0 h 203"/>
                <a:gd name="T40" fmla="*/ 4 w 206"/>
                <a:gd name="T41" fmla="*/ 0 h 203"/>
                <a:gd name="T42" fmla="*/ 4 w 206"/>
                <a:gd name="T43" fmla="*/ 8 h 203"/>
                <a:gd name="T44" fmla="*/ 4 w 206"/>
                <a:gd name="T45" fmla="*/ 8 h 203"/>
                <a:gd name="T46" fmla="*/ 4 w 206"/>
                <a:gd name="T47" fmla="*/ 46 h 203"/>
                <a:gd name="T48" fmla="*/ 4 w 206"/>
                <a:gd name="T49" fmla="*/ 69 h 203"/>
                <a:gd name="T50" fmla="*/ 4 w 206"/>
                <a:gd name="T51" fmla="*/ 69 h 203"/>
                <a:gd name="T52" fmla="*/ 4 w 206"/>
                <a:gd name="T53" fmla="*/ 42 h 203"/>
                <a:gd name="T54" fmla="*/ 4 w 206"/>
                <a:gd name="T55" fmla="*/ 25 h 203"/>
                <a:gd name="T56" fmla="*/ 4 w 206"/>
                <a:gd name="T57" fmla="*/ 54 h 203"/>
                <a:gd name="T58" fmla="*/ 4 w 206"/>
                <a:gd name="T59" fmla="*/ 203 h 20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6"/>
                <a:gd name="T91" fmla="*/ 0 h 203"/>
                <a:gd name="T92" fmla="*/ 206 w 206"/>
                <a:gd name="T93" fmla="*/ 203 h 20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6" h="203">
                  <a:moveTo>
                    <a:pt x="204" y="203"/>
                  </a:moveTo>
                  <a:lnTo>
                    <a:pt x="178" y="176"/>
                  </a:lnTo>
                  <a:lnTo>
                    <a:pt x="131" y="184"/>
                  </a:lnTo>
                  <a:lnTo>
                    <a:pt x="144" y="161"/>
                  </a:lnTo>
                  <a:lnTo>
                    <a:pt x="154" y="159"/>
                  </a:lnTo>
                  <a:lnTo>
                    <a:pt x="145" y="121"/>
                  </a:lnTo>
                  <a:lnTo>
                    <a:pt x="129" y="108"/>
                  </a:lnTo>
                  <a:lnTo>
                    <a:pt x="82" y="92"/>
                  </a:lnTo>
                  <a:lnTo>
                    <a:pt x="56" y="72"/>
                  </a:lnTo>
                  <a:lnTo>
                    <a:pt x="47" y="85"/>
                  </a:lnTo>
                  <a:lnTo>
                    <a:pt x="39" y="85"/>
                  </a:lnTo>
                  <a:lnTo>
                    <a:pt x="36" y="68"/>
                  </a:lnTo>
                  <a:lnTo>
                    <a:pt x="21" y="58"/>
                  </a:lnTo>
                  <a:lnTo>
                    <a:pt x="57" y="49"/>
                  </a:lnTo>
                  <a:lnTo>
                    <a:pt x="61" y="39"/>
                  </a:lnTo>
                  <a:lnTo>
                    <a:pt x="28" y="45"/>
                  </a:lnTo>
                  <a:lnTo>
                    <a:pt x="21" y="39"/>
                  </a:lnTo>
                  <a:lnTo>
                    <a:pt x="21" y="29"/>
                  </a:lnTo>
                  <a:lnTo>
                    <a:pt x="0" y="23"/>
                  </a:lnTo>
                  <a:lnTo>
                    <a:pt x="28" y="0"/>
                  </a:lnTo>
                  <a:lnTo>
                    <a:pt x="41" y="0"/>
                  </a:lnTo>
                  <a:lnTo>
                    <a:pt x="50" y="8"/>
                  </a:lnTo>
                  <a:lnTo>
                    <a:pt x="63" y="8"/>
                  </a:lnTo>
                  <a:lnTo>
                    <a:pt x="67" y="46"/>
                  </a:lnTo>
                  <a:lnTo>
                    <a:pt x="86" y="69"/>
                  </a:lnTo>
                  <a:lnTo>
                    <a:pt x="95" y="69"/>
                  </a:lnTo>
                  <a:lnTo>
                    <a:pt x="115" y="42"/>
                  </a:lnTo>
                  <a:lnTo>
                    <a:pt x="143" y="25"/>
                  </a:lnTo>
                  <a:lnTo>
                    <a:pt x="206" y="54"/>
                  </a:lnTo>
                  <a:lnTo>
                    <a:pt x="204" y="20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51" name="Freeform 233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4981" y="2336"/>
              <a:ext cx="174" cy="137"/>
            </a:xfrm>
            <a:custGeom>
              <a:avLst/>
              <a:gdLst>
                <a:gd name="T0" fmla="*/ 4 w 194"/>
                <a:gd name="T1" fmla="*/ 59 h 137"/>
                <a:gd name="T2" fmla="*/ 4 w 194"/>
                <a:gd name="T3" fmla="*/ 49 h 137"/>
                <a:gd name="T4" fmla="*/ 4 w 194"/>
                <a:gd name="T5" fmla="*/ 42 h 137"/>
                <a:gd name="T6" fmla="*/ 4 w 194"/>
                <a:gd name="T7" fmla="*/ 25 h 137"/>
                <a:gd name="T8" fmla="*/ 4 w 194"/>
                <a:gd name="T9" fmla="*/ 12 h 137"/>
                <a:gd name="T10" fmla="*/ 4 w 194"/>
                <a:gd name="T11" fmla="*/ 0 h 137"/>
                <a:gd name="T12" fmla="*/ 4 w 194"/>
                <a:gd name="T13" fmla="*/ 38 h 137"/>
                <a:gd name="T14" fmla="*/ 4 w 194"/>
                <a:gd name="T15" fmla="*/ 48 h 137"/>
                <a:gd name="T16" fmla="*/ 4 w 194"/>
                <a:gd name="T17" fmla="*/ 52 h 137"/>
                <a:gd name="T18" fmla="*/ 4 w 194"/>
                <a:gd name="T19" fmla="*/ 59 h 137"/>
                <a:gd name="T20" fmla="*/ 4 w 194"/>
                <a:gd name="T21" fmla="*/ 54 h 137"/>
                <a:gd name="T22" fmla="*/ 4 w 194"/>
                <a:gd name="T23" fmla="*/ 67 h 137"/>
                <a:gd name="T24" fmla="*/ 4 w 194"/>
                <a:gd name="T25" fmla="*/ 56 h 137"/>
                <a:gd name="T26" fmla="*/ 4 w 194"/>
                <a:gd name="T27" fmla="*/ 91 h 137"/>
                <a:gd name="T28" fmla="*/ 4 w 194"/>
                <a:gd name="T29" fmla="*/ 95 h 137"/>
                <a:gd name="T30" fmla="*/ 4 w 194"/>
                <a:gd name="T31" fmla="*/ 124 h 137"/>
                <a:gd name="T32" fmla="*/ 0 w 194"/>
                <a:gd name="T33" fmla="*/ 114 h 137"/>
                <a:gd name="T34" fmla="*/ 4 w 194"/>
                <a:gd name="T35" fmla="*/ 137 h 137"/>
                <a:gd name="T36" fmla="*/ 4 w 194"/>
                <a:gd name="T37" fmla="*/ 137 h 137"/>
                <a:gd name="T38" fmla="*/ 4 w 194"/>
                <a:gd name="T39" fmla="*/ 125 h 137"/>
                <a:gd name="T40" fmla="*/ 4 w 194"/>
                <a:gd name="T41" fmla="*/ 133 h 137"/>
                <a:gd name="T42" fmla="*/ 4 w 194"/>
                <a:gd name="T43" fmla="*/ 122 h 137"/>
                <a:gd name="T44" fmla="*/ 4 w 194"/>
                <a:gd name="T45" fmla="*/ 63 h 137"/>
                <a:gd name="T46" fmla="*/ 4 w 194"/>
                <a:gd name="T47" fmla="*/ 60 h 137"/>
                <a:gd name="T48" fmla="*/ 4 w 194"/>
                <a:gd name="T49" fmla="*/ 65 h 137"/>
                <a:gd name="T50" fmla="*/ 4 w 194"/>
                <a:gd name="T51" fmla="*/ 59 h 13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94"/>
                <a:gd name="T79" fmla="*/ 0 h 137"/>
                <a:gd name="T80" fmla="*/ 194 w 194"/>
                <a:gd name="T81" fmla="*/ 137 h 13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94" h="137">
                  <a:moveTo>
                    <a:pt x="182" y="59"/>
                  </a:moveTo>
                  <a:lnTo>
                    <a:pt x="175" y="49"/>
                  </a:lnTo>
                  <a:lnTo>
                    <a:pt x="194" y="42"/>
                  </a:lnTo>
                  <a:lnTo>
                    <a:pt x="164" y="25"/>
                  </a:lnTo>
                  <a:lnTo>
                    <a:pt x="163" y="12"/>
                  </a:lnTo>
                  <a:lnTo>
                    <a:pt x="147" y="0"/>
                  </a:lnTo>
                  <a:lnTo>
                    <a:pt x="117" y="38"/>
                  </a:lnTo>
                  <a:lnTo>
                    <a:pt x="113" y="48"/>
                  </a:lnTo>
                  <a:lnTo>
                    <a:pt x="117" y="52"/>
                  </a:lnTo>
                  <a:lnTo>
                    <a:pt x="113" y="59"/>
                  </a:lnTo>
                  <a:lnTo>
                    <a:pt x="104" y="54"/>
                  </a:lnTo>
                  <a:lnTo>
                    <a:pt x="101" y="67"/>
                  </a:lnTo>
                  <a:lnTo>
                    <a:pt x="89" y="56"/>
                  </a:lnTo>
                  <a:lnTo>
                    <a:pt x="61" y="91"/>
                  </a:lnTo>
                  <a:lnTo>
                    <a:pt x="39" y="95"/>
                  </a:lnTo>
                  <a:lnTo>
                    <a:pt x="32" y="124"/>
                  </a:lnTo>
                  <a:lnTo>
                    <a:pt x="0" y="114"/>
                  </a:lnTo>
                  <a:lnTo>
                    <a:pt x="16" y="137"/>
                  </a:lnTo>
                  <a:lnTo>
                    <a:pt x="46" y="137"/>
                  </a:lnTo>
                  <a:lnTo>
                    <a:pt x="55" y="125"/>
                  </a:lnTo>
                  <a:lnTo>
                    <a:pt x="83" y="133"/>
                  </a:lnTo>
                  <a:lnTo>
                    <a:pt x="103" y="122"/>
                  </a:lnTo>
                  <a:lnTo>
                    <a:pt x="124" y="63"/>
                  </a:lnTo>
                  <a:lnTo>
                    <a:pt x="137" y="60"/>
                  </a:lnTo>
                  <a:lnTo>
                    <a:pt x="163" y="65"/>
                  </a:lnTo>
                  <a:lnTo>
                    <a:pt x="182" y="5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52" name="Freeform 234"/>
            <p:cNvSpPr>
              <a:spLocks noChangeAspect="1"/>
            </p:cNvSpPr>
            <p:nvPr/>
          </p:nvSpPr>
          <p:spPr bwMode="auto">
            <a:xfrm>
              <a:off x="5062" y="2384"/>
              <a:ext cx="24" cy="19"/>
            </a:xfrm>
            <a:custGeom>
              <a:avLst/>
              <a:gdLst>
                <a:gd name="T0" fmla="*/ 3 w 28"/>
                <a:gd name="T1" fmla="*/ 4 h 19"/>
                <a:gd name="T2" fmla="*/ 3 w 28"/>
                <a:gd name="T3" fmla="*/ 11 h 19"/>
                <a:gd name="T4" fmla="*/ 3 w 28"/>
                <a:gd name="T5" fmla="*/ 6 h 19"/>
                <a:gd name="T6" fmla="*/ 3 w 28"/>
                <a:gd name="T7" fmla="*/ 19 h 19"/>
                <a:gd name="T8" fmla="*/ 0 w 28"/>
                <a:gd name="T9" fmla="*/ 8 h 19"/>
                <a:gd name="T10" fmla="*/ 3 w 28"/>
                <a:gd name="T11" fmla="*/ 0 h 19"/>
                <a:gd name="T12" fmla="*/ 3 w 28"/>
                <a:gd name="T13" fmla="*/ 4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19"/>
                <a:gd name="T23" fmla="*/ 28 w 28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19">
                  <a:moveTo>
                    <a:pt x="28" y="4"/>
                  </a:moveTo>
                  <a:lnTo>
                    <a:pt x="24" y="11"/>
                  </a:lnTo>
                  <a:lnTo>
                    <a:pt x="15" y="6"/>
                  </a:lnTo>
                  <a:lnTo>
                    <a:pt x="12" y="19"/>
                  </a:lnTo>
                  <a:lnTo>
                    <a:pt x="0" y="8"/>
                  </a:lnTo>
                  <a:lnTo>
                    <a:pt x="24" y="0"/>
                  </a:lnTo>
                  <a:lnTo>
                    <a:pt x="28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53" name="Freeform 235"/>
            <p:cNvSpPr>
              <a:spLocks noChangeAspect="1"/>
            </p:cNvSpPr>
            <p:nvPr/>
          </p:nvSpPr>
          <p:spPr bwMode="auto">
            <a:xfrm>
              <a:off x="4936" y="2037"/>
              <a:ext cx="39" cy="41"/>
            </a:xfrm>
            <a:custGeom>
              <a:avLst/>
              <a:gdLst>
                <a:gd name="T0" fmla="*/ 0 w 44"/>
                <a:gd name="T1" fmla="*/ 15 h 41"/>
                <a:gd name="T2" fmla="*/ 4 w 44"/>
                <a:gd name="T3" fmla="*/ 35 h 41"/>
                <a:gd name="T4" fmla="*/ 4 w 44"/>
                <a:gd name="T5" fmla="*/ 41 h 41"/>
                <a:gd name="T6" fmla="*/ 4 w 44"/>
                <a:gd name="T7" fmla="*/ 28 h 41"/>
                <a:gd name="T8" fmla="*/ 4 w 44"/>
                <a:gd name="T9" fmla="*/ 0 h 41"/>
                <a:gd name="T10" fmla="*/ 4 w 44"/>
                <a:gd name="T11" fmla="*/ 2 h 41"/>
                <a:gd name="T12" fmla="*/ 0 w 44"/>
                <a:gd name="T13" fmla="*/ 15 h 4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4"/>
                <a:gd name="T22" fmla="*/ 0 h 41"/>
                <a:gd name="T23" fmla="*/ 44 w 44"/>
                <a:gd name="T24" fmla="*/ 41 h 4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4" h="41">
                  <a:moveTo>
                    <a:pt x="0" y="15"/>
                  </a:moveTo>
                  <a:lnTo>
                    <a:pt x="5" y="35"/>
                  </a:lnTo>
                  <a:lnTo>
                    <a:pt x="23" y="41"/>
                  </a:lnTo>
                  <a:lnTo>
                    <a:pt x="38" y="28"/>
                  </a:lnTo>
                  <a:lnTo>
                    <a:pt x="44" y="0"/>
                  </a:lnTo>
                  <a:lnTo>
                    <a:pt x="16" y="2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54" name="Freeform 236"/>
            <p:cNvSpPr>
              <a:spLocks noChangeAspect="1"/>
            </p:cNvSpPr>
            <p:nvPr/>
          </p:nvSpPr>
          <p:spPr bwMode="auto">
            <a:xfrm>
              <a:off x="5129" y="1917"/>
              <a:ext cx="24" cy="75"/>
            </a:xfrm>
            <a:custGeom>
              <a:avLst/>
              <a:gdLst>
                <a:gd name="T0" fmla="*/ 0 w 28"/>
                <a:gd name="T1" fmla="*/ 36 h 75"/>
                <a:gd name="T2" fmla="*/ 3 w 28"/>
                <a:gd name="T3" fmla="*/ 60 h 75"/>
                <a:gd name="T4" fmla="*/ 3 w 28"/>
                <a:gd name="T5" fmla="*/ 75 h 75"/>
                <a:gd name="T6" fmla="*/ 3 w 28"/>
                <a:gd name="T7" fmla="*/ 3 h 75"/>
                <a:gd name="T8" fmla="*/ 3 w 28"/>
                <a:gd name="T9" fmla="*/ 0 h 75"/>
                <a:gd name="T10" fmla="*/ 3 w 28"/>
                <a:gd name="T11" fmla="*/ 6 h 75"/>
                <a:gd name="T12" fmla="*/ 0 w 28"/>
                <a:gd name="T13" fmla="*/ 36 h 7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75"/>
                <a:gd name="T23" fmla="*/ 28 w 28"/>
                <a:gd name="T24" fmla="*/ 75 h 7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75">
                  <a:moveTo>
                    <a:pt x="0" y="36"/>
                  </a:moveTo>
                  <a:lnTo>
                    <a:pt x="7" y="60"/>
                  </a:lnTo>
                  <a:lnTo>
                    <a:pt x="19" y="75"/>
                  </a:lnTo>
                  <a:lnTo>
                    <a:pt x="28" y="3"/>
                  </a:lnTo>
                  <a:lnTo>
                    <a:pt x="20" y="0"/>
                  </a:lnTo>
                  <a:lnTo>
                    <a:pt x="12" y="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55" name="Freeform 23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4720" y="2367"/>
              <a:ext cx="198" cy="262"/>
            </a:xfrm>
            <a:custGeom>
              <a:avLst/>
              <a:gdLst>
                <a:gd name="T0" fmla="*/ 0 w 221"/>
                <a:gd name="T1" fmla="*/ 0 h 262"/>
                <a:gd name="T2" fmla="*/ 4 w 221"/>
                <a:gd name="T3" fmla="*/ 20 h 262"/>
                <a:gd name="T4" fmla="*/ 4 w 221"/>
                <a:gd name="T5" fmla="*/ 43 h 262"/>
                <a:gd name="T6" fmla="*/ 4 w 221"/>
                <a:gd name="T7" fmla="*/ 74 h 262"/>
                <a:gd name="T8" fmla="*/ 4 w 221"/>
                <a:gd name="T9" fmla="*/ 87 h 262"/>
                <a:gd name="T10" fmla="*/ 4 w 221"/>
                <a:gd name="T11" fmla="*/ 122 h 262"/>
                <a:gd name="T12" fmla="*/ 4 w 221"/>
                <a:gd name="T13" fmla="*/ 145 h 262"/>
                <a:gd name="T14" fmla="*/ 4 w 221"/>
                <a:gd name="T15" fmla="*/ 177 h 262"/>
                <a:gd name="T16" fmla="*/ 4 w 221"/>
                <a:gd name="T17" fmla="*/ 202 h 262"/>
                <a:gd name="T18" fmla="*/ 4 w 221"/>
                <a:gd name="T19" fmla="*/ 258 h 262"/>
                <a:gd name="T20" fmla="*/ 4 w 221"/>
                <a:gd name="T21" fmla="*/ 262 h 262"/>
                <a:gd name="T22" fmla="*/ 4 w 221"/>
                <a:gd name="T23" fmla="*/ 256 h 262"/>
                <a:gd name="T24" fmla="*/ 4 w 221"/>
                <a:gd name="T25" fmla="*/ 262 h 262"/>
                <a:gd name="T26" fmla="*/ 4 w 221"/>
                <a:gd name="T27" fmla="*/ 199 h 262"/>
                <a:gd name="T28" fmla="*/ 4 w 221"/>
                <a:gd name="T29" fmla="*/ 183 h 262"/>
                <a:gd name="T30" fmla="*/ 4 w 221"/>
                <a:gd name="T31" fmla="*/ 183 h 262"/>
                <a:gd name="T32" fmla="*/ 4 w 221"/>
                <a:gd name="T33" fmla="*/ 152 h 262"/>
                <a:gd name="T34" fmla="*/ 4 w 221"/>
                <a:gd name="T35" fmla="*/ 152 h 262"/>
                <a:gd name="T36" fmla="*/ 4 w 221"/>
                <a:gd name="T37" fmla="*/ 145 h 262"/>
                <a:gd name="T38" fmla="*/ 4 w 221"/>
                <a:gd name="T39" fmla="*/ 126 h 262"/>
                <a:gd name="T40" fmla="*/ 4 w 221"/>
                <a:gd name="T41" fmla="*/ 116 h 262"/>
                <a:gd name="T42" fmla="*/ 4 w 221"/>
                <a:gd name="T43" fmla="*/ 104 h 262"/>
                <a:gd name="T44" fmla="*/ 4 w 221"/>
                <a:gd name="T45" fmla="*/ 77 h 262"/>
                <a:gd name="T46" fmla="*/ 4 w 221"/>
                <a:gd name="T47" fmla="*/ 80 h 262"/>
                <a:gd name="T48" fmla="*/ 4 w 221"/>
                <a:gd name="T49" fmla="*/ 9 h 262"/>
                <a:gd name="T50" fmla="*/ 0 w 221"/>
                <a:gd name="T51" fmla="*/ 0 h 2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21"/>
                <a:gd name="T79" fmla="*/ 0 h 262"/>
                <a:gd name="T80" fmla="*/ 221 w 221"/>
                <a:gd name="T81" fmla="*/ 262 h 26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21" h="262">
                  <a:moveTo>
                    <a:pt x="0" y="0"/>
                  </a:moveTo>
                  <a:lnTo>
                    <a:pt x="8" y="20"/>
                  </a:lnTo>
                  <a:lnTo>
                    <a:pt x="33" y="43"/>
                  </a:lnTo>
                  <a:lnTo>
                    <a:pt x="52" y="74"/>
                  </a:lnTo>
                  <a:lnTo>
                    <a:pt x="73" y="87"/>
                  </a:lnTo>
                  <a:lnTo>
                    <a:pt x="81" y="122"/>
                  </a:lnTo>
                  <a:lnTo>
                    <a:pt x="106" y="145"/>
                  </a:lnTo>
                  <a:lnTo>
                    <a:pt x="115" y="177"/>
                  </a:lnTo>
                  <a:lnTo>
                    <a:pt x="131" y="202"/>
                  </a:lnTo>
                  <a:lnTo>
                    <a:pt x="183" y="258"/>
                  </a:lnTo>
                  <a:lnTo>
                    <a:pt x="191" y="262"/>
                  </a:lnTo>
                  <a:lnTo>
                    <a:pt x="203" y="256"/>
                  </a:lnTo>
                  <a:lnTo>
                    <a:pt x="210" y="262"/>
                  </a:lnTo>
                  <a:lnTo>
                    <a:pt x="221" y="199"/>
                  </a:lnTo>
                  <a:lnTo>
                    <a:pt x="210" y="183"/>
                  </a:lnTo>
                  <a:lnTo>
                    <a:pt x="199" y="183"/>
                  </a:lnTo>
                  <a:lnTo>
                    <a:pt x="187" y="152"/>
                  </a:lnTo>
                  <a:lnTo>
                    <a:pt x="175" y="152"/>
                  </a:lnTo>
                  <a:lnTo>
                    <a:pt x="168" y="145"/>
                  </a:lnTo>
                  <a:lnTo>
                    <a:pt x="175" y="126"/>
                  </a:lnTo>
                  <a:lnTo>
                    <a:pt x="158" y="116"/>
                  </a:lnTo>
                  <a:lnTo>
                    <a:pt x="159" y="104"/>
                  </a:lnTo>
                  <a:lnTo>
                    <a:pt x="122" y="77"/>
                  </a:lnTo>
                  <a:lnTo>
                    <a:pt x="112" y="80"/>
                  </a:lnTo>
                  <a:lnTo>
                    <a:pt x="45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56" name="Freeform 238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4903" y="2630"/>
              <a:ext cx="163" cy="63"/>
            </a:xfrm>
            <a:custGeom>
              <a:avLst/>
              <a:gdLst>
                <a:gd name="T0" fmla="*/ 0 w 180"/>
                <a:gd name="T1" fmla="*/ 19 h 63"/>
                <a:gd name="T2" fmla="*/ 5 w 180"/>
                <a:gd name="T3" fmla="*/ 42 h 63"/>
                <a:gd name="T4" fmla="*/ 5 w 180"/>
                <a:gd name="T5" fmla="*/ 42 h 63"/>
                <a:gd name="T6" fmla="*/ 5 w 180"/>
                <a:gd name="T7" fmla="*/ 58 h 63"/>
                <a:gd name="T8" fmla="*/ 5 w 180"/>
                <a:gd name="T9" fmla="*/ 54 h 63"/>
                <a:gd name="T10" fmla="*/ 5 w 180"/>
                <a:gd name="T11" fmla="*/ 63 h 63"/>
                <a:gd name="T12" fmla="*/ 5 w 180"/>
                <a:gd name="T13" fmla="*/ 42 h 63"/>
                <a:gd name="T14" fmla="*/ 5 w 180"/>
                <a:gd name="T15" fmla="*/ 39 h 63"/>
                <a:gd name="T16" fmla="*/ 5 w 180"/>
                <a:gd name="T17" fmla="*/ 23 h 63"/>
                <a:gd name="T18" fmla="*/ 5 w 180"/>
                <a:gd name="T19" fmla="*/ 12 h 63"/>
                <a:gd name="T20" fmla="*/ 5 w 180"/>
                <a:gd name="T21" fmla="*/ 23 h 63"/>
                <a:gd name="T22" fmla="*/ 5 w 180"/>
                <a:gd name="T23" fmla="*/ 22 h 63"/>
                <a:gd name="T24" fmla="*/ 5 w 180"/>
                <a:gd name="T25" fmla="*/ 2 h 63"/>
                <a:gd name="T26" fmla="*/ 5 w 180"/>
                <a:gd name="T27" fmla="*/ 0 h 63"/>
                <a:gd name="T28" fmla="*/ 0 w 180"/>
                <a:gd name="T29" fmla="*/ 19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0"/>
                <a:gd name="T46" fmla="*/ 0 h 63"/>
                <a:gd name="T47" fmla="*/ 180 w 180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0" h="63">
                  <a:moveTo>
                    <a:pt x="0" y="19"/>
                  </a:moveTo>
                  <a:lnTo>
                    <a:pt x="50" y="42"/>
                  </a:lnTo>
                  <a:lnTo>
                    <a:pt x="82" y="42"/>
                  </a:lnTo>
                  <a:lnTo>
                    <a:pt x="139" y="58"/>
                  </a:lnTo>
                  <a:lnTo>
                    <a:pt x="152" y="54"/>
                  </a:lnTo>
                  <a:lnTo>
                    <a:pt x="178" y="63"/>
                  </a:lnTo>
                  <a:lnTo>
                    <a:pt x="180" y="42"/>
                  </a:lnTo>
                  <a:lnTo>
                    <a:pt x="148" y="39"/>
                  </a:lnTo>
                  <a:lnTo>
                    <a:pt x="141" y="23"/>
                  </a:lnTo>
                  <a:lnTo>
                    <a:pt x="109" y="12"/>
                  </a:lnTo>
                  <a:lnTo>
                    <a:pt x="102" y="23"/>
                  </a:lnTo>
                  <a:lnTo>
                    <a:pt x="73" y="22"/>
                  </a:lnTo>
                  <a:lnTo>
                    <a:pt x="40" y="2"/>
                  </a:lnTo>
                  <a:lnTo>
                    <a:pt x="13" y="0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57" name="Freeform 239"/>
            <p:cNvSpPr>
              <a:spLocks noChangeAspect="1"/>
            </p:cNvSpPr>
            <p:nvPr/>
          </p:nvSpPr>
          <p:spPr bwMode="auto">
            <a:xfrm>
              <a:off x="5066" y="2680"/>
              <a:ext cx="21" cy="15"/>
            </a:xfrm>
            <a:custGeom>
              <a:avLst/>
              <a:gdLst>
                <a:gd name="T0" fmla="*/ 0 w 24"/>
                <a:gd name="T1" fmla="*/ 4 h 15"/>
                <a:gd name="T2" fmla="*/ 4 w 24"/>
                <a:gd name="T3" fmla="*/ 15 h 15"/>
                <a:gd name="T4" fmla="*/ 4 w 24"/>
                <a:gd name="T5" fmla="*/ 6 h 15"/>
                <a:gd name="T6" fmla="*/ 4 w 24"/>
                <a:gd name="T7" fmla="*/ 0 h 15"/>
                <a:gd name="T8" fmla="*/ 0 w 24"/>
                <a:gd name="T9" fmla="*/ 4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5"/>
                <a:gd name="T17" fmla="*/ 24 w 24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5">
                  <a:moveTo>
                    <a:pt x="0" y="4"/>
                  </a:moveTo>
                  <a:lnTo>
                    <a:pt x="13" y="15"/>
                  </a:lnTo>
                  <a:lnTo>
                    <a:pt x="24" y="6"/>
                  </a:lnTo>
                  <a:lnTo>
                    <a:pt x="17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58" name="Freeform 240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092" y="2682"/>
              <a:ext cx="142" cy="23"/>
            </a:xfrm>
            <a:custGeom>
              <a:avLst/>
              <a:gdLst>
                <a:gd name="T0" fmla="*/ 0 w 156"/>
                <a:gd name="T1" fmla="*/ 19 h 23"/>
                <a:gd name="T2" fmla="*/ 5 w 156"/>
                <a:gd name="T3" fmla="*/ 23 h 23"/>
                <a:gd name="T4" fmla="*/ 5 w 156"/>
                <a:gd name="T5" fmla="*/ 11 h 23"/>
                <a:gd name="T6" fmla="*/ 5 w 156"/>
                <a:gd name="T7" fmla="*/ 17 h 23"/>
                <a:gd name="T8" fmla="*/ 5 w 156"/>
                <a:gd name="T9" fmla="*/ 6 h 23"/>
                <a:gd name="T10" fmla="*/ 5 w 156"/>
                <a:gd name="T11" fmla="*/ 2 h 23"/>
                <a:gd name="T12" fmla="*/ 5 w 156"/>
                <a:gd name="T13" fmla="*/ 13 h 23"/>
                <a:gd name="T14" fmla="*/ 5 w 156"/>
                <a:gd name="T15" fmla="*/ 2 h 23"/>
                <a:gd name="T16" fmla="*/ 5 w 156"/>
                <a:gd name="T17" fmla="*/ 11 h 23"/>
                <a:gd name="T18" fmla="*/ 5 w 156"/>
                <a:gd name="T19" fmla="*/ 0 h 23"/>
                <a:gd name="T20" fmla="*/ 5 w 156"/>
                <a:gd name="T21" fmla="*/ 10 h 23"/>
                <a:gd name="T22" fmla="*/ 5 w 156"/>
                <a:gd name="T23" fmla="*/ 4 h 23"/>
                <a:gd name="T24" fmla="*/ 2 w 156"/>
                <a:gd name="T25" fmla="*/ 7 h 23"/>
                <a:gd name="T26" fmla="*/ 0 w 156"/>
                <a:gd name="T27" fmla="*/ 19 h 2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6"/>
                <a:gd name="T43" fmla="*/ 0 h 23"/>
                <a:gd name="T44" fmla="*/ 156 w 156"/>
                <a:gd name="T45" fmla="*/ 23 h 2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6" h="23">
                  <a:moveTo>
                    <a:pt x="0" y="19"/>
                  </a:moveTo>
                  <a:lnTo>
                    <a:pt x="23" y="23"/>
                  </a:lnTo>
                  <a:lnTo>
                    <a:pt x="71" y="11"/>
                  </a:lnTo>
                  <a:lnTo>
                    <a:pt x="121" y="17"/>
                  </a:lnTo>
                  <a:lnTo>
                    <a:pt x="156" y="6"/>
                  </a:lnTo>
                  <a:lnTo>
                    <a:pt x="141" y="2"/>
                  </a:lnTo>
                  <a:lnTo>
                    <a:pt x="130" y="13"/>
                  </a:lnTo>
                  <a:lnTo>
                    <a:pt x="92" y="2"/>
                  </a:lnTo>
                  <a:lnTo>
                    <a:pt x="71" y="11"/>
                  </a:lnTo>
                  <a:lnTo>
                    <a:pt x="36" y="0"/>
                  </a:lnTo>
                  <a:lnTo>
                    <a:pt x="41" y="10"/>
                  </a:lnTo>
                  <a:lnTo>
                    <a:pt x="11" y="4"/>
                  </a:lnTo>
                  <a:lnTo>
                    <a:pt x="2" y="7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59" name="Freeform 241"/>
            <p:cNvSpPr>
              <a:spLocks noChangeAspect="1"/>
            </p:cNvSpPr>
            <p:nvPr/>
          </p:nvSpPr>
          <p:spPr bwMode="auto">
            <a:xfrm>
              <a:off x="5244" y="2682"/>
              <a:ext cx="17" cy="7"/>
            </a:xfrm>
            <a:custGeom>
              <a:avLst/>
              <a:gdLst>
                <a:gd name="T0" fmla="*/ 0 w 19"/>
                <a:gd name="T1" fmla="*/ 7 h 7"/>
                <a:gd name="T2" fmla="*/ 4 w 19"/>
                <a:gd name="T3" fmla="*/ 4 h 7"/>
                <a:gd name="T4" fmla="*/ 4 w 19"/>
                <a:gd name="T5" fmla="*/ 0 h 7"/>
                <a:gd name="T6" fmla="*/ 0 w 19"/>
                <a:gd name="T7" fmla="*/ 7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7"/>
                <a:gd name="T14" fmla="*/ 19 w 19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7">
                  <a:moveTo>
                    <a:pt x="0" y="7"/>
                  </a:moveTo>
                  <a:lnTo>
                    <a:pt x="19" y="4"/>
                  </a:lnTo>
                  <a:lnTo>
                    <a:pt x="5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60" name="Freeform 242"/>
            <p:cNvSpPr>
              <a:spLocks noChangeAspect="1"/>
            </p:cNvSpPr>
            <p:nvPr/>
          </p:nvSpPr>
          <p:spPr bwMode="auto">
            <a:xfrm>
              <a:off x="5272" y="2669"/>
              <a:ext cx="16" cy="9"/>
            </a:xfrm>
            <a:custGeom>
              <a:avLst/>
              <a:gdLst>
                <a:gd name="T0" fmla="*/ 0 w 17"/>
                <a:gd name="T1" fmla="*/ 9 h 9"/>
                <a:gd name="T2" fmla="*/ 8 w 17"/>
                <a:gd name="T3" fmla="*/ 9 h 9"/>
                <a:gd name="T4" fmla="*/ 8 w 17"/>
                <a:gd name="T5" fmla="*/ 0 h 9"/>
                <a:gd name="T6" fmla="*/ 4 w 17"/>
                <a:gd name="T7" fmla="*/ 2 h 9"/>
                <a:gd name="T8" fmla="*/ 0 w 17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9"/>
                <a:gd name="T17" fmla="*/ 17 w 1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9">
                  <a:moveTo>
                    <a:pt x="0" y="9"/>
                  </a:moveTo>
                  <a:lnTo>
                    <a:pt x="12" y="9"/>
                  </a:lnTo>
                  <a:lnTo>
                    <a:pt x="17" y="0"/>
                  </a:lnTo>
                  <a:lnTo>
                    <a:pt x="4" y="2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61" name="Freeform 243"/>
            <p:cNvSpPr>
              <a:spLocks noChangeAspect="1"/>
            </p:cNvSpPr>
            <p:nvPr/>
          </p:nvSpPr>
          <p:spPr bwMode="auto">
            <a:xfrm>
              <a:off x="5146" y="2711"/>
              <a:ext cx="35" cy="21"/>
            </a:xfrm>
            <a:custGeom>
              <a:avLst/>
              <a:gdLst>
                <a:gd name="T0" fmla="*/ 0 w 38"/>
                <a:gd name="T1" fmla="*/ 1 h 21"/>
                <a:gd name="T2" fmla="*/ 3 w 38"/>
                <a:gd name="T3" fmla="*/ 9 h 21"/>
                <a:gd name="T4" fmla="*/ 6 w 38"/>
                <a:gd name="T5" fmla="*/ 21 h 21"/>
                <a:gd name="T6" fmla="*/ 6 w 38"/>
                <a:gd name="T7" fmla="*/ 15 h 21"/>
                <a:gd name="T8" fmla="*/ 6 w 38"/>
                <a:gd name="T9" fmla="*/ 0 h 21"/>
                <a:gd name="T10" fmla="*/ 0 w 38"/>
                <a:gd name="T11" fmla="*/ 1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21"/>
                <a:gd name="T20" fmla="*/ 38 w 38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21">
                  <a:moveTo>
                    <a:pt x="0" y="1"/>
                  </a:moveTo>
                  <a:lnTo>
                    <a:pt x="3" y="9"/>
                  </a:lnTo>
                  <a:lnTo>
                    <a:pt x="28" y="21"/>
                  </a:lnTo>
                  <a:lnTo>
                    <a:pt x="38" y="15"/>
                  </a:lnTo>
                  <a:lnTo>
                    <a:pt x="2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62" name="Freeform 244"/>
            <p:cNvSpPr>
              <a:spLocks noChangeAspect="1"/>
            </p:cNvSpPr>
            <p:nvPr/>
          </p:nvSpPr>
          <p:spPr bwMode="auto">
            <a:xfrm>
              <a:off x="5426" y="2620"/>
              <a:ext cx="12" cy="35"/>
            </a:xfrm>
            <a:custGeom>
              <a:avLst/>
              <a:gdLst>
                <a:gd name="T0" fmla="*/ 0 w 13"/>
                <a:gd name="T1" fmla="*/ 35 h 35"/>
                <a:gd name="T2" fmla="*/ 6 w 13"/>
                <a:gd name="T3" fmla="*/ 12 h 35"/>
                <a:gd name="T4" fmla="*/ 6 w 13"/>
                <a:gd name="T5" fmla="*/ 0 h 35"/>
                <a:gd name="T6" fmla="*/ 0 w 13"/>
                <a:gd name="T7" fmla="*/ 35 h 3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35"/>
                <a:gd name="T14" fmla="*/ 13 w 13"/>
                <a:gd name="T15" fmla="*/ 35 h 3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35">
                  <a:moveTo>
                    <a:pt x="0" y="35"/>
                  </a:moveTo>
                  <a:lnTo>
                    <a:pt x="13" y="12"/>
                  </a:lnTo>
                  <a:lnTo>
                    <a:pt x="11" y="0"/>
                  </a:lnTo>
                  <a:lnTo>
                    <a:pt x="0" y="3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63" name="Freeform 245"/>
            <p:cNvSpPr>
              <a:spLocks noChangeAspect="1"/>
            </p:cNvSpPr>
            <p:nvPr/>
          </p:nvSpPr>
          <p:spPr bwMode="auto">
            <a:xfrm>
              <a:off x="4903" y="2530"/>
              <a:ext cx="26" cy="36"/>
            </a:xfrm>
            <a:custGeom>
              <a:avLst/>
              <a:gdLst>
                <a:gd name="T0" fmla="*/ 0 w 30"/>
                <a:gd name="T1" fmla="*/ 10 h 36"/>
                <a:gd name="T2" fmla="*/ 3 w 30"/>
                <a:gd name="T3" fmla="*/ 13 h 36"/>
                <a:gd name="T4" fmla="*/ 3 w 30"/>
                <a:gd name="T5" fmla="*/ 28 h 36"/>
                <a:gd name="T6" fmla="*/ 3 w 30"/>
                <a:gd name="T7" fmla="*/ 36 h 36"/>
                <a:gd name="T8" fmla="*/ 3 w 30"/>
                <a:gd name="T9" fmla="*/ 23 h 36"/>
                <a:gd name="T10" fmla="*/ 3 w 30"/>
                <a:gd name="T11" fmla="*/ 22 h 36"/>
                <a:gd name="T12" fmla="*/ 3 w 30"/>
                <a:gd name="T13" fmla="*/ 0 h 36"/>
                <a:gd name="T14" fmla="*/ 0 w 30"/>
                <a:gd name="T15" fmla="*/ 10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0"/>
                <a:gd name="T25" fmla="*/ 0 h 36"/>
                <a:gd name="T26" fmla="*/ 30 w 30"/>
                <a:gd name="T27" fmla="*/ 36 h 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0" h="36">
                  <a:moveTo>
                    <a:pt x="0" y="10"/>
                  </a:moveTo>
                  <a:lnTo>
                    <a:pt x="11" y="13"/>
                  </a:lnTo>
                  <a:lnTo>
                    <a:pt x="13" y="28"/>
                  </a:lnTo>
                  <a:lnTo>
                    <a:pt x="28" y="36"/>
                  </a:lnTo>
                  <a:lnTo>
                    <a:pt x="30" y="23"/>
                  </a:lnTo>
                  <a:lnTo>
                    <a:pt x="24" y="22"/>
                  </a:lnTo>
                  <a:lnTo>
                    <a:pt x="16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64" name="Freeform 246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150" y="2456"/>
              <a:ext cx="118" cy="170"/>
            </a:xfrm>
            <a:custGeom>
              <a:avLst/>
              <a:gdLst>
                <a:gd name="T0" fmla="*/ 0 w 131"/>
                <a:gd name="T1" fmla="*/ 106 h 170"/>
                <a:gd name="T2" fmla="*/ 3 w 131"/>
                <a:gd name="T3" fmla="*/ 120 h 170"/>
                <a:gd name="T4" fmla="*/ 5 w 131"/>
                <a:gd name="T5" fmla="*/ 120 h 170"/>
                <a:gd name="T6" fmla="*/ 5 w 131"/>
                <a:gd name="T7" fmla="*/ 133 h 170"/>
                <a:gd name="T8" fmla="*/ 5 w 131"/>
                <a:gd name="T9" fmla="*/ 169 h 170"/>
                <a:gd name="T10" fmla="*/ 5 w 131"/>
                <a:gd name="T11" fmla="*/ 167 h 170"/>
                <a:gd name="T12" fmla="*/ 5 w 131"/>
                <a:gd name="T13" fmla="*/ 110 h 170"/>
                <a:gd name="T14" fmla="*/ 5 w 131"/>
                <a:gd name="T15" fmla="*/ 102 h 170"/>
                <a:gd name="T16" fmla="*/ 5 w 131"/>
                <a:gd name="T17" fmla="*/ 102 h 170"/>
                <a:gd name="T18" fmla="*/ 5 w 131"/>
                <a:gd name="T19" fmla="*/ 119 h 170"/>
                <a:gd name="T20" fmla="*/ 5 w 131"/>
                <a:gd name="T21" fmla="*/ 134 h 170"/>
                <a:gd name="T22" fmla="*/ 5 w 131"/>
                <a:gd name="T23" fmla="*/ 147 h 170"/>
                <a:gd name="T24" fmla="*/ 5 w 131"/>
                <a:gd name="T25" fmla="*/ 152 h 170"/>
                <a:gd name="T26" fmla="*/ 5 w 131"/>
                <a:gd name="T27" fmla="*/ 146 h 170"/>
                <a:gd name="T28" fmla="*/ 5 w 131"/>
                <a:gd name="T29" fmla="*/ 163 h 170"/>
                <a:gd name="T30" fmla="*/ 5 w 131"/>
                <a:gd name="T31" fmla="*/ 170 h 170"/>
                <a:gd name="T32" fmla="*/ 5 w 131"/>
                <a:gd name="T33" fmla="*/ 163 h 170"/>
                <a:gd name="T34" fmla="*/ 5 w 131"/>
                <a:gd name="T35" fmla="*/ 150 h 170"/>
                <a:gd name="T36" fmla="*/ 5 w 131"/>
                <a:gd name="T37" fmla="*/ 120 h 170"/>
                <a:gd name="T38" fmla="*/ 5 w 131"/>
                <a:gd name="T39" fmla="*/ 113 h 170"/>
                <a:gd name="T40" fmla="*/ 5 w 131"/>
                <a:gd name="T41" fmla="*/ 84 h 170"/>
                <a:gd name="T42" fmla="*/ 5 w 131"/>
                <a:gd name="T43" fmla="*/ 61 h 170"/>
                <a:gd name="T44" fmla="*/ 5 w 131"/>
                <a:gd name="T45" fmla="*/ 61 h 170"/>
                <a:gd name="T46" fmla="*/ 5 w 131"/>
                <a:gd name="T47" fmla="*/ 54 h 170"/>
                <a:gd name="T48" fmla="*/ 5 w 131"/>
                <a:gd name="T49" fmla="*/ 71 h 170"/>
                <a:gd name="T50" fmla="*/ 5 w 131"/>
                <a:gd name="T51" fmla="*/ 61 h 170"/>
                <a:gd name="T52" fmla="*/ 5 w 131"/>
                <a:gd name="T53" fmla="*/ 56 h 170"/>
                <a:gd name="T54" fmla="*/ 5 w 131"/>
                <a:gd name="T55" fmla="*/ 43 h 170"/>
                <a:gd name="T56" fmla="*/ 5 w 131"/>
                <a:gd name="T57" fmla="*/ 30 h 170"/>
                <a:gd name="T58" fmla="*/ 5 w 131"/>
                <a:gd name="T59" fmla="*/ 33 h 170"/>
                <a:gd name="T60" fmla="*/ 5 w 131"/>
                <a:gd name="T61" fmla="*/ 27 h 170"/>
                <a:gd name="T62" fmla="*/ 5 w 131"/>
                <a:gd name="T63" fmla="*/ 6 h 170"/>
                <a:gd name="T64" fmla="*/ 5 w 131"/>
                <a:gd name="T65" fmla="*/ 0 h 170"/>
                <a:gd name="T66" fmla="*/ 5 w 131"/>
                <a:gd name="T67" fmla="*/ 20 h 170"/>
                <a:gd name="T68" fmla="*/ 5 w 131"/>
                <a:gd name="T69" fmla="*/ 21 h 170"/>
                <a:gd name="T70" fmla="*/ 5 w 131"/>
                <a:gd name="T71" fmla="*/ 10 h 170"/>
                <a:gd name="T72" fmla="*/ 5 w 131"/>
                <a:gd name="T73" fmla="*/ 23 h 170"/>
                <a:gd name="T74" fmla="*/ 5 w 131"/>
                <a:gd name="T75" fmla="*/ 23 h 170"/>
                <a:gd name="T76" fmla="*/ 5 w 131"/>
                <a:gd name="T77" fmla="*/ 54 h 170"/>
                <a:gd name="T78" fmla="*/ 0 w 131"/>
                <a:gd name="T79" fmla="*/ 106 h 17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31"/>
                <a:gd name="T121" fmla="*/ 0 h 170"/>
                <a:gd name="T122" fmla="*/ 131 w 131"/>
                <a:gd name="T123" fmla="*/ 170 h 17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31" h="170">
                  <a:moveTo>
                    <a:pt x="0" y="106"/>
                  </a:moveTo>
                  <a:lnTo>
                    <a:pt x="3" y="120"/>
                  </a:lnTo>
                  <a:lnTo>
                    <a:pt x="13" y="120"/>
                  </a:lnTo>
                  <a:lnTo>
                    <a:pt x="16" y="133"/>
                  </a:lnTo>
                  <a:lnTo>
                    <a:pt x="11" y="169"/>
                  </a:lnTo>
                  <a:lnTo>
                    <a:pt x="29" y="167"/>
                  </a:lnTo>
                  <a:lnTo>
                    <a:pt x="29" y="110"/>
                  </a:lnTo>
                  <a:lnTo>
                    <a:pt x="38" y="102"/>
                  </a:lnTo>
                  <a:lnTo>
                    <a:pt x="46" y="102"/>
                  </a:lnTo>
                  <a:lnTo>
                    <a:pt x="41" y="119"/>
                  </a:lnTo>
                  <a:lnTo>
                    <a:pt x="56" y="134"/>
                  </a:lnTo>
                  <a:lnTo>
                    <a:pt x="55" y="147"/>
                  </a:lnTo>
                  <a:lnTo>
                    <a:pt x="62" y="152"/>
                  </a:lnTo>
                  <a:lnTo>
                    <a:pt x="69" y="146"/>
                  </a:lnTo>
                  <a:lnTo>
                    <a:pt x="68" y="163"/>
                  </a:lnTo>
                  <a:lnTo>
                    <a:pt x="75" y="170"/>
                  </a:lnTo>
                  <a:lnTo>
                    <a:pt x="85" y="163"/>
                  </a:lnTo>
                  <a:lnTo>
                    <a:pt x="86" y="150"/>
                  </a:lnTo>
                  <a:lnTo>
                    <a:pt x="66" y="120"/>
                  </a:lnTo>
                  <a:lnTo>
                    <a:pt x="73" y="113"/>
                  </a:lnTo>
                  <a:lnTo>
                    <a:pt x="55" y="84"/>
                  </a:lnTo>
                  <a:lnTo>
                    <a:pt x="84" y="61"/>
                  </a:lnTo>
                  <a:lnTo>
                    <a:pt x="96" y="61"/>
                  </a:lnTo>
                  <a:lnTo>
                    <a:pt x="89" y="54"/>
                  </a:lnTo>
                  <a:lnTo>
                    <a:pt x="38" y="71"/>
                  </a:lnTo>
                  <a:lnTo>
                    <a:pt x="37" y="61"/>
                  </a:lnTo>
                  <a:lnTo>
                    <a:pt x="27" y="56"/>
                  </a:lnTo>
                  <a:lnTo>
                    <a:pt x="27" y="43"/>
                  </a:lnTo>
                  <a:lnTo>
                    <a:pt x="39" y="30"/>
                  </a:lnTo>
                  <a:lnTo>
                    <a:pt x="96" y="33"/>
                  </a:lnTo>
                  <a:lnTo>
                    <a:pt x="118" y="27"/>
                  </a:lnTo>
                  <a:lnTo>
                    <a:pt x="131" y="6"/>
                  </a:lnTo>
                  <a:lnTo>
                    <a:pt x="126" y="0"/>
                  </a:lnTo>
                  <a:lnTo>
                    <a:pt x="104" y="20"/>
                  </a:lnTo>
                  <a:lnTo>
                    <a:pt x="84" y="21"/>
                  </a:lnTo>
                  <a:lnTo>
                    <a:pt x="43" y="10"/>
                  </a:lnTo>
                  <a:lnTo>
                    <a:pt x="38" y="23"/>
                  </a:lnTo>
                  <a:lnTo>
                    <a:pt x="24" y="23"/>
                  </a:lnTo>
                  <a:lnTo>
                    <a:pt x="22" y="54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65" name="Freeform 24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307" y="2447"/>
              <a:ext cx="23" cy="70"/>
            </a:xfrm>
            <a:custGeom>
              <a:avLst/>
              <a:gdLst>
                <a:gd name="T0" fmla="*/ 0 w 26"/>
                <a:gd name="T1" fmla="*/ 24 h 70"/>
                <a:gd name="T2" fmla="*/ 4 w 26"/>
                <a:gd name="T3" fmla="*/ 53 h 70"/>
                <a:gd name="T4" fmla="*/ 4 w 26"/>
                <a:gd name="T5" fmla="*/ 70 h 70"/>
                <a:gd name="T6" fmla="*/ 4 w 26"/>
                <a:gd name="T7" fmla="*/ 49 h 70"/>
                <a:gd name="T8" fmla="*/ 4 w 26"/>
                <a:gd name="T9" fmla="*/ 39 h 70"/>
                <a:gd name="T10" fmla="*/ 4 w 26"/>
                <a:gd name="T11" fmla="*/ 39 h 70"/>
                <a:gd name="T12" fmla="*/ 4 w 26"/>
                <a:gd name="T13" fmla="*/ 30 h 70"/>
                <a:gd name="T14" fmla="*/ 4 w 26"/>
                <a:gd name="T15" fmla="*/ 24 h 70"/>
                <a:gd name="T16" fmla="*/ 4 w 26"/>
                <a:gd name="T17" fmla="*/ 13 h 70"/>
                <a:gd name="T18" fmla="*/ 4 w 26"/>
                <a:gd name="T19" fmla="*/ 19 h 70"/>
                <a:gd name="T20" fmla="*/ 4 w 26"/>
                <a:gd name="T21" fmla="*/ 0 h 70"/>
                <a:gd name="T22" fmla="*/ 4 w 26"/>
                <a:gd name="T23" fmla="*/ 6 h 70"/>
                <a:gd name="T24" fmla="*/ 0 w 26"/>
                <a:gd name="T25" fmla="*/ 24 h 7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70"/>
                <a:gd name="T41" fmla="*/ 26 w 26"/>
                <a:gd name="T42" fmla="*/ 70 h 7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70">
                  <a:moveTo>
                    <a:pt x="0" y="24"/>
                  </a:moveTo>
                  <a:lnTo>
                    <a:pt x="4" y="53"/>
                  </a:lnTo>
                  <a:lnTo>
                    <a:pt x="21" y="70"/>
                  </a:lnTo>
                  <a:lnTo>
                    <a:pt x="12" y="49"/>
                  </a:lnTo>
                  <a:lnTo>
                    <a:pt x="13" y="39"/>
                  </a:lnTo>
                  <a:lnTo>
                    <a:pt x="23" y="39"/>
                  </a:lnTo>
                  <a:lnTo>
                    <a:pt x="18" y="30"/>
                  </a:lnTo>
                  <a:lnTo>
                    <a:pt x="26" y="24"/>
                  </a:lnTo>
                  <a:lnTo>
                    <a:pt x="26" y="13"/>
                  </a:lnTo>
                  <a:lnTo>
                    <a:pt x="14" y="19"/>
                  </a:lnTo>
                  <a:lnTo>
                    <a:pt x="12" y="0"/>
                  </a:lnTo>
                  <a:lnTo>
                    <a:pt x="4" y="6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66" name="Freeform 248"/>
            <p:cNvSpPr>
              <a:spLocks noChangeAspect="1"/>
            </p:cNvSpPr>
            <p:nvPr/>
          </p:nvSpPr>
          <p:spPr bwMode="auto">
            <a:xfrm>
              <a:off x="5280" y="2569"/>
              <a:ext cx="23" cy="16"/>
            </a:xfrm>
            <a:custGeom>
              <a:avLst/>
              <a:gdLst>
                <a:gd name="T0" fmla="*/ 0 w 25"/>
                <a:gd name="T1" fmla="*/ 3 h 16"/>
                <a:gd name="T2" fmla="*/ 6 w 25"/>
                <a:gd name="T3" fmla="*/ 16 h 16"/>
                <a:gd name="T4" fmla="*/ 6 w 25"/>
                <a:gd name="T5" fmla="*/ 10 h 16"/>
                <a:gd name="T6" fmla="*/ 6 w 25"/>
                <a:gd name="T7" fmla="*/ 0 h 16"/>
                <a:gd name="T8" fmla="*/ 0 w 25"/>
                <a:gd name="T9" fmla="*/ 3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16"/>
                <a:gd name="T17" fmla="*/ 25 w 25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16">
                  <a:moveTo>
                    <a:pt x="0" y="3"/>
                  </a:moveTo>
                  <a:lnTo>
                    <a:pt x="17" y="16"/>
                  </a:lnTo>
                  <a:lnTo>
                    <a:pt x="25" y="10"/>
                  </a:lnTo>
                  <a:lnTo>
                    <a:pt x="21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67" name="Freeform 249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316" y="2560"/>
              <a:ext cx="51" cy="25"/>
            </a:xfrm>
            <a:custGeom>
              <a:avLst/>
              <a:gdLst>
                <a:gd name="T0" fmla="*/ 0 w 56"/>
                <a:gd name="T1" fmla="*/ 9 h 25"/>
                <a:gd name="T2" fmla="*/ 5 w 56"/>
                <a:gd name="T3" fmla="*/ 25 h 25"/>
                <a:gd name="T4" fmla="*/ 5 w 56"/>
                <a:gd name="T5" fmla="*/ 6 h 25"/>
                <a:gd name="T6" fmla="*/ 5 w 56"/>
                <a:gd name="T7" fmla="*/ 0 h 25"/>
                <a:gd name="T8" fmla="*/ 5 w 56"/>
                <a:gd name="T9" fmla="*/ 2 h 25"/>
                <a:gd name="T10" fmla="*/ 0 w 56"/>
                <a:gd name="T11" fmla="*/ 9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6"/>
                <a:gd name="T19" fmla="*/ 0 h 25"/>
                <a:gd name="T20" fmla="*/ 56 w 56"/>
                <a:gd name="T21" fmla="*/ 25 h 2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6" h="25">
                  <a:moveTo>
                    <a:pt x="0" y="9"/>
                  </a:moveTo>
                  <a:lnTo>
                    <a:pt x="56" y="25"/>
                  </a:lnTo>
                  <a:lnTo>
                    <a:pt x="50" y="6"/>
                  </a:lnTo>
                  <a:lnTo>
                    <a:pt x="32" y="0"/>
                  </a:lnTo>
                  <a:lnTo>
                    <a:pt x="6" y="2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68" name="Freeform 250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146" y="2072"/>
              <a:ext cx="88" cy="128"/>
            </a:xfrm>
            <a:custGeom>
              <a:avLst/>
              <a:gdLst>
                <a:gd name="T0" fmla="*/ 0 w 97"/>
                <a:gd name="T1" fmla="*/ 51 h 128"/>
                <a:gd name="T2" fmla="*/ 5 w 97"/>
                <a:gd name="T3" fmla="*/ 86 h 128"/>
                <a:gd name="T4" fmla="*/ 5 w 97"/>
                <a:gd name="T5" fmla="*/ 92 h 128"/>
                <a:gd name="T6" fmla="*/ 5 w 97"/>
                <a:gd name="T7" fmla="*/ 109 h 128"/>
                <a:gd name="T8" fmla="*/ 5 w 97"/>
                <a:gd name="T9" fmla="*/ 113 h 128"/>
                <a:gd name="T10" fmla="*/ 5 w 97"/>
                <a:gd name="T11" fmla="*/ 105 h 128"/>
                <a:gd name="T12" fmla="*/ 5 w 97"/>
                <a:gd name="T13" fmla="*/ 124 h 128"/>
                <a:gd name="T14" fmla="*/ 5 w 97"/>
                <a:gd name="T15" fmla="*/ 107 h 128"/>
                <a:gd name="T16" fmla="*/ 5 w 97"/>
                <a:gd name="T17" fmla="*/ 126 h 128"/>
                <a:gd name="T18" fmla="*/ 5 w 97"/>
                <a:gd name="T19" fmla="*/ 128 h 128"/>
                <a:gd name="T20" fmla="*/ 5 w 97"/>
                <a:gd name="T21" fmla="*/ 110 h 128"/>
                <a:gd name="T22" fmla="*/ 5 w 97"/>
                <a:gd name="T23" fmla="*/ 109 h 128"/>
                <a:gd name="T24" fmla="*/ 5 w 97"/>
                <a:gd name="T25" fmla="*/ 99 h 128"/>
                <a:gd name="T26" fmla="*/ 5 w 97"/>
                <a:gd name="T27" fmla="*/ 105 h 128"/>
                <a:gd name="T28" fmla="*/ 5 w 97"/>
                <a:gd name="T29" fmla="*/ 101 h 128"/>
                <a:gd name="T30" fmla="*/ 5 w 97"/>
                <a:gd name="T31" fmla="*/ 74 h 128"/>
                <a:gd name="T32" fmla="*/ 5 w 97"/>
                <a:gd name="T33" fmla="*/ 33 h 128"/>
                <a:gd name="T34" fmla="*/ 5 w 97"/>
                <a:gd name="T35" fmla="*/ 24 h 128"/>
                <a:gd name="T36" fmla="*/ 5 w 97"/>
                <a:gd name="T37" fmla="*/ 0 h 128"/>
                <a:gd name="T38" fmla="*/ 5 w 97"/>
                <a:gd name="T39" fmla="*/ 6 h 128"/>
                <a:gd name="T40" fmla="*/ 5 w 97"/>
                <a:gd name="T41" fmla="*/ 0 h 128"/>
                <a:gd name="T42" fmla="*/ 5 w 97"/>
                <a:gd name="T43" fmla="*/ 56 h 128"/>
                <a:gd name="T44" fmla="*/ 0 w 97"/>
                <a:gd name="T45" fmla="*/ 51 h 1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7"/>
                <a:gd name="T70" fmla="*/ 0 h 128"/>
                <a:gd name="T71" fmla="*/ 97 w 97"/>
                <a:gd name="T72" fmla="*/ 128 h 12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7" h="128">
                  <a:moveTo>
                    <a:pt x="0" y="51"/>
                  </a:moveTo>
                  <a:lnTo>
                    <a:pt x="10" y="86"/>
                  </a:lnTo>
                  <a:lnTo>
                    <a:pt x="29" y="92"/>
                  </a:lnTo>
                  <a:lnTo>
                    <a:pt x="25" y="109"/>
                  </a:lnTo>
                  <a:lnTo>
                    <a:pt x="37" y="113"/>
                  </a:lnTo>
                  <a:lnTo>
                    <a:pt x="46" y="105"/>
                  </a:lnTo>
                  <a:lnTo>
                    <a:pt x="67" y="124"/>
                  </a:lnTo>
                  <a:lnTo>
                    <a:pt x="63" y="107"/>
                  </a:lnTo>
                  <a:lnTo>
                    <a:pt x="82" y="126"/>
                  </a:lnTo>
                  <a:lnTo>
                    <a:pt x="97" y="128"/>
                  </a:lnTo>
                  <a:lnTo>
                    <a:pt x="84" y="110"/>
                  </a:lnTo>
                  <a:lnTo>
                    <a:pt x="90" y="109"/>
                  </a:lnTo>
                  <a:lnTo>
                    <a:pt x="68" y="99"/>
                  </a:lnTo>
                  <a:lnTo>
                    <a:pt x="56" y="105"/>
                  </a:lnTo>
                  <a:lnTo>
                    <a:pt x="48" y="101"/>
                  </a:lnTo>
                  <a:lnTo>
                    <a:pt x="35" y="74"/>
                  </a:lnTo>
                  <a:lnTo>
                    <a:pt x="51" y="33"/>
                  </a:lnTo>
                  <a:lnTo>
                    <a:pt x="44" y="24"/>
                  </a:lnTo>
                  <a:lnTo>
                    <a:pt x="43" y="0"/>
                  </a:lnTo>
                  <a:lnTo>
                    <a:pt x="35" y="6"/>
                  </a:lnTo>
                  <a:lnTo>
                    <a:pt x="10" y="0"/>
                  </a:lnTo>
                  <a:lnTo>
                    <a:pt x="11" y="56"/>
                  </a:lnTo>
                  <a:lnTo>
                    <a:pt x="0" y="5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69" name="Freeform 251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164" y="2188"/>
              <a:ext cx="23" cy="29"/>
            </a:xfrm>
            <a:custGeom>
              <a:avLst/>
              <a:gdLst>
                <a:gd name="T0" fmla="*/ 0 w 25"/>
                <a:gd name="T1" fmla="*/ 0 h 29"/>
                <a:gd name="T2" fmla="*/ 6 w 25"/>
                <a:gd name="T3" fmla="*/ 29 h 29"/>
                <a:gd name="T4" fmla="*/ 6 w 25"/>
                <a:gd name="T5" fmla="*/ 21 h 29"/>
                <a:gd name="T6" fmla="*/ 6 w 25"/>
                <a:gd name="T7" fmla="*/ 10 h 29"/>
                <a:gd name="T8" fmla="*/ 6 w 25"/>
                <a:gd name="T9" fmla="*/ 3 h 29"/>
                <a:gd name="T10" fmla="*/ 0 w 25"/>
                <a:gd name="T11" fmla="*/ 0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5"/>
                <a:gd name="T19" fmla="*/ 0 h 29"/>
                <a:gd name="T20" fmla="*/ 25 w 25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5" h="29">
                  <a:moveTo>
                    <a:pt x="0" y="0"/>
                  </a:moveTo>
                  <a:lnTo>
                    <a:pt x="18" y="29"/>
                  </a:lnTo>
                  <a:lnTo>
                    <a:pt x="25" y="21"/>
                  </a:lnTo>
                  <a:lnTo>
                    <a:pt x="24" y="10"/>
                  </a:lnTo>
                  <a:lnTo>
                    <a:pt x="17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70" name="Freeform 252"/>
            <p:cNvSpPr>
              <a:spLocks noChangeAspect="1"/>
            </p:cNvSpPr>
            <p:nvPr/>
          </p:nvSpPr>
          <p:spPr bwMode="auto">
            <a:xfrm>
              <a:off x="5237" y="2209"/>
              <a:ext cx="26" cy="55"/>
            </a:xfrm>
            <a:custGeom>
              <a:avLst/>
              <a:gdLst>
                <a:gd name="T0" fmla="*/ 0 w 29"/>
                <a:gd name="T1" fmla="*/ 0 h 55"/>
                <a:gd name="T2" fmla="*/ 4 w 29"/>
                <a:gd name="T3" fmla="*/ 18 h 55"/>
                <a:gd name="T4" fmla="*/ 4 w 29"/>
                <a:gd name="T5" fmla="*/ 28 h 55"/>
                <a:gd name="T6" fmla="*/ 4 w 29"/>
                <a:gd name="T7" fmla="*/ 25 h 55"/>
                <a:gd name="T8" fmla="*/ 4 w 29"/>
                <a:gd name="T9" fmla="*/ 39 h 55"/>
                <a:gd name="T10" fmla="*/ 4 w 29"/>
                <a:gd name="T11" fmla="*/ 40 h 55"/>
                <a:gd name="T12" fmla="*/ 4 w 29"/>
                <a:gd name="T13" fmla="*/ 55 h 55"/>
                <a:gd name="T14" fmla="*/ 4 w 29"/>
                <a:gd name="T15" fmla="*/ 52 h 55"/>
                <a:gd name="T16" fmla="*/ 4 w 29"/>
                <a:gd name="T17" fmla="*/ 33 h 55"/>
                <a:gd name="T18" fmla="*/ 4 w 29"/>
                <a:gd name="T19" fmla="*/ 33 h 55"/>
                <a:gd name="T20" fmla="*/ 4 w 29"/>
                <a:gd name="T21" fmla="*/ 10 h 55"/>
                <a:gd name="T22" fmla="*/ 4 w 29"/>
                <a:gd name="T23" fmla="*/ 0 h 55"/>
                <a:gd name="T24" fmla="*/ 0 w 29"/>
                <a:gd name="T25" fmla="*/ 0 h 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55"/>
                <a:gd name="T41" fmla="*/ 29 w 29"/>
                <a:gd name="T42" fmla="*/ 55 h 5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55">
                  <a:moveTo>
                    <a:pt x="0" y="0"/>
                  </a:moveTo>
                  <a:lnTo>
                    <a:pt x="15" y="18"/>
                  </a:lnTo>
                  <a:lnTo>
                    <a:pt x="12" y="28"/>
                  </a:lnTo>
                  <a:lnTo>
                    <a:pt x="4" y="25"/>
                  </a:lnTo>
                  <a:lnTo>
                    <a:pt x="5" y="39"/>
                  </a:lnTo>
                  <a:lnTo>
                    <a:pt x="12" y="40"/>
                  </a:lnTo>
                  <a:lnTo>
                    <a:pt x="14" y="55"/>
                  </a:lnTo>
                  <a:lnTo>
                    <a:pt x="23" y="52"/>
                  </a:lnTo>
                  <a:lnTo>
                    <a:pt x="16" y="33"/>
                  </a:lnTo>
                  <a:lnTo>
                    <a:pt x="29" y="33"/>
                  </a:lnTo>
                  <a:lnTo>
                    <a:pt x="24" y="10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71" name="Freeform 253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204" y="2273"/>
              <a:ext cx="83" cy="95"/>
            </a:xfrm>
            <a:custGeom>
              <a:avLst/>
              <a:gdLst>
                <a:gd name="T0" fmla="*/ 0 w 92"/>
                <a:gd name="T1" fmla="*/ 58 h 95"/>
                <a:gd name="T2" fmla="*/ 2 w 92"/>
                <a:gd name="T3" fmla="*/ 67 h 95"/>
                <a:gd name="T4" fmla="*/ 5 w 92"/>
                <a:gd name="T5" fmla="*/ 48 h 95"/>
                <a:gd name="T6" fmla="*/ 5 w 92"/>
                <a:gd name="T7" fmla="*/ 45 h 95"/>
                <a:gd name="T8" fmla="*/ 5 w 92"/>
                <a:gd name="T9" fmla="*/ 55 h 95"/>
                <a:gd name="T10" fmla="*/ 5 w 92"/>
                <a:gd name="T11" fmla="*/ 45 h 95"/>
                <a:gd name="T12" fmla="*/ 5 w 92"/>
                <a:gd name="T13" fmla="*/ 49 h 95"/>
                <a:gd name="T14" fmla="*/ 5 w 92"/>
                <a:gd name="T15" fmla="*/ 55 h 95"/>
                <a:gd name="T16" fmla="*/ 5 w 92"/>
                <a:gd name="T17" fmla="*/ 75 h 95"/>
                <a:gd name="T18" fmla="*/ 5 w 92"/>
                <a:gd name="T19" fmla="*/ 95 h 95"/>
                <a:gd name="T20" fmla="*/ 5 w 92"/>
                <a:gd name="T21" fmla="*/ 84 h 95"/>
                <a:gd name="T22" fmla="*/ 5 w 92"/>
                <a:gd name="T23" fmla="*/ 68 h 95"/>
                <a:gd name="T24" fmla="*/ 5 w 92"/>
                <a:gd name="T25" fmla="*/ 63 h 95"/>
                <a:gd name="T26" fmla="*/ 5 w 92"/>
                <a:gd name="T27" fmla="*/ 55 h 95"/>
                <a:gd name="T28" fmla="*/ 5 w 92"/>
                <a:gd name="T29" fmla="*/ 78 h 95"/>
                <a:gd name="T30" fmla="*/ 5 w 92"/>
                <a:gd name="T31" fmla="*/ 57 h 95"/>
                <a:gd name="T32" fmla="*/ 5 w 92"/>
                <a:gd name="T33" fmla="*/ 21 h 95"/>
                <a:gd name="T34" fmla="*/ 5 w 92"/>
                <a:gd name="T35" fmla="*/ 0 h 95"/>
                <a:gd name="T36" fmla="*/ 5 w 92"/>
                <a:gd name="T37" fmla="*/ 15 h 95"/>
                <a:gd name="T38" fmla="*/ 5 w 92"/>
                <a:gd name="T39" fmla="*/ 21 h 95"/>
                <a:gd name="T40" fmla="*/ 5 w 92"/>
                <a:gd name="T41" fmla="*/ 17 h 95"/>
                <a:gd name="T42" fmla="*/ 5 w 92"/>
                <a:gd name="T43" fmla="*/ 28 h 95"/>
                <a:gd name="T44" fmla="*/ 5 w 92"/>
                <a:gd name="T45" fmla="*/ 38 h 95"/>
                <a:gd name="T46" fmla="*/ 5 w 92"/>
                <a:gd name="T47" fmla="*/ 28 h 95"/>
                <a:gd name="T48" fmla="*/ 5 w 92"/>
                <a:gd name="T49" fmla="*/ 28 h 95"/>
                <a:gd name="T50" fmla="*/ 1 w 92"/>
                <a:gd name="T51" fmla="*/ 45 h 95"/>
                <a:gd name="T52" fmla="*/ 0 w 92"/>
                <a:gd name="T53" fmla="*/ 58 h 9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92"/>
                <a:gd name="T82" fmla="*/ 0 h 95"/>
                <a:gd name="T83" fmla="*/ 92 w 92"/>
                <a:gd name="T84" fmla="*/ 95 h 9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92" h="95">
                  <a:moveTo>
                    <a:pt x="0" y="58"/>
                  </a:moveTo>
                  <a:lnTo>
                    <a:pt x="2" y="67"/>
                  </a:lnTo>
                  <a:lnTo>
                    <a:pt x="9" y="48"/>
                  </a:lnTo>
                  <a:lnTo>
                    <a:pt x="15" y="45"/>
                  </a:lnTo>
                  <a:lnTo>
                    <a:pt x="18" y="55"/>
                  </a:lnTo>
                  <a:lnTo>
                    <a:pt x="31" y="45"/>
                  </a:lnTo>
                  <a:lnTo>
                    <a:pt x="40" y="49"/>
                  </a:lnTo>
                  <a:lnTo>
                    <a:pt x="44" y="55"/>
                  </a:lnTo>
                  <a:lnTo>
                    <a:pt x="41" y="75"/>
                  </a:lnTo>
                  <a:lnTo>
                    <a:pt x="71" y="95"/>
                  </a:lnTo>
                  <a:lnTo>
                    <a:pt x="77" y="84"/>
                  </a:lnTo>
                  <a:lnTo>
                    <a:pt x="67" y="68"/>
                  </a:lnTo>
                  <a:lnTo>
                    <a:pt x="71" y="63"/>
                  </a:lnTo>
                  <a:lnTo>
                    <a:pt x="75" y="55"/>
                  </a:lnTo>
                  <a:lnTo>
                    <a:pt x="86" y="78"/>
                  </a:lnTo>
                  <a:lnTo>
                    <a:pt x="92" y="57"/>
                  </a:lnTo>
                  <a:lnTo>
                    <a:pt x="84" y="21"/>
                  </a:lnTo>
                  <a:lnTo>
                    <a:pt x="65" y="0"/>
                  </a:lnTo>
                  <a:lnTo>
                    <a:pt x="67" y="15"/>
                  </a:lnTo>
                  <a:lnTo>
                    <a:pt x="61" y="21"/>
                  </a:lnTo>
                  <a:lnTo>
                    <a:pt x="54" y="17"/>
                  </a:lnTo>
                  <a:lnTo>
                    <a:pt x="52" y="28"/>
                  </a:lnTo>
                  <a:lnTo>
                    <a:pt x="37" y="38"/>
                  </a:lnTo>
                  <a:lnTo>
                    <a:pt x="35" y="28"/>
                  </a:lnTo>
                  <a:lnTo>
                    <a:pt x="20" y="28"/>
                  </a:lnTo>
                  <a:lnTo>
                    <a:pt x="1" y="45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72" name="Freeform 254"/>
            <p:cNvSpPr>
              <a:spLocks noChangeAspect="1"/>
            </p:cNvSpPr>
            <p:nvPr/>
          </p:nvSpPr>
          <p:spPr bwMode="auto">
            <a:xfrm>
              <a:off x="5344" y="2756"/>
              <a:ext cx="26" cy="16"/>
            </a:xfrm>
            <a:custGeom>
              <a:avLst/>
              <a:gdLst>
                <a:gd name="T0" fmla="*/ 0 w 29"/>
                <a:gd name="T1" fmla="*/ 12 h 16"/>
                <a:gd name="T2" fmla="*/ 4 w 29"/>
                <a:gd name="T3" fmla="*/ 16 h 16"/>
                <a:gd name="T4" fmla="*/ 4 w 29"/>
                <a:gd name="T5" fmla="*/ 6 h 16"/>
                <a:gd name="T6" fmla="*/ 4 w 29"/>
                <a:gd name="T7" fmla="*/ 0 h 16"/>
                <a:gd name="T8" fmla="*/ 4 w 29"/>
                <a:gd name="T9" fmla="*/ 0 h 16"/>
                <a:gd name="T10" fmla="*/ 0 w 29"/>
                <a:gd name="T11" fmla="*/ 12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16"/>
                <a:gd name="T20" fmla="*/ 29 w 29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16">
                  <a:moveTo>
                    <a:pt x="0" y="12"/>
                  </a:moveTo>
                  <a:lnTo>
                    <a:pt x="18" y="16"/>
                  </a:lnTo>
                  <a:lnTo>
                    <a:pt x="29" y="6"/>
                  </a:lnTo>
                  <a:lnTo>
                    <a:pt x="26" y="0"/>
                  </a:lnTo>
                  <a:lnTo>
                    <a:pt x="7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73" name="Freeform 255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226" y="2688"/>
              <a:ext cx="72" cy="46"/>
            </a:xfrm>
            <a:custGeom>
              <a:avLst/>
              <a:gdLst>
                <a:gd name="T0" fmla="*/ 0 w 79"/>
                <a:gd name="T1" fmla="*/ 46 h 46"/>
                <a:gd name="T2" fmla="*/ 5 w 79"/>
                <a:gd name="T3" fmla="*/ 40 h 46"/>
                <a:gd name="T4" fmla="*/ 5 w 79"/>
                <a:gd name="T5" fmla="*/ 21 h 46"/>
                <a:gd name="T6" fmla="*/ 5 w 79"/>
                <a:gd name="T7" fmla="*/ 0 h 46"/>
                <a:gd name="T8" fmla="*/ 5 w 79"/>
                <a:gd name="T9" fmla="*/ 7 h 46"/>
                <a:gd name="T10" fmla="*/ 5 w 79"/>
                <a:gd name="T11" fmla="*/ 23 h 46"/>
                <a:gd name="T12" fmla="*/ 0 w 79"/>
                <a:gd name="T13" fmla="*/ 46 h 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9"/>
                <a:gd name="T22" fmla="*/ 0 h 46"/>
                <a:gd name="T23" fmla="*/ 79 w 79"/>
                <a:gd name="T24" fmla="*/ 46 h 4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9" h="46">
                  <a:moveTo>
                    <a:pt x="0" y="46"/>
                  </a:moveTo>
                  <a:lnTo>
                    <a:pt x="21" y="40"/>
                  </a:lnTo>
                  <a:lnTo>
                    <a:pt x="40" y="21"/>
                  </a:lnTo>
                  <a:lnTo>
                    <a:pt x="79" y="0"/>
                  </a:lnTo>
                  <a:lnTo>
                    <a:pt x="35" y="7"/>
                  </a:lnTo>
                  <a:lnTo>
                    <a:pt x="10" y="23"/>
                  </a:lnTo>
                  <a:lnTo>
                    <a:pt x="0" y="4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74" name="Freeform 256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4741" y="2021"/>
              <a:ext cx="148" cy="342"/>
            </a:xfrm>
            <a:custGeom>
              <a:avLst/>
              <a:gdLst>
                <a:gd name="T0" fmla="*/ 5 w 164"/>
                <a:gd name="T1" fmla="*/ 321 h 342"/>
                <a:gd name="T2" fmla="*/ 5 w 164"/>
                <a:gd name="T3" fmla="*/ 327 h 342"/>
                <a:gd name="T4" fmla="*/ 5 w 164"/>
                <a:gd name="T5" fmla="*/ 340 h 342"/>
                <a:gd name="T6" fmla="*/ 5 w 164"/>
                <a:gd name="T7" fmla="*/ 342 h 342"/>
                <a:gd name="T8" fmla="*/ 5 w 164"/>
                <a:gd name="T9" fmla="*/ 335 h 342"/>
                <a:gd name="T10" fmla="*/ 5 w 164"/>
                <a:gd name="T11" fmla="*/ 319 h 342"/>
                <a:gd name="T12" fmla="*/ 5 w 164"/>
                <a:gd name="T13" fmla="*/ 310 h 342"/>
                <a:gd name="T14" fmla="*/ 5 w 164"/>
                <a:gd name="T15" fmla="*/ 263 h 342"/>
                <a:gd name="T16" fmla="*/ 5 w 164"/>
                <a:gd name="T17" fmla="*/ 264 h 342"/>
                <a:gd name="T18" fmla="*/ 5 w 164"/>
                <a:gd name="T19" fmla="*/ 240 h 342"/>
                <a:gd name="T20" fmla="*/ 5 w 164"/>
                <a:gd name="T21" fmla="*/ 198 h 342"/>
                <a:gd name="T22" fmla="*/ 5 w 164"/>
                <a:gd name="T23" fmla="*/ 170 h 342"/>
                <a:gd name="T24" fmla="*/ 5 w 164"/>
                <a:gd name="T25" fmla="*/ 170 h 342"/>
                <a:gd name="T26" fmla="*/ 5 w 164"/>
                <a:gd name="T27" fmla="*/ 183 h 342"/>
                <a:gd name="T28" fmla="*/ 5 w 164"/>
                <a:gd name="T29" fmla="*/ 184 h 342"/>
                <a:gd name="T30" fmla="*/ 5 w 164"/>
                <a:gd name="T31" fmla="*/ 198 h 342"/>
                <a:gd name="T32" fmla="*/ 5 w 164"/>
                <a:gd name="T33" fmla="*/ 172 h 342"/>
                <a:gd name="T34" fmla="*/ 5 w 164"/>
                <a:gd name="T35" fmla="*/ 149 h 342"/>
                <a:gd name="T36" fmla="*/ 5 w 164"/>
                <a:gd name="T37" fmla="*/ 148 h 342"/>
                <a:gd name="T38" fmla="*/ 5 w 164"/>
                <a:gd name="T39" fmla="*/ 121 h 342"/>
                <a:gd name="T40" fmla="*/ 5 w 164"/>
                <a:gd name="T41" fmla="*/ 101 h 342"/>
                <a:gd name="T42" fmla="*/ 5 w 164"/>
                <a:gd name="T43" fmla="*/ 72 h 342"/>
                <a:gd name="T44" fmla="*/ 5 w 164"/>
                <a:gd name="T45" fmla="*/ 53 h 342"/>
                <a:gd name="T46" fmla="*/ 5 w 164"/>
                <a:gd name="T47" fmla="*/ 64 h 342"/>
                <a:gd name="T48" fmla="*/ 5 w 164"/>
                <a:gd name="T49" fmla="*/ 57 h 342"/>
                <a:gd name="T50" fmla="*/ 5 w 164"/>
                <a:gd name="T51" fmla="*/ 68 h 342"/>
                <a:gd name="T52" fmla="*/ 5 w 164"/>
                <a:gd name="T53" fmla="*/ 29 h 342"/>
                <a:gd name="T54" fmla="*/ 5 w 164"/>
                <a:gd name="T55" fmla="*/ 22 h 342"/>
                <a:gd name="T56" fmla="*/ 5 w 164"/>
                <a:gd name="T57" fmla="*/ 0 h 342"/>
                <a:gd name="T58" fmla="*/ 3 w 164"/>
                <a:gd name="T59" fmla="*/ 33 h 342"/>
                <a:gd name="T60" fmla="*/ 0 w 164"/>
                <a:gd name="T61" fmla="*/ 58 h 342"/>
                <a:gd name="T62" fmla="*/ 5 w 164"/>
                <a:gd name="T63" fmla="*/ 104 h 342"/>
                <a:gd name="T64" fmla="*/ 5 w 164"/>
                <a:gd name="T65" fmla="*/ 135 h 342"/>
                <a:gd name="T66" fmla="*/ 5 w 164"/>
                <a:gd name="T67" fmla="*/ 153 h 342"/>
                <a:gd name="T68" fmla="*/ 5 w 164"/>
                <a:gd name="T69" fmla="*/ 203 h 342"/>
                <a:gd name="T70" fmla="*/ 5 w 164"/>
                <a:gd name="T71" fmla="*/ 253 h 342"/>
                <a:gd name="T72" fmla="*/ 5 w 164"/>
                <a:gd name="T73" fmla="*/ 269 h 342"/>
                <a:gd name="T74" fmla="*/ 5 w 164"/>
                <a:gd name="T75" fmla="*/ 290 h 342"/>
                <a:gd name="T76" fmla="*/ 5 w 164"/>
                <a:gd name="T77" fmla="*/ 286 h 342"/>
                <a:gd name="T78" fmla="*/ 5 w 164"/>
                <a:gd name="T79" fmla="*/ 329 h 342"/>
                <a:gd name="T80" fmla="*/ 5 w 164"/>
                <a:gd name="T81" fmla="*/ 321 h 34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64"/>
                <a:gd name="T124" fmla="*/ 0 h 342"/>
                <a:gd name="T125" fmla="*/ 164 w 164"/>
                <a:gd name="T126" fmla="*/ 342 h 34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64" h="342">
                  <a:moveTo>
                    <a:pt x="76" y="321"/>
                  </a:moveTo>
                  <a:lnTo>
                    <a:pt x="90" y="327"/>
                  </a:lnTo>
                  <a:lnTo>
                    <a:pt x="94" y="340"/>
                  </a:lnTo>
                  <a:lnTo>
                    <a:pt x="101" y="342"/>
                  </a:lnTo>
                  <a:lnTo>
                    <a:pt x="115" y="335"/>
                  </a:lnTo>
                  <a:lnTo>
                    <a:pt x="100" y="319"/>
                  </a:lnTo>
                  <a:lnTo>
                    <a:pt x="81" y="310"/>
                  </a:lnTo>
                  <a:lnTo>
                    <a:pt x="62" y="263"/>
                  </a:lnTo>
                  <a:lnTo>
                    <a:pt x="53" y="264"/>
                  </a:lnTo>
                  <a:lnTo>
                    <a:pt x="48" y="240"/>
                  </a:lnTo>
                  <a:lnTo>
                    <a:pt x="60" y="198"/>
                  </a:lnTo>
                  <a:lnTo>
                    <a:pt x="59" y="170"/>
                  </a:lnTo>
                  <a:lnTo>
                    <a:pt x="77" y="170"/>
                  </a:lnTo>
                  <a:lnTo>
                    <a:pt x="78" y="183"/>
                  </a:lnTo>
                  <a:lnTo>
                    <a:pt x="98" y="184"/>
                  </a:lnTo>
                  <a:lnTo>
                    <a:pt x="113" y="198"/>
                  </a:lnTo>
                  <a:lnTo>
                    <a:pt x="106" y="172"/>
                  </a:lnTo>
                  <a:lnTo>
                    <a:pt x="117" y="149"/>
                  </a:lnTo>
                  <a:lnTo>
                    <a:pt x="162" y="148"/>
                  </a:lnTo>
                  <a:lnTo>
                    <a:pt x="164" y="121"/>
                  </a:lnTo>
                  <a:lnTo>
                    <a:pt x="147" y="101"/>
                  </a:lnTo>
                  <a:lnTo>
                    <a:pt x="139" y="72"/>
                  </a:lnTo>
                  <a:lnTo>
                    <a:pt x="117" y="53"/>
                  </a:lnTo>
                  <a:lnTo>
                    <a:pt x="100" y="64"/>
                  </a:lnTo>
                  <a:lnTo>
                    <a:pt x="88" y="57"/>
                  </a:lnTo>
                  <a:lnTo>
                    <a:pt x="67" y="68"/>
                  </a:lnTo>
                  <a:lnTo>
                    <a:pt x="66" y="29"/>
                  </a:lnTo>
                  <a:lnTo>
                    <a:pt x="54" y="22"/>
                  </a:lnTo>
                  <a:lnTo>
                    <a:pt x="44" y="0"/>
                  </a:lnTo>
                  <a:lnTo>
                    <a:pt x="3" y="33"/>
                  </a:lnTo>
                  <a:lnTo>
                    <a:pt x="0" y="58"/>
                  </a:lnTo>
                  <a:lnTo>
                    <a:pt x="30" y="104"/>
                  </a:lnTo>
                  <a:lnTo>
                    <a:pt x="20" y="135"/>
                  </a:lnTo>
                  <a:lnTo>
                    <a:pt x="37" y="153"/>
                  </a:lnTo>
                  <a:lnTo>
                    <a:pt x="55" y="203"/>
                  </a:lnTo>
                  <a:lnTo>
                    <a:pt x="33" y="253"/>
                  </a:lnTo>
                  <a:lnTo>
                    <a:pt x="31" y="269"/>
                  </a:lnTo>
                  <a:lnTo>
                    <a:pt x="36" y="290"/>
                  </a:lnTo>
                  <a:lnTo>
                    <a:pt x="41" y="286"/>
                  </a:lnTo>
                  <a:lnTo>
                    <a:pt x="76" y="329"/>
                  </a:lnTo>
                  <a:lnTo>
                    <a:pt x="76" y="32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75" name="Freeform 25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4811" y="1965"/>
              <a:ext cx="150" cy="333"/>
            </a:xfrm>
            <a:custGeom>
              <a:avLst/>
              <a:gdLst>
                <a:gd name="T0" fmla="*/ 0 w 166"/>
                <a:gd name="T1" fmla="*/ 17 h 333"/>
                <a:gd name="T2" fmla="*/ 5 w 166"/>
                <a:gd name="T3" fmla="*/ 51 h 333"/>
                <a:gd name="T4" fmla="*/ 5 w 166"/>
                <a:gd name="T5" fmla="*/ 56 h 333"/>
                <a:gd name="T6" fmla="*/ 5 w 166"/>
                <a:gd name="T7" fmla="*/ 78 h 333"/>
                <a:gd name="T8" fmla="*/ 5 w 166"/>
                <a:gd name="T9" fmla="*/ 85 h 333"/>
                <a:gd name="T10" fmla="*/ 5 w 166"/>
                <a:gd name="T11" fmla="*/ 135 h 333"/>
                <a:gd name="T12" fmla="*/ 5 w 166"/>
                <a:gd name="T13" fmla="*/ 146 h 333"/>
                <a:gd name="T14" fmla="*/ 5 w 166"/>
                <a:gd name="T15" fmla="*/ 172 h 333"/>
                <a:gd name="T16" fmla="*/ 5 w 166"/>
                <a:gd name="T17" fmla="*/ 194 h 333"/>
                <a:gd name="T18" fmla="*/ 5 w 166"/>
                <a:gd name="T19" fmla="*/ 246 h 333"/>
                <a:gd name="T20" fmla="*/ 5 w 166"/>
                <a:gd name="T21" fmla="*/ 263 h 333"/>
                <a:gd name="T22" fmla="*/ 5 w 166"/>
                <a:gd name="T23" fmla="*/ 279 h 333"/>
                <a:gd name="T24" fmla="*/ 5 w 166"/>
                <a:gd name="T25" fmla="*/ 292 h 333"/>
                <a:gd name="T26" fmla="*/ 5 w 166"/>
                <a:gd name="T27" fmla="*/ 300 h 333"/>
                <a:gd name="T28" fmla="*/ 5 w 166"/>
                <a:gd name="T29" fmla="*/ 333 h 333"/>
                <a:gd name="T30" fmla="*/ 5 w 166"/>
                <a:gd name="T31" fmla="*/ 316 h 333"/>
                <a:gd name="T32" fmla="*/ 5 w 166"/>
                <a:gd name="T33" fmla="*/ 292 h 333"/>
                <a:gd name="T34" fmla="*/ 5 w 166"/>
                <a:gd name="T35" fmla="*/ 292 h 333"/>
                <a:gd name="T36" fmla="*/ 5 w 166"/>
                <a:gd name="T37" fmla="*/ 269 h 333"/>
                <a:gd name="T38" fmla="*/ 5 w 166"/>
                <a:gd name="T39" fmla="*/ 216 h 333"/>
                <a:gd name="T40" fmla="*/ 5 w 166"/>
                <a:gd name="T41" fmla="*/ 180 h 333"/>
                <a:gd name="T42" fmla="*/ 5 w 166"/>
                <a:gd name="T43" fmla="*/ 108 h 333"/>
                <a:gd name="T44" fmla="*/ 5 w 166"/>
                <a:gd name="T45" fmla="*/ 95 h 333"/>
                <a:gd name="T46" fmla="*/ 5 w 166"/>
                <a:gd name="T47" fmla="*/ 74 h 333"/>
                <a:gd name="T48" fmla="*/ 5 w 166"/>
                <a:gd name="T49" fmla="*/ 49 h 333"/>
                <a:gd name="T50" fmla="*/ 5 w 166"/>
                <a:gd name="T51" fmla="*/ 40 h 333"/>
                <a:gd name="T52" fmla="*/ 5 w 166"/>
                <a:gd name="T53" fmla="*/ 29 h 333"/>
                <a:gd name="T54" fmla="*/ 5 w 166"/>
                <a:gd name="T55" fmla="*/ 9 h 333"/>
                <a:gd name="T56" fmla="*/ 5 w 166"/>
                <a:gd name="T57" fmla="*/ 0 h 333"/>
                <a:gd name="T58" fmla="*/ 5 w 166"/>
                <a:gd name="T59" fmla="*/ 13 h 333"/>
                <a:gd name="T60" fmla="*/ 3 w 166"/>
                <a:gd name="T61" fmla="*/ 10 h 333"/>
                <a:gd name="T62" fmla="*/ 0 w 166"/>
                <a:gd name="T63" fmla="*/ 17 h 3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6"/>
                <a:gd name="T97" fmla="*/ 0 h 333"/>
                <a:gd name="T98" fmla="*/ 166 w 166"/>
                <a:gd name="T99" fmla="*/ 333 h 33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6" h="333">
                  <a:moveTo>
                    <a:pt x="0" y="17"/>
                  </a:moveTo>
                  <a:lnTo>
                    <a:pt x="24" y="51"/>
                  </a:lnTo>
                  <a:lnTo>
                    <a:pt x="47" y="56"/>
                  </a:lnTo>
                  <a:lnTo>
                    <a:pt x="56" y="78"/>
                  </a:lnTo>
                  <a:lnTo>
                    <a:pt x="44" y="85"/>
                  </a:lnTo>
                  <a:lnTo>
                    <a:pt x="98" y="135"/>
                  </a:lnTo>
                  <a:lnTo>
                    <a:pt x="102" y="146"/>
                  </a:lnTo>
                  <a:lnTo>
                    <a:pt x="123" y="172"/>
                  </a:lnTo>
                  <a:lnTo>
                    <a:pt x="127" y="194"/>
                  </a:lnTo>
                  <a:lnTo>
                    <a:pt x="135" y="246"/>
                  </a:lnTo>
                  <a:lnTo>
                    <a:pt x="104" y="263"/>
                  </a:lnTo>
                  <a:lnTo>
                    <a:pt x="101" y="279"/>
                  </a:lnTo>
                  <a:lnTo>
                    <a:pt x="78" y="292"/>
                  </a:lnTo>
                  <a:lnTo>
                    <a:pt x="87" y="300"/>
                  </a:lnTo>
                  <a:lnTo>
                    <a:pt x="90" y="333"/>
                  </a:lnTo>
                  <a:lnTo>
                    <a:pt x="115" y="316"/>
                  </a:lnTo>
                  <a:lnTo>
                    <a:pt x="121" y="292"/>
                  </a:lnTo>
                  <a:lnTo>
                    <a:pt x="132" y="292"/>
                  </a:lnTo>
                  <a:lnTo>
                    <a:pt x="166" y="269"/>
                  </a:lnTo>
                  <a:lnTo>
                    <a:pt x="166" y="216"/>
                  </a:lnTo>
                  <a:lnTo>
                    <a:pt x="154" y="180"/>
                  </a:lnTo>
                  <a:lnTo>
                    <a:pt x="86" y="108"/>
                  </a:lnTo>
                  <a:lnTo>
                    <a:pt x="78" y="95"/>
                  </a:lnTo>
                  <a:lnTo>
                    <a:pt x="81" y="74"/>
                  </a:lnTo>
                  <a:lnTo>
                    <a:pt x="101" y="49"/>
                  </a:lnTo>
                  <a:lnTo>
                    <a:pt x="118" y="40"/>
                  </a:lnTo>
                  <a:lnTo>
                    <a:pt x="92" y="29"/>
                  </a:lnTo>
                  <a:lnTo>
                    <a:pt x="85" y="9"/>
                  </a:lnTo>
                  <a:lnTo>
                    <a:pt x="62" y="0"/>
                  </a:lnTo>
                  <a:lnTo>
                    <a:pt x="17" y="13"/>
                  </a:lnTo>
                  <a:lnTo>
                    <a:pt x="3" y="1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76" name="Freeform 258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4970" y="2396"/>
              <a:ext cx="185" cy="194"/>
            </a:xfrm>
            <a:custGeom>
              <a:avLst/>
              <a:gdLst>
                <a:gd name="T0" fmla="*/ 5 w 205"/>
                <a:gd name="T1" fmla="*/ 0 h 194"/>
                <a:gd name="T2" fmla="*/ 5 w 205"/>
                <a:gd name="T3" fmla="*/ 3 h 194"/>
                <a:gd name="T4" fmla="*/ 5 w 205"/>
                <a:gd name="T5" fmla="*/ 62 h 194"/>
                <a:gd name="T6" fmla="*/ 5 w 205"/>
                <a:gd name="T7" fmla="*/ 73 h 194"/>
                <a:gd name="T8" fmla="*/ 5 w 205"/>
                <a:gd name="T9" fmla="*/ 65 h 194"/>
                <a:gd name="T10" fmla="*/ 5 w 205"/>
                <a:gd name="T11" fmla="*/ 77 h 194"/>
                <a:gd name="T12" fmla="*/ 5 w 205"/>
                <a:gd name="T13" fmla="*/ 77 h 194"/>
                <a:gd name="T14" fmla="*/ 5 w 205"/>
                <a:gd name="T15" fmla="*/ 54 h 194"/>
                <a:gd name="T16" fmla="*/ 0 w 205"/>
                <a:gd name="T17" fmla="*/ 77 h 194"/>
                <a:gd name="T18" fmla="*/ 5 w 205"/>
                <a:gd name="T19" fmla="*/ 110 h 194"/>
                <a:gd name="T20" fmla="*/ 5 w 205"/>
                <a:gd name="T21" fmla="*/ 130 h 194"/>
                <a:gd name="T22" fmla="*/ 5 w 205"/>
                <a:gd name="T23" fmla="*/ 167 h 194"/>
                <a:gd name="T24" fmla="*/ 5 w 205"/>
                <a:gd name="T25" fmla="*/ 164 h 194"/>
                <a:gd name="T26" fmla="*/ 5 w 205"/>
                <a:gd name="T27" fmla="*/ 180 h 194"/>
                <a:gd name="T28" fmla="*/ 5 w 205"/>
                <a:gd name="T29" fmla="*/ 171 h 194"/>
                <a:gd name="T30" fmla="*/ 5 w 205"/>
                <a:gd name="T31" fmla="*/ 179 h 194"/>
                <a:gd name="T32" fmla="*/ 5 w 205"/>
                <a:gd name="T33" fmla="*/ 177 h 194"/>
                <a:gd name="T34" fmla="*/ 5 w 205"/>
                <a:gd name="T35" fmla="*/ 194 h 194"/>
                <a:gd name="T36" fmla="*/ 5 w 205"/>
                <a:gd name="T37" fmla="*/ 190 h 194"/>
                <a:gd name="T38" fmla="*/ 5 w 205"/>
                <a:gd name="T39" fmla="*/ 179 h 194"/>
                <a:gd name="T40" fmla="*/ 5 w 205"/>
                <a:gd name="T41" fmla="*/ 153 h 194"/>
                <a:gd name="T42" fmla="*/ 5 w 205"/>
                <a:gd name="T43" fmla="*/ 140 h 194"/>
                <a:gd name="T44" fmla="*/ 5 w 205"/>
                <a:gd name="T45" fmla="*/ 123 h 194"/>
                <a:gd name="T46" fmla="*/ 5 w 205"/>
                <a:gd name="T47" fmla="*/ 81 h 194"/>
                <a:gd name="T48" fmla="*/ 5 w 205"/>
                <a:gd name="T49" fmla="*/ 80 h 194"/>
                <a:gd name="T50" fmla="*/ 5 w 205"/>
                <a:gd name="T51" fmla="*/ 54 h 194"/>
                <a:gd name="T52" fmla="*/ 5 w 205"/>
                <a:gd name="T53" fmla="*/ 47 h 194"/>
                <a:gd name="T54" fmla="*/ 5 w 205"/>
                <a:gd name="T55" fmla="*/ 25 h 194"/>
                <a:gd name="T56" fmla="*/ 5 w 205"/>
                <a:gd name="T57" fmla="*/ 5 h 194"/>
                <a:gd name="T58" fmla="*/ 5 w 205"/>
                <a:gd name="T59" fmla="*/ 0 h 1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5"/>
                <a:gd name="T91" fmla="*/ 0 h 194"/>
                <a:gd name="T92" fmla="*/ 205 w 205"/>
                <a:gd name="T93" fmla="*/ 194 h 19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5" h="194">
                  <a:moveTo>
                    <a:pt x="149" y="0"/>
                  </a:moveTo>
                  <a:lnTo>
                    <a:pt x="136" y="3"/>
                  </a:lnTo>
                  <a:lnTo>
                    <a:pt x="115" y="62"/>
                  </a:lnTo>
                  <a:lnTo>
                    <a:pt x="95" y="73"/>
                  </a:lnTo>
                  <a:lnTo>
                    <a:pt x="67" y="65"/>
                  </a:lnTo>
                  <a:lnTo>
                    <a:pt x="58" y="77"/>
                  </a:lnTo>
                  <a:lnTo>
                    <a:pt x="28" y="77"/>
                  </a:lnTo>
                  <a:lnTo>
                    <a:pt x="12" y="54"/>
                  </a:lnTo>
                  <a:lnTo>
                    <a:pt x="0" y="77"/>
                  </a:lnTo>
                  <a:lnTo>
                    <a:pt x="7" y="110"/>
                  </a:lnTo>
                  <a:lnTo>
                    <a:pt x="23" y="130"/>
                  </a:lnTo>
                  <a:lnTo>
                    <a:pt x="28" y="167"/>
                  </a:lnTo>
                  <a:lnTo>
                    <a:pt x="57" y="164"/>
                  </a:lnTo>
                  <a:lnTo>
                    <a:pt x="58" y="180"/>
                  </a:lnTo>
                  <a:lnTo>
                    <a:pt x="86" y="171"/>
                  </a:lnTo>
                  <a:lnTo>
                    <a:pt x="98" y="179"/>
                  </a:lnTo>
                  <a:lnTo>
                    <a:pt x="108" y="177"/>
                  </a:lnTo>
                  <a:lnTo>
                    <a:pt x="116" y="194"/>
                  </a:lnTo>
                  <a:lnTo>
                    <a:pt x="125" y="190"/>
                  </a:lnTo>
                  <a:lnTo>
                    <a:pt x="146" y="179"/>
                  </a:lnTo>
                  <a:lnTo>
                    <a:pt x="156" y="153"/>
                  </a:lnTo>
                  <a:lnTo>
                    <a:pt x="150" y="140"/>
                  </a:lnTo>
                  <a:lnTo>
                    <a:pt x="167" y="123"/>
                  </a:lnTo>
                  <a:lnTo>
                    <a:pt x="182" y="81"/>
                  </a:lnTo>
                  <a:lnTo>
                    <a:pt x="205" y="80"/>
                  </a:lnTo>
                  <a:lnTo>
                    <a:pt x="181" y="54"/>
                  </a:lnTo>
                  <a:lnTo>
                    <a:pt x="186" y="47"/>
                  </a:lnTo>
                  <a:lnTo>
                    <a:pt x="172" y="25"/>
                  </a:lnTo>
                  <a:lnTo>
                    <a:pt x="175" y="5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77" name="Freeform 259"/>
            <p:cNvSpPr>
              <a:spLocks noChangeAspect="1"/>
            </p:cNvSpPr>
            <p:nvPr/>
          </p:nvSpPr>
          <p:spPr bwMode="auto">
            <a:xfrm>
              <a:off x="4872" y="2449"/>
              <a:ext cx="12" cy="15"/>
            </a:xfrm>
            <a:custGeom>
              <a:avLst/>
              <a:gdLst>
                <a:gd name="T0" fmla="*/ 12 w 12"/>
                <a:gd name="T1" fmla="*/ 15 h 15"/>
                <a:gd name="T2" fmla="*/ 0 w 12"/>
                <a:gd name="T3" fmla="*/ 15 h 15"/>
                <a:gd name="T4" fmla="*/ 3 w 12"/>
                <a:gd name="T5" fmla="*/ 0 h 15"/>
                <a:gd name="T6" fmla="*/ 12 w 12"/>
                <a:gd name="T7" fmla="*/ 15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5"/>
                <a:gd name="T14" fmla="*/ 12 w 12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5">
                  <a:moveTo>
                    <a:pt x="12" y="15"/>
                  </a:moveTo>
                  <a:lnTo>
                    <a:pt x="0" y="15"/>
                  </a:lnTo>
                  <a:lnTo>
                    <a:pt x="3" y="0"/>
                  </a:lnTo>
                  <a:lnTo>
                    <a:pt x="12" y="15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78" name="Freeform 260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827" y="3290"/>
              <a:ext cx="113" cy="161"/>
            </a:xfrm>
            <a:custGeom>
              <a:avLst/>
              <a:gdLst>
                <a:gd name="T0" fmla="*/ 5 w 125"/>
                <a:gd name="T1" fmla="*/ 110 h 161"/>
                <a:gd name="T2" fmla="*/ 5 w 125"/>
                <a:gd name="T3" fmla="*/ 126 h 161"/>
                <a:gd name="T4" fmla="*/ 0 w 125"/>
                <a:gd name="T5" fmla="*/ 156 h 161"/>
                <a:gd name="T6" fmla="*/ 4 w 125"/>
                <a:gd name="T7" fmla="*/ 161 h 161"/>
                <a:gd name="T8" fmla="*/ 5 w 125"/>
                <a:gd name="T9" fmla="*/ 157 h 161"/>
                <a:gd name="T10" fmla="*/ 5 w 125"/>
                <a:gd name="T11" fmla="*/ 109 h 161"/>
                <a:gd name="T12" fmla="*/ 5 w 125"/>
                <a:gd name="T13" fmla="*/ 93 h 161"/>
                <a:gd name="T14" fmla="*/ 5 w 125"/>
                <a:gd name="T15" fmla="*/ 72 h 161"/>
                <a:gd name="T16" fmla="*/ 5 w 125"/>
                <a:gd name="T17" fmla="*/ 69 h 161"/>
                <a:gd name="T18" fmla="*/ 5 w 125"/>
                <a:gd name="T19" fmla="*/ 80 h 161"/>
                <a:gd name="T20" fmla="*/ 5 w 125"/>
                <a:gd name="T21" fmla="*/ 72 h 161"/>
                <a:gd name="T22" fmla="*/ 5 w 125"/>
                <a:gd name="T23" fmla="*/ 52 h 161"/>
                <a:gd name="T24" fmla="*/ 5 w 125"/>
                <a:gd name="T25" fmla="*/ 47 h 161"/>
                <a:gd name="T26" fmla="*/ 5 w 125"/>
                <a:gd name="T27" fmla="*/ 63 h 161"/>
                <a:gd name="T28" fmla="*/ 5 w 125"/>
                <a:gd name="T29" fmla="*/ 57 h 161"/>
                <a:gd name="T30" fmla="*/ 5 w 125"/>
                <a:gd name="T31" fmla="*/ 20 h 161"/>
                <a:gd name="T32" fmla="*/ 5 w 125"/>
                <a:gd name="T33" fmla="*/ 13 h 161"/>
                <a:gd name="T34" fmla="*/ 5 w 125"/>
                <a:gd name="T35" fmla="*/ 10 h 161"/>
                <a:gd name="T36" fmla="*/ 5 w 125"/>
                <a:gd name="T37" fmla="*/ 0 h 161"/>
                <a:gd name="T38" fmla="*/ 5 w 125"/>
                <a:gd name="T39" fmla="*/ 55 h 161"/>
                <a:gd name="T40" fmla="*/ 5 w 125"/>
                <a:gd name="T41" fmla="*/ 57 h 161"/>
                <a:gd name="T42" fmla="*/ 5 w 125"/>
                <a:gd name="T43" fmla="*/ 100 h 161"/>
                <a:gd name="T44" fmla="*/ 5 w 125"/>
                <a:gd name="T45" fmla="*/ 110 h 16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5"/>
                <a:gd name="T70" fmla="*/ 0 h 161"/>
                <a:gd name="T71" fmla="*/ 125 w 125"/>
                <a:gd name="T72" fmla="*/ 161 h 16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5" h="161">
                  <a:moveTo>
                    <a:pt x="11" y="110"/>
                  </a:moveTo>
                  <a:lnTo>
                    <a:pt x="26" y="126"/>
                  </a:lnTo>
                  <a:lnTo>
                    <a:pt x="0" y="156"/>
                  </a:lnTo>
                  <a:lnTo>
                    <a:pt x="4" y="161"/>
                  </a:lnTo>
                  <a:lnTo>
                    <a:pt x="17" y="157"/>
                  </a:lnTo>
                  <a:lnTo>
                    <a:pt x="75" y="109"/>
                  </a:lnTo>
                  <a:lnTo>
                    <a:pt x="108" y="93"/>
                  </a:lnTo>
                  <a:lnTo>
                    <a:pt x="125" y="72"/>
                  </a:lnTo>
                  <a:lnTo>
                    <a:pt x="119" y="69"/>
                  </a:lnTo>
                  <a:lnTo>
                    <a:pt x="96" y="80"/>
                  </a:lnTo>
                  <a:lnTo>
                    <a:pt x="79" y="72"/>
                  </a:lnTo>
                  <a:lnTo>
                    <a:pt x="88" y="52"/>
                  </a:lnTo>
                  <a:lnTo>
                    <a:pt x="82" y="47"/>
                  </a:lnTo>
                  <a:lnTo>
                    <a:pt x="74" y="63"/>
                  </a:lnTo>
                  <a:lnTo>
                    <a:pt x="67" y="57"/>
                  </a:lnTo>
                  <a:lnTo>
                    <a:pt x="77" y="20"/>
                  </a:lnTo>
                  <a:lnTo>
                    <a:pt x="74" y="13"/>
                  </a:lnTo>
                  <a:lnTo>
                    <a:pt x="63" y="10"/>
                  </a:lnTo>
                  <a:lnTo>
                    <a:pt x="60" y="0"/>
                  </a:lnTo>
                  <a:lnTo>
                    <a:pt x="58" y="55"/>
                  </a:lnTo>
                  <a:lnTo>
                    <a:pt x="67" y="57"/>
                  </a:lnTo>
                  <a:lnTo>
                    <a:pt x="33" y="100"/>
                  </a:lnTo>
                  <a:lnTo>
                    <a:pt x="11" y="11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79" name="Freeform 261"/>
            <p:cNvSpPr>
              <a:spLocks noChangeAspect="1"/>
            </p:cNvSpPr>
            <p:nvPr/>
          </p:nvSpPr>
          <p:spPr bwMode="auto">
            <a:xfrm>
              <a:off x="5337" y="3316"/>
              <a:ext cx="26" cy="11"/>
            </a:xfrm>
            <a:custGeom>
              <a:avLst/>
              <a:gdLst>
                <a:gd name="T0" fmla="*/ 0 w 29"/>
                <a:gd name="T1" fmla="*/ 6 h 11"/>
                <a:gd name="T2" fmla="*/ 3 w 29"/>
                <a:gd name="T3" fmla="*/ 11 h 11"/>
                <a:gd name="T4" fmla="*/ 4 w 29"/>
                <a:gd name="T5" fmla="*/ 11 h 11"/>
                <a:gd name="T6" fmla="*/ 4 w 29"/>
                <a:gd name="T7" fmla="*/ 6 h 11"/>
                <a:gd name="T8" fmla="*/ 4 w 29"/>
                <a:gd name="T9" fmla="*/ 0 h 11"/>
                <a:gd name="T10" fmla="*/ 0 w 29"/>
                <a:gd name="T11" fmla="*/ 6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11"/>
                <a:gd name="T20" fmla="*/ 29 w 29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11">
                  <a:moveTo>
                    <a:pt x="0" y="6"/>
                  </a:moveTo>
                  <a:lnTo>
                    <a:pt x="3" y="11"/>
                  </a:lnTo>
                  <a:lnTo>
                    <a:pt x="17" y="11"/>
                  </a:lnTo>
                  <a:lnTo>
                    <a:pt x="29" y="6"/>
                  </a:lnTo>
                  <a:lnTo>
                    <a:pt x="2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solidFill>
                <a:srgbClr val="DDDDDD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80" name="Freeform 262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412" y="3430"/>
              <a:ext cx="70" cy="67"/>
            </a:xfrm>
            <a:custGeom>
              <a:avLst/>
              <a:gdLst>
                <a:gd name="T0" fmla="*/ 4 w 79"/>
                <a:gd name="T1" fmla="*/ 0 h 67"/>
                <a:gd name="T2" fmla="*/ 0 w 79"/>
                <a:gd name="T3" fmla="*/ 52 h 67"/>
                <a:gd name="T4" fmla="*/ 4 w 79"/>
                <a:gd name="T5" fmla="*/ 65 h 67"/>
                <a:gd name="T6" fmla="*/ 4 w 79"/>
                <a:gd name="T7" fmla="*/ 67 h 67"/>
                <a:gd name="T8" fmla="*/ 4 w 79"/>
                <a:gd name="T9" fmla="*/ 50 h 67"/>
                <a:gd name="T10" fmla="*/ 4 w 79"/>
                <a:gd name="T11" fmla="*/ 56 h 67"/>
                <a:gd name="T12" fmla="*/ 4 w 79"/>
                <a:gd name="T13" fmla="*/ 9 h 67"/>
                <a:gd name="T14" fmla="*/ 4 w 79"/>
                <a:gd name="T15" fmla="*/ 12 h 67"/>
                <a:gd name="T16" fmla="*/ 4 w 79"/>
                <a:gd name="T17" fmla="*/ 0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9"/>
                <a:gd name="T28" fmla="*/ 0 h 67"/>
                <a:gd name="T29" fmla="*/ 79 w 79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9" h="67">
                  <a:moveTo>
                    <a:pt x="18" y="0"/>
                  </a:moveTo>
                  <a:lnTo>
                    <a:pt x="0" y="52"/>
                  </a:lnTo>
                  <a:lnTo>
                    <a:pt x="6" y="65"/>
                  </a:lnTo>
                  <a:lnTo>
                    <a:pt x="16" y="67"/>
                  </a:lnTo>
                  <a:lnTo>
                    <a:pt x="39" y="50"/>
                  </a:lnTo>
                  <a:lnTo>
                    <a:pt x="42" y="56"/>
                  </a:lnTo>
                  <a:lnTo>
                    <a:pt x="79" y="9"/>
                  </a:lnTo>
                  <a:lnTo>
                    <a:pt x="36" y="12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81" name="Freeform 263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4980" y="2745"/>
              <a:ext cx="722" cy="651"/>
            </a:xfrm>
            <a:custGeom>
              <a:avLst/>
              <a:gdLst>
                <a:gd name="T0" fmla="*/ 5 w 800"/>
                <a:gd name="T1" fmla="*/ 555 h 651"/>
                <a:gd name="T2" fmla="*/ 5 w 800"/>
                <a:gd name="T3" fmla="*/ 531 h 651"/>
                <a:gd name="T4" fmla="*/ 5 w 800"/>
                <a:gd name="T5" fmla="*/ 511 h 651"/>
                <a:gd name="T6" fmla="*/ 5 w 800"/>
                <a:gd name="T7" fmla="*/ 478 h 651"/>
                <a:gd name="T8" fmla="*/ 5 w 800"/>
                <a:gd name="T9" fmla="*/ 511 h 651"/>
                <a:gd name="T10" fmla="*/ 5 w 800"/>
                <a:gd name="T11" fmla="*/ 555 h 651"/>
                <a:gd name="T12" fmla="*/ 5 w 800"/>
                <a:gd name="T13" fmla="*/ 524 h 651"/>
                <a:gd name="T14" fmla="*/ 5 w 800"/>
                <a:gd name="T15" fmla="*/ 560 h 651"/>
                <a:gd name="T16" fmla="*/ 5 w 800"/>
                <a:gd name="T17" fmla="*/ 555 h 651"/>
                <a:gd name="T18" fmla="*/ 5 w 800"/>
                <a:gd name="T19" fmla="*/ 570 h 651"/>
                <a:gd name="T20" fmla="*/ 5 w 800"/>
                <a:gd name="T21" fmla="*/ 597 h 651"/>
                <a:gd name="T22" fmla="*/ 5 w 800"/>
                <a:gd name="T23" fmla="*/ 634 h 651"/>
                <a:gd name="T24" fmla="*/ 5 w 800"/>
                <a:gd name="T25" fmla="*/ 644 h 651"/>
                <a:gd name="T26" fmla="*/ 5 w 800"/>
                <a:gd name="T27" fmla="*/ 634 h 651"/>
                <a:gd name="T28" fmla="*/ 5 w 800"/>
                <a:gd name="T29" fmla="*/ 640 h 651"/>
                <a:gd name="T30" fmla="*/ 5 w 800"/>
                <a:gd name="T31" fmla="*/ 623 h 651"/>
                <a:gd name="T32" fmla="*/ 5 w 800"/>
                <a:gd name="T33" fmla="*/ 574 h 651"/>
                <a:gd name="T34" fmla="*/ 5 w 800"/>
                <a:gd name="T35" fmla="*/ 411 h 651"/>
                <a:gd name="T36" fmla="*/ 5 w 800"/>
                <a:gd name="T37" fmla="*/ 306 h 651"/>
                <a:gd name="T38" fmla="*/ 5 w 800"/>
                <a:gd name="T39" fmla="*/ 273 h 651"/>
                <a:gd name="T40" fmla="*/ 5 w 800"/>
                <a:gd name="T41" fmla="*/ 267 h 651"/>
                <a:gd name="T42" fmla="*/ 5 w 800"/>
                <a:gd name="T43" fmla="*/ 198 h 651"/>
                <a:gd name="T44" fmla="*/ 5 w 800"/>
                <a:gd name="T45" fmla="*/ 149 h 651"/>
                <a:gd name="T46" fmla="*/ 5 w 800"/>
                <a:gd name="T47" fmla="*/ 96 h 651"/>
                <a:gd name="T48" fmla="*/ 5 w 800"/>
                <a:gd name="T49" fmla="*/ 80 h 651"/>
                <a:gd name="T50" fmla="*/ 5 w 800"/>
                <a:gd name="T51" fmla="*/ 0 h 651"/>
                <a:gd name="T52" fmla="*/ 5 w 800"/>
                <a:gd name="T53" fmla="*/ 120 h 651"/>
                <a:gd name="T54" fmla="*/ 5 w 800"/>
                <a:gd name="T55" fmla="*/ 159 h 651"/>
                <a:gd name="T56" fmla="*/ 5 w 800"/>
                <a:gd name="T57" fmla="*/ 142 h 651"/>
                <a:gd name="T58" fmla="*/ 5 w 800"/>
                <a:gd name="T59" fmla="*/ 119 h 651"/>
                <a:gd name="T60" fmla="*/ 5 w 800"/>
                <a:gd name="T61" fmla="*/ 96 h 651"/>
                <a:gd name="T62" fmla="*/ 5 w 800"/>
                <a:gd name="T63" fmla="*/ 57 h 651"/>
                <a:gd name="T64" fmla="*/ 5 w 800"/>
                <a:gd name="T65" fmla="*/ 36 h 651"/>
                <a:gd name="T66" fmla="*/ 5 w 800"/>
                <a:gd name="T67" fmla="*/ 40 h 651"/>
                <a:gd name="T68" fmla="*/ 5 w 800"/>
                <a:gd name="T69" fmla="*/ 34 h 651"/>
                <a:gd name="T70" fmla="*/ 5 w 800"/>
                <a:gd name="T71" fmla="*/ 23 h 651"/>
                <a:gd name="T72" fmla="*/ 5 w 800"/>
                <a:gd name="T73" fmla="*/ 34 h 651"/>
                <a:gd name="T74" fmla="*/ 5 w 800"/>
                <a:gd name="T75" fmla="*/ 63 h 651"/>
                <a:gd name="T76" fmla="*/ 5 w 800"/>
                <a:gd name="T77" fmla="*/ 84 h 651"/>
                <a:gd name="T78" fmla="*/ 5 w 800"/>
                <a:gd name="T79" fmla="*/ 102 h 651"/>
                <a:gd name="T80" fmla="*/ 5 w 800"/>
                <a:gd name="T81" fmla="*/ 102 h 651"/>
                <a:gd name="T82" fmla="*/ 5 w 800"/>
                <a:gd name="T83" fmla="*/ 73 h 651"/>
                <a:gd name="T84" fmla="*/ 5 w 800"/>
                <a:gd name="T85" fmla="*/ 89 h 651"/>
                <a:gd name="T86" fmla="*/ 5 w 800"/>
                <a:gd name="T87" fmla="*/ 129 h 651"/>
                <a:gd name="T88" fmla="*/ 5 w 800"/>
                <a:gd name="T89" fmla="*/ 135 h 651"/>
                <a:gd name="T90" fmla="*/ 5 w 800"/>
                <a:gd name="T91" fmla="*/ 153 h 651"/>
                <a:gd name="T92" fmla="*/ 5 w 800"/>
                <a:gd name="T93" fmla="*/ 152 h 651"/>
                <a:gd name="T94" fmla="*/ 5 w 800"/>
                <a:gd name="T95" fmla="*/ 205 h 651"/>
                <a:gd name="T96" fmla="*/ 5 w 800"/>
                <a:gd name="T97" fmla="*/ 266 h 651"/>
                <a:gd name="T98" fmla="*/ 5 w 800"/>
                <a:gd name="T99" fmla="*/ 273 h 651"/>
                <a:gd name="T100" fmla="*/ 5 w 800"/>
                <a:gd name="T101" fmla="*/ 302 h 651"/>
                <a:gd name="T102" fmla="*/ 5 w 800"/>
                <a:gd name="T103" fmla="*/ 342 h 651"/>
                <a:gd name="T104" fmla="*/ 5 w 800"/>
                <a:gd name="T105" fmla="*/ 353 h 651"/>
                <a:gd name="T106" fmla="*/ 5 w 800"/>
                <a:gd name="T107" fmla="*/ 481 h 651"/>
                <a:gd name="T108" fmla="*/ 5 w 800"/>
                <a:gd name="T109" fmla="*/ 524 h 65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00"/>
                <a:gd name="T166" fmla="*/ 0 h 651"/>
                <a:gd name="T167" fmla="*/ 800 w 800"/>
                <a:gd name="T168" fmla="*/ 651 h 65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00" h="651">
                  <a:moveTo>
                    <a:pt x="0" y="537"/>
                  </a:moveTo>
                  <a:lnTo>
                    <a:pt x="23" y="555"/>
                  </a:lnTo>
                  <a:lnTo>
                    <a:pt x="55" y="555"/>
                  </a:lnTo>
                  <a:lnTo>
                    <a:pt x="97" y="531"/>
                  </a:lnTo>
                  <a:lnTo>
                    <a:pt x="165" y="529"/>
                  </a:lnTo>
                  <a:lnTo>
                    <a:pt x="181" y="511"/>
                  </a:lnTo>
                  <a:lnTo>
                    <a:pt x="229" y="491"/>
                  </a:lnTo>
                  <a:lnTo>
                    <a:pt x="332" y="478"/>
                  </a:lnTo>
                  <a:lnTo>
                    <a:pt x="382" y="501"/>
                  </a:lnTo>
                  <a:lnTo>
                    <a:pt x="376" y="511"/>
                  </a:lnTo>
                  <a:lnTo>
                    <a:pt x="386" y="515"/>
                  </a:lnTo>
                  <a:lnTo>
                    <a:pt x="386" y="555"/>
                  </a:lnTo>
                  <a:lnTo>
                    <a:pt x="449" y="507"/>
                  </a:lnTo>
                  <a:lnTo>
                    <a:pt x="444" y="524"/>
                  </a:lnTo>
                  <a:lnTo>
                    <a:pt x="409" y="561"/>
                  </a:lnTo>
                  <a:lnTo>
                    <a:pt x="424" y="560"/>
                  </a:lnTo>
                  <a:lnTo>
                    <a:pt x="440" y="538"/>
                  </a:lnTo>
                  <a:lnTo>
                    <a:pt x="443" y="555"/>
                  </a:lnTo>
                  <a:lnTo>
                    <a:pt x="428" y="571"/>
                  </a:lnTo>
                  <a:lnTo>
                    <a:pt x="441" y="570"/>
                  </a:lnTo>
                  <a:lnTo>
                    <a:pt x="447" y="577"/>
                  </a:lnTo>
                  <a:lnTo>
                    <a:pt x="450" y="597"/>
                  </a:lnTo>
                  <a:lnTo>
                    <a:pt x="444" y="609"/>
                  </a:lnTo>
                  <a:lnTo>
                    <a:pt x="460" y="634"/>
                  </a:lnTo>
                  <a:lnTo>
                    <a:pt x="483" y="634"/>
                  </a:lnTo>
                  <a:lnTo>
                    <a:pt x="494" y="644"/>
                  </a:lnTo>
                  <a:lnTo>
                    <a:pt x="531" y="621"/>
                  </a:lnTo>
                  <a:lnTo>
                    <a:pt x="528" y="634"/>
                  </a:lnTo>
                  <a:lnTo>
                    <a:pt x="538" y="631"/>
                  </a:lnTo>
                  <a:lnTo>
                    <a:pt x="535" y="640"/>
                  </a:lnTo>
                  <a:lnTo>
                    <a:pt x="545" y="651"/>
                  </a:lnTo>
                  <a:lnTo>
                    <a:pt x="593" y="623"/>
                  </a:lnTo>
                  <a:lnTo>
                    <a:pt x="629" y="615"/>
                  </a:lnTo>
                  <a:lnTo>
                    <a:pt x="657" y="574"/>
                  </a:lnTo>
                  <a:lnTo>
                    <a:pt x="760" y="464"/>
                  </a:lnTo>
                  <a:lnTo>
                    <a:pt x="792" y="411"/>
                  </a:lnTo>
                  <a:lnTo>
                    <a:pt x="800" y="352"/>
                  </a:lnTo>
                  <a:lnTo>
                    <a:pt x="787" y="306"/>
                  </a:lnTo>
                  <a:lnTo>
                    <a:pt x="774" y="293"/>
                  </a:lnTo>
                  <a:lnTo>
                    <a:pt x="775" y="273"/>
                  </a:lnTo>
                  <a:lnTo>
                    <a:pt x="762" y="259"/>
                  </a:lnTo>
                  <a:lnTo>
                    <a:pt x="756" y="267"/>
                  </a:lnTo>
                  <a:lnTo>
                    <a:pt x="747" y="220"/>
                  </a:lnTo>
                  <a:lnTo>
                    <a:pt x="725" y="198"/>
                  </a:lnTo>
                  <a:lnTo>
                    <a:pt x="706" y="188"/>
                  </a:lnTo>
                  <a:lnTo>
                    <a:pt x="706" y="149"/>
                  </a:lnTo>
                  <a:lnTo>
                    <a:pt x="697" y="132"/>
                  </a:lnTo>
                  <a:lnTo>
                    <a:pt x="701" y="96"/>
                  </a:lnTo>
                  <a:lnTo>
                    <a:pt x="688" y="80"/>
                  </a:lnTo>
                  <a:lnTo>
                    <a:pt x="671" y="80"/>
                  </a:lnTo>
                  <a:lnTo>
                    <a:pt x="662" y="6"/>
                  </a:lnTo>
                  <a:lnTo>
                    <a:pt x="655" y="0"/>
                  </a:lnTo>
                  <a:lnTo>
                    <a:pt x="646" y="10"/>
                  </a:lnTo>
                  <a:lnTo>
                    <a:pt x="620" y="120"/>
                  </a:lnTo>
                  <a:lnTo>
                    <a:pt x="604" y="153"/>
                  </a:lnTo>
                  <a:lnTo>
                    <a:pt x="593" y="159"/>
                  </a:lnTo>
                  <a:lnTo>
                    <a:pt x="582" y="161"/>
                  </a:lnTo>
                  <a:lnTo>
                    <a:pt x="569" y="142"/>
                  </a:lnTo>
                  <a:lnTo>
                    <a:pt x="536" y="119"/>
                  </a:lnTo>
                  <a:lnTo>
                    <a:pt x="521" y="119"/>
                  </a:lnTo>
                  <a:lnTo>
                    <a:pt x="519" y="107"/>
                  </a:lnTo>
                  <a:lnTo>
                    <a:pt x="505" y="96"/>
                  </a:lnTo>
                  <a:lnTo>
                    <a:pt x="515" y="79"/>
                  </a:lnTo>
                  <a:lnTo>
                    <a:pt x="518" y="57"/>
                  </a:lnTo>
                  <a:lnTo>
                    <a:pt x="530" y="57"/>
                  </a:lnTo>
                  <a:lnTo>
                    <a:pt x="541" y="36"/>
                  </a:lnTo>
                  <a:lnTo>
                    <a:pt x="531" y="29"/>
                  </a:lnTo>
                  <a:lnTo>
                    <a:pt x="521" y="40"/>
                  </a:lnTo>
                  <a:lnTo>
                    <a:pt x="518" y="30"/>
                  </a:lnTo>
                  <a:lnTo>
                    <a:pt x="506" y="34"/>
                  </a:lnTo>
                  <a:lnTo>
                    <a:pt x="450" y="13"/>
                  </a:lnTo>
                  <a:lnTo>
                    <a:pt x="455" y="23"/>
                  </a:lnTo>
                  <a:lnTo>
                    <a:pt x="449" y="34"/>
                  </a:lnTo>
                  <a:lnTo>
                    <a:pt x="422" y="34"/>
                  </a:lnTo>
                  <a:lnTo>
                    <a:pt x="409" y="44"/>
                  </a:lnTo>
                  <a:lnTo>
                    <a:pt x="405" y="63"/>
                  </a:lnTo>
                  <a:lnTo>
                    <a:pt x="394" y="66"/>
                  </a:lnTo>
                  <a:lnTo>
                    <a:pt x="380" y="84"/>
                  </a:lnTo>
                  <a:lnTo>
                    <a:pt x="388" y="92"/>
                  </a:lnTo>
                  <a:lnTo>
                    <a:pt x="385" y="102"/>
                  </a:lnTo>
                  <a:lnTo>
                    <a:pt x="365" y="93"/>
                  </a:lnTo>
                  <a:lnTo>
                    <a:pt x="354" y="102"/>
                  </a:lnTo>
                  <a:lnTo>
                    <a:pt x="349" y="83"/>
                  </a:lnTo>
                  <a:lnTo>
                    <a:pt x="342" y="73"/>
                  </a:lnTo>
                  <a:lnTo>
                    <a:pt x="331" y="70"/>
                  </a:lnTo>
                  <a:lnTo>
                    <a:pt x="311" y="89"/>
                  </a:lnTo>
                  <a:lnTo>
                    <a:pt x="297" y="89"/>
                  </a:lnTo>
                  <a:lnTo>
                    <a:pt x="273" y="129"/>
                  </a:lnTo>
                  <a:lnTo>
                    <a:pt x="262" y="123"/>
                  </a:lnTo>
                  <a:lnTo>
                    <a:pt x="257" y="135"/>
                  </a:lnTo>
                  <a:lnTo>
                    <a:pt x="263" y="142"/>
                  </a:lnTo>
                  <a:lnTo>
                    <a:pt x="252" y="153"/>
                  </a:lnTo>
                  <a:lnTo>
                    <a:pt x="246" y="130"/>
                  </a:lnTo>
                  <a:lnTo>
                    <a:pt x="227" y="152"/>
                  </a:lnTo>
                  <a:lnTo>
                    <a:pt x="227" y="169"/>
                  </a:lnTo>
                  <a:lnTo>
                    <a:pt x="193" y="205"/>
                  </a:lnTo>
                  <a:lnTo>
                    <a:pt x="96" y="229"/>
                  </a:lnTo>
                  <a:lnTo>
                    <a:pt x="52" y="266"/>
                  </a:lnTo>
                  <a:lnTo>
                    <a:pt x="49" y="252"/>
                  </a:lnTo>
                  <a:lnTo>
                    <a:pt x="38" y="273"/>
                  </a:lnTo>
                  <a:lnTo>
                    <a:pt x="38" y="292"/>
                  </a:lnTo>
                  <a:lnTo>
                    <a:pt x="28" y="302"/>
                  </a:lnTo>
                  <a:lnTo>
                    <a:pt x="32" y="359"/>
                  </a:lnTo>
                  <a:lnTo>
                    <a:pt x="22" y="342"/>
                  </a:lnTo>
                  <a:lnTo>
                    <a:pt x="23" y="363"/>
                  </a:lnTo>
                  <a:lnTo>
                    <a:pt x="16" y="353"/>
                  </a:lnTo>
                  <a:lnTo>
                    <a:pt x="32" y="421"/>
                  </a:lnTo>
                  <a:lnTo>
                    <a:pt x="32" y="481"/>
                  </a:lnTo>
                  <a:lnTo>
                    <a:pt x="21" y="515"/>
                  </a:lnTo>
                  <a:lnTo>
                    <a:pt x="5" y="524"/>
                  </a:lnTo>
                  <a:lnTo>
                    <a:pt x="0" y="53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82" name="Freeform 264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620" y="3430"/>
              <a:ext cx="200" cy="136"/>
            </a:xfrm>
            <a:custGeom>
              <a:avLst/>
              <a:gdLst>
                <a:gd name="T0" fmla="*/ 0 w 221"/>
                <a:gd name="T1" fmla="*/ 119 h 136"/>
                <a:gd name="T2" fmla="*/ 0 w 221"/>
                <a:gd name="T3" fmla="*/ 125 h 136"/>
                <a:gd name="T4" fmla="*/ 5 w 221"/>
                <a:gd name="T5" fmla="*/ 125 h 136"/>
                <a:gd name="T6" fmla="*/ 5 w 221"/>
                <a:gd name="T7" fmla="*/ 131 h 136"/>
                <a:gd name="T8" fmla="*/ 5 w 221"/>
                <a:gd name="T9" fmla="*/ 136 h 136"/>
                <a:gd name="T10" fmla="*/ 5 w 221"/>
                <a:gd name="T11" fmla="*/ 128 h 136"/>
                <a:gd name="T12" fmla="*/ 5 w 221"/>
                <a:gd name="T13" fmla="*/ 84 h 136"/>
                <a:gd name="T14" fmla="*/ 5 w 221"/>
                <a:gd name="T15" fmla="*/ 71 h 136"/>
                <a:gd name="T16" fmla="*/ 5 w 221"/>
                <a:gd name="T17" fmla="*/ 57 h 136"/>
                <a:gd name="T18" fmla="*/ 5 w 221"/>
                <a:gd name="T19" fmla="*/ 27 h 136"/>
                <a:gd name="T20" fmla="*/ 5 w 221"/>
                <a:gd name="T21" fmla="*/ 16 h 136"/>
                <a:gd name="T22" fmla="*/ 5 w 221"/>
                <a:gd name="T23" fmla="*/ 14 h 136"/>
                <a:gd name="T24" fmla="*/ 5 w 221"/>
                <a:gd name="T25" fmla="*/ 6 h 136"/>
                <a:gd name="T26" fmla="*/ 5 w 221"/>
                <a:gd name="T27" fmla="*/ 16 h 136"/>
                <a:gd name="T28" fmla="*/ 5 w 221"/>
                <a:gd name="T29" fmla="*/ 6 h 136"/>
                <a:gd name="T30" fmla="*/ 5 w 221"/>
                <a:gd name="T31" fmla="*/ 0 h 136"/>
                <a:gd name="T32" fmla="*/ 5 w 221"/>
                <a:gd name="T33" fmla="*/ 6 h 136"/>
                <a:gd name="T34" fmla="*/ 5 w 221"/>
                <a:gd name="T35" fmla="*/ 46 h 136"/>
                <a:gd name="T36" fmla="*/ 5 w 221"/>
                <a:gd name="T37" fmla="*/ 78 h 136"/>
                <a:gd name="T38" fmla="*/ 0 w 221"/>
                <a:gd name="T39" fmla="*/ 119 h 1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1"/>
                <a:gd name="T61" fmla="*/ 0 h 136"/>
                <a:gd name="T62" fmla="*/ 221 w 221"/>
                <a:gd name="T63" fmla="*/ 136 h 1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1" h="136">
                  <a:moveTo>
                    <a:pt x="0" y="119"/>
                  </a:moveTo>
                  <a:lnTo>
                    <a:pt x="0" y="125"/>
                  </a:lnTo>
                  <a:lnTo>
                    <a:pt x="16" y="125"/>
                  </a:lnTo>
                  <a:lnTo>
                    <a:pt x="16" y="131"/>
                  </a:lnTo>
                  <a:lnTo>
                    <a:pt x="31" y="136"/>
                  </a:lnTo>
                  <a:lnTo>
                    <a:pt x="60" y="128"/>
                  </a:lnTo>
                  <a:lnTo>
                    <a:pt x="116" y="84"/>
                  </a:lnTo>
                  <a:lnTo>
                    <a:pt x="157" y="71"/>
                  </a:lnTo>
                  <a:lnTo>
                    <a:pt x="162" y="57"/>
                  </a:lnTo>
                  <a:lnTo>
                    <a:pt x="213" y="27"/>
                  </a:lnTo>
                  <a:lnTo>
                    <a:pt x="221" y="16"/>
                  </a:lnTo>
                  <a:lnTo>
                    <a:pt x="215" y="14"/>
                  </a:lnTo>
                  <a:lnTo>
                    <a:pt x="218" y="6"/>
                  </a:lnTo>
                  <a:lnTo>
                    <a:pt x="200" y="16"/>
                  </a:lnTo>
                  <a:lnTo>
                    <a:pt x="205" y="6"/>
                  </a:lnTo>
                  <a:lnTo>
                    <a:pt x="199" y="0"/>
                  </a:lnTo>
                  <a:lnTo>
                    <a:pt x="188" y="6"/>
                  </a:lnTo>
                  <a:lnTo>
                    <a:pt x="139" y="46"/>
                  </a:lnTo>
                  <a:lnTo>
                    <a:pt x="65" y="78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83" name="Freeform 265"/>
            <p:cNvSpPr>
              <a:spLocks noChangeAspect="1"/>
            </p:cNvSpPr>
            <p:nvPr/>
          </p:nvSpPr>
          <p:spPr bwMode="auto">
            <a:xfrm>
              <a:off x="5337" y="3316"/>
              <a:ext cx="26" cy="11"/>
            </a:xfrm>
            <a:custGeom>
              <a:avLst/>
              <a:gdLst>
                <a:gd name="T0" fmla="*/ 0 w 29"/>
                <a:gd name="T1" fmla="*/ 6 h 11"/>
                <a:gd name="T2" fmla="*/ 3 w 29"/>
                <a:gd name="T3" fmla="*/ 11 h 11"/>
                <a:gd name="T4" fmla="*/ 4 w 29"/>
                <a:gd name="T5" fmla="*/ 11 h 11"/>
                <a:gd name="T6" fmla="*/ 4 w 29"/>
                <a:gd name="T7" fmla="*/ 6 h 11"/>
                <a:gd name="T8" fmla="*/ 4 w 29"/>
                <a:gd name="T9" fmla="*/ 0 h 11"/>
                <a:gd name="T10" fmla="*/ 0 w 29"/>
                <a:gd name="T11" fmla="*/ 6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11"/>
                <a:gd name="T20" fmla="*/ 29 w 29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11">
                  <a:moveTo>
                    <a:pt x="0" y="6"/>
                  </a:moveTo>
                  <a:lnTo>
                    <a:pt x="3" y="11"/>
                  </a:lnTo>
                  <a:lnTo>
                    <a:pt x="17" y="11"/>
                  </a:lnTo>
                  <a:lnTo>
                    <a:pt x="29" y="6"/>
                  </a:lnTo>
                  <a:lnTo>
                    <a:pt x="2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84" name="Freeform 266"/>
            <p:cNvSpPr>
              <a:spLocks noChangeAspect="1"/>
            </p:cNvSpPr>
            <p:nvPr/>
          </p:nvSpPr>
          <p:spPr bwMode="auto">
            <a:xfrm>
              <a:off x="5615" y="3566"/>
              <a:ext cx="19" cy="16"/>
            </a:xfrm>
            <a:custGeom>
              <a:avLst/>
              <a:gdLst>
                <a:gd name="T0" fmla="*/ 0 w 19"/>
                <a:gd name="T1" fmla="*/ 16 h 16"/>
                <a:gd name="T2" fmla="*/ 17 w 19"/>
                <a:gd name="T3" fmla="*/ 9 h 16"/>
                <a:gd name="T4" fmla="*/ 19 w 19"/>
                <a:gd name="T5" fmla="*/ 0 h 16"/>
                <a:gd name="T6" fmla="*/ 0 w 19"/>
                <a:gd name="T7" fmla="*/ 16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6"/>
                <a:gd name="T14" fmla="*/ 19 w 19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6">
                  <a:moveTo>
                    <a:pt x="0" y="16"/>
                  </a:moveTo>
                  <a:lnTo>
                    <a:pt x="17" y="9"/>
                  </a:lnTo>
                  <a:lnTo>
                    <a:pt x="19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85" name="Freeform 26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4242" y="1276"/>
              <a:ext cx="936" cy="753"/>
            </a:xfrm>
            <a:custGeom>
              <a:avLst/>
              <a:gdLst>
                <a:gd name="T0" fmla="*/ 5 w 1038"/>
                <a:gd name="T1" fmla="*/ 122 h 753"/>
                <a:gd name="T2" fmla="*/ 5 w 1038"/>
                <a:gd name="T3" fmla="*/ 180 h 753"/>
                <a:gd name="T4" fmla="*/ 5 w 1038"/>
                <a:gd name="T5" fmla="*/ 238 h 753"/>
                <a:gd name="T6" fmla="*/ 5 w 1038"/>
                <a:gd name="T7" fmla="*/ 245 h 753"/>
                <a:gd name="T8" fmla="*/ 5 w 1038"/>
                <a:gd name="T9" fmla="*/ 200 h 753"/>
                <a:gd name="T10" fmla="*/ 5 w 1038"/>
                <a:gd name="T11" fmla="*/ 177 h 753"/>
                <a:gd name="T12" fmla="*/ 5 w 1038"/>
                <a:gd name="T13" fmla="*/ 151 h 753"/>
                <a:gd name="T14" fmla="*/ 5 w 1038"/>
                <a:gd name="T15" fmla="*/ 130 h 753"/>
                <a:gd name="T16" fmla="*/ 5 w 1038"/>
                <a:gd name="T17" fmla="*/ 77 h 753"/>
                <a:gd name="T18" fmla="*/ 5 w 1038"/>
                <a:gd name="T19" fmla="*/ 42 h 753"/>
                <a:gd name="T20" fmla="*/ 5 w 1038"/>
                <a:gd name="T21" fmla="*/ 6 h 753"/>
                <a:gd name="T22" fmla="*/ 5 w 1038"/>
                <a:gd name="T23" fmla="*/ 56 h 753"/>
                <a:gd name="T24" fmla="*/ 5 w 1038"/>
                <a:gd name="T25" fmla="*/ 102 h 753"/>
                <a:gd name="T26" fmla="*/ 5 w 1038"/>
                <a:gd name="T27" fmla="*/ 110 h 753"/>
                <a:gd name="T28" fmla="*/ 5 w 1038"/>
                <a:gd name="T29" fmla="*/ 187 h 753"/>
                <a:gd name="T30" fmla="*/ 5 w 1038"/>
                <a:gd name="T31" fmla="*/ 226 h 753"/>
                <a:gd name="T32" fmla="*/ 5 w 1038"/>
                <a:gd name="T33" fmla="*/ 257 h 753"/>
                <a:gd name="T34" fmla="*/ 5 w 1038"/>
                <a:gd name="T35" fmla="*/ 267 h 753"/>
                <a:gd name="T36" fmla="*/ 5 w 1038"/>
                <a:gd name="T37" fmla="*/ 331 h 753"/>
                <a:gd name="T38" fmla="*/ 5 w 1038"/>
                <a:gd name="T39" fmla="*/ 293 h 753"/>
                <a:gd name="T40" fmla="*/ 5 w 1038"/>
                <a:gd name="T41" fmla="*/ 299 h 753"/>
                <a:gd name="T42" fmla="*/ 5 w 1038"/>
                <a:gd name="T43" fmla="*/ 319 h 753"/>
                <a:gd name="T44" fmla="*/ 5 w 1038"/>
                <a:gd name="T45" fmla="*/ 369 h 753"/>
                <a:gd name="T46" fmla="*/ 5 w 1038"/>
                <a:gd name="T47" fmla="*/ 375 h 753"/>
                <a:gd name="T48" fmla="*/ 5 w 1038"/>
                <a:gd name="T49" fmla="*/ 421 h 753"/>
                <a:gd name="T50" fmla="*/ 5 w 1038"/>
                <a:gd name="T51" fmla="*/ 494 h 753"/>
                <a:gd name="T52" fmla="*/ 5 w 1038"/>
                <a:gd name="T53" fmla="*/ 524 h 753"/>
                <a:gd name="T54" fmla="*/ 5 w 1038"/>
                <a:gd name="T55" fmla="*/ 574 h 753"/>
                <a:gd name="T56" fmla="*/ 5 w 1038"/>
                <a:gd name="T57" fmla="*/ 624 h 753"/>
                <a:gd name="T58" fmla="*/ 5 w 1038"/>
                <a:gd name="T59" fmla="*/ 664 h 753"/>
                <a:gd name="T60" fmla="*/ 5 w 1038"/>
                <a:gd name="T61" fmla="*/ 710 h 753"/>
                <a:gd name="T62" fmla="*/ 5 w 1038"/>
                <a:gd name="T63" fmla="*/ 704 h 753"/>
                <a:gd name="T64" fmla="*/ 5 w 1038"/>
                <a:gd name="T65" fmla="*/ 750 h 753"/>
                <a:gd name="T66" fmla="*/ 5 w 1038"/>
                <a:gd name="T67" fmla="*/ 729 h 753"/>
                <a:gd name="T68" fmla="*/ 5 w 1038"/>
                <a:gd name="T69" fmla="*/ 718 h 753"/>
                <a:gd name="T70" fmla="*/ 5 w 1038"/>
                <a:gd name="T71" fmla="*/ 702 h 753"/>
                <a:gd name="T72" fmla="*/ 5 w 1038"/>
                <a:gd name="T73" fmla="*/ 704 h 753"/>
                <a:gd name="T74" fmla="*/ 5 w 1038"/>
                <a:gd name="T75" fmla="*/ 722 h 753"/>
                <a:gd name="T76" fmla="*/ 5 w 1038"/>
                <a:gd name="T77" fmla="*/ 693 h 753"/>
                <a:gd name="T78" fmla="*/ 5 w 1038"/>
                <a:gd name="T79" fmla="*/ 675 h 753"/>
                <a:gd name="T80" fmla="*/ 5 w 1038"/>
                <a:gd name="T81" fmla="*/ 575 h 753"/>
                <a:gd name="T82" fmla="*/ 5 w 1038"/>
                <a:gd name="T83" fmla="*/ 573 h 753"/>
                <a:gd name="T84" fmla="*/ 5 w 1038"/>
                <a:gd name="T85" fmla="*/ 593 h 753"/>
                <a:gd name="T86" fmla="*/ 5 w 1038"/>
                <a:gd name="T87" fmla="*/ 580 h 753"/>
                <a:gd name="T88" fmla="*/ 5 w 1038"/>
                <a:gd name="T89" fmla="*/ 529 h 753"/>
                <a:gd name="T90" fmla="*/ 5 w 1038"/>
                <a:gd name="T91" fmla="*/ 479 h 753"/>
                <a:gd name="T92" fmla="*/ 5 w 1038"/>
                <a:gd name="T93" fmla="*/ 445 h 753"/>
                <a:gd name="T94" fmla="*/ 5 w 1038"/>
                <a:gd name="T95" fmla="*/ 394 h 753"/>
                <a:gd name="T96" fmla="*/ 5 w 1038"/>
                <a:gd name="T97" fmla="*/ 376 h 753"/>
                <a:gd name="T98" fmla="*/ 5 w 1038"/>
                <a:gd name="T99" fmla="*/ 365 h 753"/>
                <a:gd name="T100" fmla="*/ 0 w 1038"/>
                <a:gd name="T101" fmla="*/ 329 h 753"/>
                <a:gd name="T102" fmla="*/ 5 w 1038"/>
                <a:gd name="T103" fmla="*/ 291 h 753"/>
                <a:gd name="T104" fmla="*/ 5 w 1038"/>
                <a:gd name="T105" fmla="*/ 279 h 753"/>
                <a:gd name="T106" fmla="*/ 5 w 1038"/>
                <a:gd name="T107" fmla="*/ 231 h 753"/>
                <a:gd name="T108" fmla="*/ 5 w 1038"/>
                <a:gd name="T109" fmla="*/ 184 h 753"/>
                <a:gd name="T110" fmla="*/ 5 w 1038"/>
                <a:gd name="T111" fmla="*/ 141 h 7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38"/>
                <a:gd name="T169" fmla="*/ 0 h 753"/>
                <a:gd name="T170" fmla="*/ 1038 w 1038"/>
                <a:gd name="T171" fmla="*/ 753 h 7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38" h="753">
                  <a:moveTo>
                    <a:pt x="168" y="106"/>
                  </a:moveTo>
                  <a:lnTo>
                    <a:pt x="183" y="99"/>
                  </a:lnTo>
                  <a:lnTo>
                    <a:pt x="211" y="122"/>
                  </a:lnTo>
                  <a:lnTo>
                    <a:pt x="235" y="125"/>
                  </a:lnTo>
                  <a:lnTo>
                    <a:pt x="255" y="147"/>
                  </a:lnTo>
                  <a:lnTo>
                    <a:pt x="267" y="180"/>
                  </a:lnTo>
                  <a:lnTo>
                    <a:pt x="356" y="203"/>
                  </a:lnTo>
                  <a:lnTo>
                    <a:pt x="402" y="239"/>
                  </a:lnTo>
                  <a:lnTo>
                    <a:pt x="474" y="238"/>
                  </a:lnTo>
                  <a:lnTo>
                    <a:pt x="564" y="266"/>
                  </a:lnTo>
                  <a:lnTo>
                    <a:pt x="605" y="248"/>
                  </a:lnTo>
                  <a:lnTo>
                    <a:pt x="644" y="245"/>
                  </a:lnTo>
                  <a:lnTo>
                    <a:pt x="649" y="243"/>
                  </a:lnTo>
                  <a:lnTo>
                    <a:pt x="671" y="217"/>
                  </a:lnTo>
                  <a:lnTo>
                    <a:pt x="655" y="200"/>
                  </a:lnTo>
                  <a:lnTo>
                    <a:pt x="664" y="186"/>
                  </a:lnTo>
                  <a:lnTo>
                    <a:pt x="689" y="193"/>
                  </a:lnTo>
                  <a:lnTo>
                    <a:pt x="701" y="177"/>
                  </a:lnTo>
                  <a:lnTo>
                    <a:pt x="716" y="171"/>
                  </a:lnTo>
                  <a:lnTo>
                    <a:pt x="727" y="152"/>
                  </a:lnTo>
                  <a:lnTo>
                    <a:pt x="770" y="151"/>
                  </a:lnTo>
                  <a:lnTo>
                    <a:pt x="758" y="133"/>
                  </a:lnTo>
                  <a:lnTo>
                    <a:pt x="738" y="123"/>
                  </a:lnTo>
                  <a:lnTo>
                    <a:pt x="717" y="130"/>
                  </a:lnTo>
                  <a:lnTo>
                    <a:pt x="694" y="128"/>
                  </a:lnTo>
                  <a:lnTo>
                    <a:pt x="673" y="91"/>
                  </a:lnTo>
                  <a:lnTo>
                    <a:pt x="678" y="77"/>
                  </a:lnTo>
                  <a:lnTo>
                    <a:pt x="709" y="85"/>
                  </a:lnTo>
                  <a:lnTo>
                    <a:pt x="726" y="74"/>
                  </a:lnTo>
                  <a:lnTo>
                    <a:pt x="718" y="42"/>
                  </a:lnTo>
                  <a:lnTo>
                    <a:pt x="724" y="36"/>
                  </a:lnTo>
                  <a:lnTo>
                    <a:pt x="706" y="15"/>
                  </a:lnTo>
                  <a:lnTo>
                    <a:pt x="712" y="6"/>
                  </a:lnTo>
                  <a:lnTo>
                    <a:pt x="750" y="0"/>
                  </a:lnTo>
                  <a:lnTo>
                    <a:pt x="801" y="14"/>
                  </a:lnTo>
                  <a:lnTo>
                    <a:pt x="854" y="56"/>
                  </a:lnTo>
                  <a:lnTo>
                    <a:pt x="878" y="84"/>
                  </a:lnTo>
                  <a:lnTo>
                    <a:pt x="910" y="88"/>
                  </a:lnTo>
                  <a:lnTo>
                    <a:pt x="945" y="102"/>
                  </a:lnTo>
                  <a:lnTo>
                    <a:pt x="969" y="127"/>
                  </a:lnTo>
                  <a:lnTo>
                    <a:pt x="988" y="128"/>
                  </a:lnTo>
                  <a:lnTo>
                    <a:pt x="1025" y="110"/>
                  </a:lnTo>
                  <a:lnTo>
                    <a:pt x="1036" y="130"/>
                  </a:lnTo>
                  <a:lnTo>
                    <a:pt x="1031" y="136"/>
                  </a:lnTo>
                  <a:lnTo>
                    <a:pt x="1038" y="187"/>
                  </a:lnTo>
                  <a:lnTo>
                    <a:pt x="1018" y="184"/>
                  </a:lnTo>
                  <a:lnTo>
                    <a:pt x="1008" y="197"/>
                  </a:lnTo>
                  <a:lnTo>
                    <a:pt x="1030" y="226"/>
                  </a:lnTo>
                  <a:lnTo>
                    <a:pt x="1032" y="244"/>
                  </a:lnTo>
                  <a:lnTo>
                    <a:pt x="1012" y="238"/>
                  </a:lnTo>
                  <a:lnTo>
                    <a:pt x="1006" y="257"/>
                  </a:lnTo>
                  <a:lnTo>
                    <a:pt x="991" y="259"/>
                  </a:lnTo>
                  <a:lnTo>
                    <a:pt x="992" y="272"/>
                  </a:lnTo>
                  <a:lnTo>
                    <a:pt x="971" y="267"/>
                  </a:lnTo>
                  <a:lnTo>
                    <a:pt x="939" y="311"/>
                  </a:lnTo>
                  <a:lnTo>
                    <a:pt x="928" y="308"/>
                  </a:lnTo>
                  <a:lnTo>
                    <a:pt x="894" y="331"/>
                  </a:lnTo>
                  <a:lnTo>
                    <a:pt x="899" y="322"/>
                  </a:lnTo>
                  <a:lnTo>
                    <a:pt x="889" y="314"/>
                  </a:lnTo>
                  <a:lnTo>
                    <a:pt x="898" y="293"/>
                  </a:lnTo>
                  <a:lnTo>
                    <a:pt x="887" y="284"/>
                  </a:lnTo>
                  <a:lnTo>
                    <a:pt x="873" y="282"/>
                  </a:lnTo>
                  <a:lnTo>
                    <a:pt x="866" y="299"/>
                  </a:lnTo>
                  <a:lnTo>
                    <a:pt x="852" y="308"/>
                  </a:lnTo>
                  <a:lnTo>
                    <a:pt x="849" y="322"/>
                  </a:lnTo>
                  <a:lnTo>
                    <a:pt x="830" y="319"/>
                  </a:lnTo>
                  <a:lnTo>
                    <a:pt x="829" y="335"/>
                  </a:lnTo>
                  <a:lnTo>
                    <a:pt x="875" y="369"/>
                  </a:lnTo>
                  <a:lnTo>
                    <a:pt x="883" y="369"/>
                  </a:lnTo>
                  <a:lnTo>
                    <a:pt x="898" y="354"/>
                  </a:lnTo>
                  <a:lnTo>
                    <a:pt x="934" y="364"/>
                  </a:lnTo>
                  <a:lnTo>
                    <a:pt x="934" y="375"/>
                  </a:lnTo>
                  <a:lnTo>
                    <a:pt x="927" y="371"/>
                  </a:lnTo>
                  <a:lnTo>
                    <a:pt x="909" y="381"/>
                  </a:lnTo>
                  <a:lnTo>
                    <a:pt x="892" y="421"/>
                  </a:lnTo>
                  <a:lnTo>
                    <a:pt x="918" y="432"/>
                  </a:lnTo>
                  <a:lnTo>
                    <a:pt x="944" y="472"/>
                  </a:lnTo>
                  <a:lnTo>
                    <a:pt x="968" y="494"/>
                  </a:lnTo>
                  <a:lnTo>
                    <a:pt x="957" y="494"/>
                  </a:lnTo>
                  <a:lnTo>
                    <a:pt x="975" y="511"/>
                  </a:lnTo>
                  <a:lnTo>
                    <a:pt x="950" y="524"/>
                  </a:lnTo>
                  <a:lnTo>
                    <a:pt x="985" y="531"/>
                  </a:lnTo>
                  <a:lnTo>
                    <a:pt x="985" y="568"/>
                  </a:lnTo>
                  <a:lnTo>
                    <a:pt x="977" y="574"/>
                  </a:lnTo>
                  <a:lnTo>
                    <a:pt x="964" y="608"/>
                  </a:lnTo>
                  <a:lnTo>
                    <a:pt x="957" y="607"/>
                  </a:lnTo>
                  <a:lnTo>
                    <a:pt x="962" y="624"/>
                  </a:lnTo>
                  <a:lnTo>
                    <a:pt x="949" y="656"/>
                  </a:lnTo>
                  <a:lnTo>
                    <a:pt x="939" y="656"/>
                  </a:lnTo>
                  <a:lnTo>
                    <a:pt x="940" y="664"/>
                  </a:lnTo>
                  <a:lnTo>
                    <a:pt x="912" y="690"/>
                  </a:lnTo>
                  <a:lnTo>
                    <a:pt x="875" y="700"/>
                  </a:lnTo>
                  <a:lnTo>
                    <a:pt x="869" y="710"/>
                  </a:lnTo>
                  <a:lnTo>
                    <a:pt x="858" y="700"/>
                  </a:lnTo>
                  <a:lnTo>
                    <a:pt x="857" y="711"/>
                  </a:lnTo>
                  <a:lnTo>
                    <a:pt x="847" y="704"/>
                  </a:lnTo>
                  <a:lnTo>
                    <a:pt x="847" y="716"/>
                  </a:lnTo>
                  <a:lnTo>
                    <a:pt x="798" y="733"/>
                  </a:lnTo>
                  <a:lnTo>
                    <a:pt x="803" y="750"/>
                  </a:lnTo>
                  <a:lnTo>
                    <a:pt x="798" y="753"/>
                  </a:lnTo>
                  <a:lnTo>
                    <a:pt x="792" y="753"/>
                  </a:lnTo>
                  <a:lnTo>
                    <a:pt x="785" y="729"/>
                  </a:lnTo>
                  <a:lnTo>
                    <a:pt x="758" y="723"/>
                  </a:lnTo>
                  <a:lnTo>
                    <a:pt x="750" y="729"/>
                  </a:lnTo>
                  <a:lnTo>
                    <a:pt x="724" y="718"/>
                  </a:lnTo>
                  <a:lnTo>
                    <a:pt x="717" y="698"/>
                  </a:lnTo>
                  <a:lnTo>
                    <a:pt x="694" y="689"/>
                  </a:lnTo>
                  <a:lnTo>
                    <a:pt x="649" y="702"/>
                  </a:lnTo>
                  <a:lnTo>
                    <a:pt x="635" y="699"/>
                  </a:lnTo>
                  <a:lnTo>
                    <a:pt x="632" y="706"/>
                  </a:lnTo>
                  <a:lnTo>
                    <a:pt x="622" y="704"/>
                  </a:lnTo>
                  <a:lnTo>
                    <a:pt x="624" y="730"/>
                  </a:lnTo>
                  <a:lnTo>
                    <a:pt x="618" y="733"/>
                  </a:lnTo>
                  <a:lnTo>
                    <a:pt x="614" y="722"/>
                  </a:lnTo>
                  <a:lnTo>
                    <a:pt x="596" y="726"/>
                  </a:lnTo>
                  <a:lnTo>
                    <a:pt x="575" y="711"/>
                  </a:lnTo>
                  <a:lnTo>
                    <a:pt x="576" y="693"/>
                  </a:lnTo>
                  <a:lnTo>
                    <a:pt x="564" y="686"/>
                  </a:lnTo>
                  <a:lnTo>
                    <a:pt x="559" y="667"/>
                  </a:lnTo>
                  <a:lnTo>
                    <a:pt x="536" y="675"/>
                  </a:lnTo>
                  <a:lnTo>
                    <a:pt x="547" y="608"/>
                  </a:lnTo>
                  <a:lnTo>
                    <a:pt x="530" y="579"/>
                  </a:lnTo>
                  <a:lnTo>
                    <a:pt x="513" y="575"/>
                  </a:lnTo>
                  <a:lnTo>
                    <a:pt x="476" y="545"/>
                  </a:lnTo>
                  <a:lnTo>
                    <a:pt x="451" y="548"/>
                  </a:lnTo>
                  <a:lnTo>
                    <a:pt x="431" y="573"/>
                  </a:lnTo>
                  <a:lnTo>
                    <a:pt x="404" y="582"/>
                  </a:lnTo>
                  <a:lnTo>
                    <a:pt x="368" y="571"/>
                  </a:lnTo>
                  <a:lnTo>
                    <a:pt x="351" y="593"/>
                  </a:lnTo>
                  <a:lnTo>
                    <a:pt x="342" y="576"/>
                  </a:lnTo>
                  <a:lnTo>
                    <a:pt x="333" y="580"/>
                  </a:lnTo>
                  <a:lnTo>
                    <a:pt x="289" y="580"/>
                  </a:lnTo>
                  <a:lnTo>
                    <a:pt x="246" y="548"/>
                  </a:lnTo>
                  <a:lnTo>
                    <a:pt x="237" y="552"/>
                  </a:lnTo>
                  <a:lnTo>
                    <a:pt x="211" y="529"/>
                  </a:lnTo>
                  <a:lnTo>
                    <a:pt x="185" y="526"/>
                  </a:lnTo>
                  <a:lnTo>
                    <a:pt x="145" y="510"/>
                  </a:lnTo>
                  <a:lnTo>
                    <a:pt x="126" y="479"/>
                  </a:lnTo>
                  <a:lnTo>
                    <a:pt x="126" y="473"/>
                  </a:lnTo>
                  <a:lnTo>
                    <a:pt x="143" y="473"/>
                  </a:lnTo>
                  <a:lnTo>
                    <a:pt x="130" y="445"/>
                  </a:lnTo>
                  <a:lnTo>
                    <a:pt x="143" y="424"/>
                  </a:lnTo>
                  <a:lnTo>
                    <a:pt x="145" y="404"/>
                  </a:lnTo>
                  <a:lnTo>
                    <a:pt x="124" y="394"/>
                  </a:lnTo>
                  <a:lnTo>
                    <a:pt x="95" y="407"/>
                  </a:lnTo>
                  <a:lnTo>
                    <a:pt x="63" y="396"/>
                  </a:lnTo>
                  <a:lnTo>
                    <a:pt x="51" y="376"/>
                  </a:lnTo>
                  <a:lnTo>
                    <a:pt x="29" y="371"/>
                  </a:lnTo>
                  <a:lnTo>
                    <a:pt x="27" y="369"/>
                  </a:lnTo>
                  <a:lnTo>
                    <a:pt x="30" y="365"/>
                  </a:lnTo>
                  <a:lnTo>
                    <a:pt x="24" y="339"/>
                  </a:lnTo>
                  <a:lnTo>
                    <a:pt x="7" y="337"/>
                  </a:lnTo>
                  <a:lnTo>
                    <a:pt x="0" y="329"/>
                  </a:lnTo>
                  <a:lnTo>
                    <a:pt x="0" y="316"/>
                  </a:lnTo>
                  <a:lnTo>
                    <a:pt x="0" y="302"/>
                  </a:lnTo>
                  <a:lnTo>
                    <a:pt x="14" y="291"/>
                  </a:lnTo>
                  <a:lnTo>
                    <a:pt x="45" y="291"/>
                  </a:lnTo>
                  <a:lnTo>
                    <a:pt x="47" y="282"/>
                  </a:lnTo>
                  <a:lnTo>
                    <a:pt x="68" y="279"/>
                  </a:lnTo>
                  <a:lnTo>
                    <a:pt x="98" y="259"/>
                  </a:lnTo>
                  <a:lnTo>
                    <a:pt x="100" y="250"/>
                  </a:lnTo>
                  <a:lnTo>
                    <a:pt x="103" y="231"/>
                  </a:lnTo>
                  <a:lnTo>
                    <a:pt x="80" y="193"/>
                  </a:lnTo>
                  <a:lnTo>
                    <a:pt x="85" y="186"/>
                  </a:lnTo>
                  <a:lnTo>
                    <a:pt x="115" y="184"/>
                  </a:lnTo>
                  <a:lnTo>
                    <a:pt x="113" y="139"/>
                  </a:lnTo>
                  <a:lnTo>
                    <a:pt x="149" y="146"/>
                  </a:lnTo>
                  <a:lnTo>
                    <a:pt x="160" y="141"/>
                  </a:lnTo>
                  <a:lnTo>
                    <a:pt x="154" y="112"/>
                  </a:lnTo>
                  <a:lnTo>
                    <a:pt x="168" y="10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86" name="Freeform 268"/>
            <p:cNvSpPr>
              <a:spLocks noChangeAspect="1"/>
            </p:cNvSpPr>
            <p:nvPr/>
          </p:nvSpPr>
          <p:spPr bwMode="auto">
            <a:xfrm>
              <a:off x="839" y="1168"/>
              <a:ext cx="61" cy="37"/>
            </a:xfrm>
            <a:custGeom>
              <a:avLst/>
              <a:gdLst>
                <a:gd name="T0" fmla="*/ 0 w 68"/>
                <a:gd name="T1" fmla="*/ 26 h 37"/>
                <a:gd name="T2" fmla="*/ 0 w 68"/>
                <a:gd name="T3" fmla="*/ 37 h 37"/>
                <a:gd name="T4" fmla="*/ 4 w 68"/>
                <a:gd name="T5" fmla="*/ 20 h 37"/>
                <a:gd name="T6" fmla="*/ 4 w 68"/>
                <a:gd name="T7" fmla="*/ 14 h 37"/>
                <a:gd name="T8" fmla="*/ 4 w 68"/>
                <a:gd name="T9" fmla="*/ 11 h 37"/>
                <a:gd name="T10" fmla="*/ 4 w 68"/>
                <a:gd name="T11" fmla="*/ 7 h 37"/>
                <a:gd name="T12" fmla="*/ 4 w 68"/>
                <a:gd name="T13" fmla="*/ 0 h 37"/>
                <a:gd name="T14" fmla="*/ 0 w 68"/>
                <a:gd name="T15" fmla="*/ 26 h 3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8"/>
                <a:gd name="T25" fmla="*/ 0 h 37"/>
                <a:gd name="T26" fmla="*/ 68 w 68"/>
                <a:gd name="T27" fmla="*/ 37 h 3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8" h="37">
                  <a:moveTo>
                    <a:pt x="0" y="26"/>
                  </a:moveTo>
                  <a:lnTo>
                    <a:pt x="0" y="37"/>
                  </a:lnTo>
                  <a:lnTo>
                    <a:pt x="48" y="20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68" y="7"/>
                  </a:lnTo>
                  <a:lnTo>
                    <a:pt x="66" y="0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87" name="Freeform 269"/>
            <p:cNvSpPr>
              <a:spLocks noChangeAspect="1"/>
            </p:cNvSpPr>
            <p:nvPr/>
          </p:nvSpPr>
          <p:spPr bwMode="auto">
            <a:xfrm>
              <a:off x="2845" y="1493"/>
              <a:ext cx="205" cy="175"/>
            </a:xfrm>
            <a:custGeom>
              <a:avLst/>
              <a:gdLst>
                <a:gd name="T0" fmla="*/ 5 w 227"/>
                <a:gd name="T1" fmla="*/ 21 h 175"/>
                <a:gd name="T2" fmla="*/ 5 w 227"/>
                <a:gd name="T3" fmla="*/ 27 h 175"/>
                <a:gd name="T4" fmla="*/ 5 w 227"/>
                <a:gd name="T5" fmla="*/ 42 h 175"/>
                <a:gd name="T6" fmla="*/ 5 w 227"/>
                <a:gd name="T7" fmla="*/ 62 h 175"/>
                <a:gd name="T8" fmla="*/ 5 w 227"/>
                <a:gd name="T9" fmla="*/ 97 h 175"/>
                <a:gd name="T10" fmla="*/ 5 w 227"/>
                <a:gd name="T11" fmla="*/ 114 h 175"/>
                <a:gd name="T12" fmla="*/ 5 w 227"/>
                <a:gd name="T13" fmla="*/ 159 h 175"/>
                <a:gd name="T14" fmla="*/ 5 w 227"/>
                <a:gd name="T15" fmla="*/ 162 h 175"/>
                <a:gd name="T16" fmla="*/ 5 w 227"/>
                <a:gd name="T17" fmla="*/ 175 h 175"/>
                <a:gd name="T18" fmla="*/ 5 w 227"/>
                <a:gd name="T19" fmla="*/ 148 h 175"/>
                <a:gd name="T20" fmla="*/ 5 w 227"/>
                <a:gd name="T21" fmla="*/ 125 h 175"/>
                <a:gd name="T22" fmla="*/ 5 w 227"/>
                <a:gd name="T23" fmla="*/ 94 h 175"/>
                <a:gd name="T24" fmla="*/ 5 w 227"/>
                <a:gd name="T25" fmla="*/ 84 h 175"/>
                <a:gd name="T26" fmla="*/ 5 w 227"/>
                <a:gd name="T27" fmla="*/ 66 h 175"/>
                <a:gd name="T28" fmla="*/ 5 w 227"/>
                <a:gd name="T29" fmla="*/ 51 h 175"/>
                <a:gd name="T30" fmla="*/ 5 w 227"/>
                <a:gd name="T31" fmla="*/ 43 h 175"/>
                <a:gd name="T32" fmla="*/ 5 w 227"/>
                <a:gd name="T33" fmla="*/ 42 h 175"/>
                <a:gd name="T34" fmla="*/ 0 w 227"/>
                <a:gd name="T35" fmla="*/ 17 h 175"/>
                <a:gd name="T36" fmla="*/ 5 w 227"/>
                <a:gd name="T37" fmla="*/ 11 h 175"/>
                <a:gd name="T38" fmla="*/ 5 w 227"/>
                <a:gd name="T39" fmla="*/ 0 h 175"/>
                <a:gd name="T40" fmla="*/ 5 w 227"/>
                <a:gd name="T41" fmla="*/ 10 h 175"/>
                <a:gd name="T42" fmla="*/ 5 w 227"/>
                <a:gd name="T43" fmla="*/ 10 h 175"/>
                <a:gd name="T44" fmla="*/ 5 w 227"/>
                <a:gd name="T45" fmla="*/ 9 h 175"/>
                <a:gd name="T46" fmla="*/ 5 w 227"/>
                <a:gd name="T47" fmla="*/ 21 h 1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27"/>
                <a:gd name="T73" fmla="*/ 0 h 175"/>
                <a:gd name="T74" fmla="*/ 227 w 227"/>
                <a:gd name="T75" fmla="*/ 175 h 17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27" h="175">
                  <a:moveTo>
                    <a:pt x="163" y="21"/>
                  </a:moveTo>
                  <a:lnTo>
                    <a:pt x="225" y="27"/>
                  </a:lnTo>
                  <a:lnTo>
                    <a:pt x="227" y="42"/>
                  </a:lnTo>
                  <a:lnTo>
                    <a:pt x="186" y="62"/>
                  </a:lnTo>
                  <a:lnTo>
                    <a:pt x="159" y="97"/>
                  </a:lnTo>
                  <a:lnTo>
                    <a:pt x="169" y="114"/>
                  </a:lnTo>
                  <a:lnTo>
                    <a:pt x="122" y="159"/>
                  </a:lnTo>
                  <a:lnTo>
                    <a:pt x="77" y="162"/>
                  </a:lnTo>
                  <a:lnTo>
                    <a:pt x="57" y="175"/>
                  </a:lnTo>
                  <a:lnTo>
                    <a:pt x="31" y="148"/>
                  </a:lnTo>
                  <a:lnTo>
                    <a:pt x="39" y="125"/>
                  </a:lnTo>
                  <a:lnTo>
                    <a:pt x="31" y="94"/>
                  </a:lnTo>
                  <a:lnTo>
                    <a:pt x="41" y="84"/>
                  </a:lnTo>
                  <a:lnTo>
                    <a:pt x="44" y="66"/>
                  </a:lnTo>
                  <a:lnTo>
                    <a:pt x="55" y="51"/>
                  </a:lnTo>
                  <a:lnTo>
                    <a:pt x="51" y="43"/>
                  </a:lnTo>
                  <a:lnTo>
                    <a:pt x="11" y="42"/>
                  </a:lnTo>
                  <a:lnTo>
                    <a:pt x="0" y="17"/>
                  </a:lnTo>
                  <a:lnTo>
                    <a:pt x="5" y="11"/>
                  </a:lnTo>
                  <a:lnTo>
                    <a:pt x="23" y="0"/>
                  </a:lnTo>
                  <a:lnTo>
                    <a:pt x="89" y="10"/>
                  </a:lnTo>
                  <a:lnTo>
                    <a:pt x="130" y="10"/>
                  </a:lnTo>
                  <a:lnTo>
                    <a:pt x="138" y="9"/>
                  </a:lnTo>
                  <a:lnTo>
                    <a:pt x="163" y="2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88" name="Freeform 270"/>
            <p:cNvSpPr>
              <a:spLocks noChangeAspect="1"/>
            </p:cNvSpPr>
            <p:nvPr/>
          </p:nvSpPr>
          <p:spPr bwMode="auto">
            <a:xfrm>
              <a:off x="2889" y="1240"/>
              <a:ext cx="35" cy="24"/>
            </a:xfrm>
            <a:custGeom>
              <a:avLst/>
              <a:gdLst>
                <a:gd name="T0" fmla="*/ 4 w 39"/>
                <a:gd name="T1" fmla="*/ 0 h 24"/>
                <a:gd name="T2" fmla="*/ 0 w 39"/>
                <a:gd name="T3" fmla="*/ 13 h 24"/>
                <a:gd name="T4" fmla="*/ 4 w 39"/>
                <a:gd name="T5" fmla="*/ 22 h 24"/>
                <a:gd name="T6" fmla="*/ 4 w 39"/>
                <a:gd name="T7" fmla="*/ 16 h 24"/>
                <a:gd name="T8" fmla="*/ 4 w 39"/>
                <a:gd name="T9" fmla="*/ 24 h 24"/>
                <a:gd name="T10" fmla="*/ 4 w 39"/>
                <a:gd name="T11" fmla="*/ 18 h 24"/>
                <a:gd name="T12" fmla="*/ 4 w 39"/>
                <a:gd name="T13" fmla="*/ 0 h 24"/>
                <a:gd name="T14" fmla="*/ 4 w 39"/>
                <a:gd name="T15" fmla="*/ 0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9"/>
                <a:gd name="T25" fmla="*/ 0 h 24"/>
                <a:gd name="T26" fmla="*/ 39 w 39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9" h="24">
                  <a:moveTo>
                    <a:pt x="8" y="0"/>
                  </a:moveTo>
                  <a:lnTo>
                    <a:pt x="0" y="13"/>
                  </a:lnTo>
                  <a:lnTo>
                    <a:pt x="9" y="22"/>
                  </a:lnTo>
                  <a:lnTo>
                    <a:pt x="28" y="16"/>
                  </a:lnTo>
                  <a:lnTo>
                    <a:pt x="30" y="24"/>
                  </a:lnTo>
                  <a:lnTo>
                    <a:pt x="39" y="18"/>
                  </a:lnTo>
                  <a:lnTo>
                    <a:pt x="32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89" name="Freeform 271"/>
            <p:cNvSpPr>
              <a:spLocks noChangeAspect="1"/>
            </p:cNvSpPr>
            <p:nvPr/>
          </p:nvSpPr>
          <p:spPr bwMode="auto">
            <a:xfrm>
              <a:off x="3181" y="951"/>
              <a:ext cx="178" cy="282"/>
            </a:xfrm>
            <a:custGeom>
              <a:avLst/>
              <a:gdLst>
                <a:gd name="T0" fmla="*/ 5 w 197"/>
                <a:gd name="T1" fmla="*/ 207 h 282"/>
                <a:gd name="T2" fmla="*/ 5 w 197"/>
                <a:gd name="T3" fmla="*/ 192 h 282"/>
                <a:gd name="T4" fmla="*/ 5 w 197"/>
                <a:gd name="T5" fmla="*/ 185 h 282"/>
                <a:gd name="T6" fmla="*/ 5 w 197"/>
                <a:gd name="T7" fmla="*/ 163 h 282"/>
                <a:gd name="T8" fmla="*/ 5 w 197"/>
                <a:gd name="T9" fmla="*/ 159 h 282"/>
                <a:gd name="T10" fmla="*/ 5 w 197"/>
                <a:gd name="T11" fmla="*/ 133 h 282"/>
                <a:gd name="T12" fmla="*/ 5 w 197"/>
                <a:gd name="T13" fmla="*/ 108 h 282"/>
                <a:gd name="T14" fmla="*/ 5 w 197"/>
                <a:gd name="T15" fmla="*/ 99 h 282"/>
                <a:gd name="T16" fmla="*/ 5 w 197"/>
                <a:gd name="T17" fmla="*/ 88 h 282"/>
                <a:gd name="T18" fmla="*/ 5 w 197"/>
                <a:gd name="T19" fmla="*/ 59 h 282"/>
                <a:gd name="T20" fmla="*/ 5 w 197"/>
                <a:gd name="T21" fmla="*/ 44 h 282"/>
                <a:gd name="T22" fmla="*/ 5 w 197"/>
                <a:gd name="T23" fmla="*/ 22 h 282"/>
                <a:gd name="T24" fmla="*/ 5 w 197"/>
                <a:gd name="T25" fmla="*/ 20 h 282"/>
                <a:gd name="T26" fmla="*/ 5 w 197"/>
                <a:gd name="T27" fmla="*/ 11 h 282"/>
                <a:gd name="T28" fmla="*/ 5 w 197"/>
                <a:gd name="T29" fmla="*/ 12 h 282"/>
                <a:gd name="T30" fmla="*/ 5 w 197"/>
                <a:gd name="T31" fmla="*/ 0 h 282"/>
                <a:gd name="T32" fmla="*/ 5 w 197"/>
                <a:gd name="T33" fmla="*/ 20 h 282"/>
                <a:gd name="T34" fmla="*/ 5 w 197"/>
                <a:gd name="T35" fmla="*/ 63 h 282"/>
                <a:gd name="T36" fmla="*/ 5 w 197"/>
                <a:gd name="T37" fmla="*/ 65 h 282"/>
                <a:gd name="T38" fmla="*/ 5 w 197"/>
                <a:gd name="T39" fmla="*/ 86 h 282"/>
                <a:gd name="T40" fmla="*/ 5 w 197"/>
                <a:gd name="T41" fmla="*/ 91 h 282"/>
                <a:gd name="T42" fmla="*/ 5 w 197"/>
                <a:gd name="T43" fmla="*/ 137 h 282"/>
                <a:gd name="T44" fmla="*/ 5 w 197"/>
                <a:gd name="T45" fmla="*/ 166 h 282"/>
                <a:gd name="T46" fmla="*/ 5 w 197"/>
                <a:gd name="T47" fmla="*/ 188 h 282"/>
                <a:gd name="T48" fmla="*/ 5 w 197"/>
                <a:gd name="T49" fmla="*/ 198 h 282"/>
                <a:gd name="T50" fmla="*/ 5 w 197"/>
                <a:gd name="T51" fmla="*/ 202 h 282"/>
                <a:gd name="T52" fmla="*/ 5 w 197"/>
                <a:gd name="T53" fmla="*/ 214 h 282"/>
                <a:gd name="T54" fmla="*/ 5 w 197"/>
                <a:gd name="T55" fmla="*/ 266 h 282"/>
                <a:gd name="T56" fmla="*/ 5 w 197"/>
                <a:gd name="T57" fmla="*/ 266 h 282"/>
                <a:gd name="T58" fmla="*/ 5 w 197"/>
                <a:gd name="T59" fmla="*/ 282 h 282"/>
                <a:gd name="T60" fmla="*/ 5 w 197"/>
                <a:gd name="T61" fmla="*/ 282 h 282"/>
                <a:gd name="T62" fmla="*/ 5 w 197"/>
                <a:gd name="T63" fmla="*/ 266 h 282"/>
                <a:gd name="T64" fmla="*/ 5 w 197"/>
                <a:gd name="T65" fmla="*/ 259 h 282"/>
                <a:gd name="T66" fmla="*/ 0 w 197"/>
                <a:gd name="T67" fmla="*/ 204 h 282"/>
                <a:gd name="T68" fmla="*/ 5 w 197"/>
                <a:gd name="T69" fmla="*/ 207 h 28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7"/>
                <a:gd name="T106" fmla="*/ 0 h 282"/>
                <a:gd name="T107" fmla="*/ 197 w 197"/>
                <a:gd name="T108" fmla="*/ 282 h 28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7" h="282">
                  <a:moveTo>
                    <a:pt x="6" y="207"/>
                  </a:moveTo>
                  <a:lnTo>
                    <a:pt x="8" y="192"/>
                  </a:lnTo>
                  <a:lnTo>
                    <a:pt x="19" y="185"/>
                  </a:lnTo>
                  <a:lnTo>
                    <a:pt x="17" y="163"/>
                  </a:lnTo>
                  <a:lnTo>
                    <a:pt x="24" y="159"/>
                  </a:lnTo>
                  <a:lnTo>
                    <a:pt x="14" y="133"/>
                  </a:lnTo>
                  <a:lnTo>
                    <a:pt x="17" y="108"/>
                  </a:lnTo>
                  <a:lnTo>
                    <a:pt x="46" y="99"/>
                  </a:lnTo>
                  <a:lnTo>
                    <a:pt x="41" y="88"/>
                  </a:lnTo>
                  <a:lnTo>
                    <a:pt x="54" y="59"/>
                  </a:lnTo>
                  <a:lnTo>
                    <a:pt x="74" y="44"/>
                  </a:lnTo>
                  <a:lnTo>
                    <a:pt x="86" y="22"/>
                  </a:lnTo>
                  <a:lnTo>
                    <a:pt x="103" y="20"/>
                  </a:lnTo>
                  <a:lnTo>
                    <a:pt x="109" y="11"/>
                  </a:lnTo>
                  <a:lnTo>
                    <a:pt x="133" y="12"/>
                  </a:lnTo>
                  <a:lnTo>
                    <a:pt x="139" y="0"/>
                  </a:lnTo>
                  <a:lnTo>
                    <a:pt x="183" y="20"/>
                  </a:lnTo>
                  <a:lnTo>
                    <a:pt x="197" y="63"/>
                  </a:lnTo>
                  <a:lnTo>
                    <a:pt x="173" y="65"/>
                  </a:lnTo>
                  <a:lnTo>
                    <a:pt x="152" y="86"/>
                  </a:lnTo>
                  <a:lnTo>
                    <a:pt x="163" y="91"/>
                  </a:lnTo>
                  <a:lnTo>
                    <a:pt x="100" y="137"/>
                  </a:lnTo>
                  <a:lnTo>
                    <a:pt x="99" y="166"/>
                  </a:lnTo>
                  <a:lnTo>
                    <a:pt x="126" y="188"/>
                  </a:lnTo>
                  <a:lnTo>
                    <a:pt x="112" y="198"/>
                  </a:lnTo>
                  <a:lnTo>
                    <a:pt x="118" y="202"/>
                  </a:lnTo>
                  <a:lnTo>
                    <a:pt x="94" y="214"/>
                  </a:lnTo>
                  <a:lnTo>
                    <a:pt x="81" y="266"/>
                  </a:lnTo>
                  <a:lnTo>
                    <a:pt x="60" y="266"/>
                  </a:lnTo>
                  <a:lnTo>
                    <a:pt x="53" y="282"/>
                  </a:lnTo>
                  <a:lnTo>
                    <a:pt x="32" y="282"/>
                  </a:lnTo>
                  <a:lnTo>
                    <a:pt x="26" y="266"/>
                  </a:lnTo>
                  <a:lnTo>
                    <a:pt x="30" y="259"/>
                  </a:lnTo>
                  <a:lnTo>
                    <a:pt x="0" y="204"/>
                  </a:lnTo>
                  <a:lnTo>
                    <a:pt x="6" y="207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90" name="Freeform 272"/>
            <p:cNvSpPr>
              <a:spLocks noChangeAspect="1"/>
            </p:cNvSpPr>
            <p:nvPr/>
          </p:nvSpPr>
          <p:spPr bwMode="auto">
            <a:xfrm>
              <a:off x="3228" y="1246"/>
              <a:ext cx="156" cy="125"/>
            </a:xfrm>
            <a:custGeom>
              <a:avLst/>
              <a:gdLst>
                <a:gd name="T0" fmla="*/ 5 w 173"/>
                <a:gd name="T1" fmla="*/ 70 h 125"/>
                <a:gd name="T2" fmla="*/ 5 w 173"/>
                <a:gd name="T3" fmla="*/ 57 h 125"/>
                <a:gd name="T4" fmla="*/ 5 w 173"/>
                <a:gd name="T5" fmla="*/ 41 h 125"/>
                <a:gd name="T6" fmla="*/ 5 w 173"/>
                <a:gd name="T7" fmla="*/ 16 h 125"/>
                <a:gd name="T8" fmla="*/ 5 w 173"/>
                <a:gd name="T9" fmla="*/ 9 h 125"/>
                <a:gd name="T10" fmla="*/ 5 w 173"/>
                <a:gd name="T11" fmla="*/ 7 h 125"/>
                <a:gd name="T12" fmla="*/ 5 w 173"/>
                <a:gd name="T13" fmla="*/ 11 h 125"/>
                <a:gd name="T14" fmla="*/ 5 w 173"/>
                <a:gd name="T15" fmla="*/ 11 h 125"/>
                <a:gd name="T16" fmla="*/ 5 w 173"/>
                <a:gd name="T17" fmla="*/ 0 h 125"/>
                <a:gd name="T18" fmla="*/ 0 w 173"/>
                <a:gd name="T19" fmla="*/ 23 h 125"/>
                <a:gd name="T20" fmla="*/ 5 w 173"/>
                <a:gd name="T21" fmla="*/ 86 h 125"/>
                <a:gd name="T22" fmla="*/ 5 w 173"/>
                <a:gd name="T23" fmla="*/ 87 h 125"/>
                <a:gd name="T24" fmla="*/ 5 w 173"/>
                <a:gd name="T25" fmla="*/ 102 h 125"/>
                <a:gd name="T26" fmla="*/ 5 w 173"/>
                <a:gd name="T27" fmla="*/ 96 h 125"/>
                <a:gd name="T28" fmla="*/ 5 w 173"/>
                <a:gd name="T29" fmla="*/ 100 h 125"/>
                <a:gd name="T30" fmla="*/ 5 w 173"/>
                <a:gd name="T31" fmla="*/ 123 h 125"/>
                <a:gd name="T32" fmla="*/ 5 w 173"/>
                <a:gd name="T33" fmla="*/ 118 h 125"/>
                <a:gd name="T34" fmla="*/ 5 w 173"/>
                <a:gd name="T35" fmla="*/ 125 h 125"/>
                <a:gd name="T36" fmla="*/ 5 w 173"/>
                <a:gd name="T37" fmla="*/ 96 h 125"/>
                <a:gd name="T38" fmla="*/ 5 w 173"/>
                <a:gd name="T39" fmla="*/ 70 h 12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73"/>
                <a:gd name="T61" fmla="*/ 0 h 125"/>
                <a:gd name="T62" fmla="*/ 173 w 173"/>
                <a:gd name="T63" fmla="*/ 125 h 12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73" h="125">
                  <a:moveTo>
                    <a:pt x="163" y="70"/>
                  </a:moveTo>
                  <a:lnTo>
                    <a:pt x="159" y="57"/>
                  </a:lnTo>
                  <a:lnTo>
                    <a:pt x="167" y="41"/>
                  </a:lnTo>
                  <a:lnTo>
                    <a:pt x="159" y="16"/>
                  </a:lnTo>
                  <a:lnTo>
                    <a:pt x="147" y="9"/>
                  </a:lnTo>
                  <a:lnTo>
                    <a:pt x="92" y="7"/>
                  </a:lnTo>
                  <a:lnTo>
                    <a:pt x="87" y="11"/>
                  </a:lnTo>
                  <a:lnTo>
                    <a:pt x="77" y="11"/>
                  </a:lnTo>
                  <a:lnTo>
                    <a:pt x="70" y="0"/>
                  </a:lnTo>
                  <a:lnTo>
                    <a:pt x="0" y="23"/>
                  </a:lnTo>
                  <a:lnTo>
                    <a:pt x="11" y="86"/>
                  </a:lnTo>
                  <a:lnTo>
                    <a:pt x="29" y="87"/>
                  </a:lnTo>
                  <a:lnTo>
                    <a:pt x="47" y="102"/>
                  </a:lnTo>
                  <a:lnTo>
                    <a:pt x="49" y="96"/>
                  </a:lnTo>
                  <a:lnTo>
                    <a:pt x="62" y="100"/>
                  </a:lnTo>
                  <a:lnTo>
                    <a:pt x="105" y="123"/>
                  </a:lnTo>
                  <a:lnTo>
                    <a:pt x="131" y="118"/>
                  </a:lnTo>
                  <a:lnTo>
                    <a:pt x="148" y="125"/>
                  </a:lnTo>
                  <a:lnTo>
                    <a:pt x="173" y="96"/>
                  </a:lnTo>
                  <a:lnTo>
                    <a:pt x="163" y="7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91" name="Freeform 273"/>
            <p:cNvSpPr>
              <a:spLocks noChangeAspect="1"/>
            </p:cNvSpPr>
            <p:nvPr/>
          </p:nvSpPr>
          <p:spPr bwMode="auto">
            <a:xfrm>
              <a:off x="3328" y="1390"/>
              <a:ext cx="157" cy="105"/>
            </a:xfrm>
            <a:custGeom>
              <a:avLst/>
              <a:gdLst>
                <a:gd name="T0" fmla="*/ 5 w 174"/>
                <a:gd name="T1" fmla="*/ 59 h 105"/>
                <a:gd name="T2" fmla="*/ 5 w 174"/>
                <a:gd name="T3" fmla="*/ 66 h 105"/>
                <a:gd name="T4" fmla="*/ 5 w 174"/>
                <a:gd name="T5" fmla="*/ 66 h 105"/>
                <a:gd name="T6" fmla="*/ 5 w 174"/>
                <a:gd name="T7" fmla="*/ 78 h 105"/>
                <a:gd name="T8" fmla="*/ 5 w 174"/>
                <a:gd name="T9" fmla="*/ 90 h 105"/>
                <a:gd name="T10" fmla="*/ 5 w 174"/>
                <a:gd name="T11" fmla="*/ 103 h 105"/>
                <a:gd name="T12" fmla="*/ 5 w 174"/>
                <a:gd name="T13" fmla="*/ 95 h 105"/>
                <a:gd name="T14" fmla="*/ 5 w 174"/>
                <a:gd name="T15" fmla="*/ 105 h 105"/>
                <a:gd name="T16" fmla="*/ 5 w 174"/>
                <a:gd name="T17" fmla="*/ 102 h 105"/>
                <a:gd name="T18" fmla="*/ 5 w 174"/>
                <a:gd name="T19" fmla="*/ 94 h 105"/>
                <a:gd name="T20" fmla="*/ 5 w 174"/>
                <a:gd name="T21" fmla="*/ 80 h 105"/>
                <a:gd name="T22" fmla="*/ 5 w 174"/>
                <a:gd name="T23" fmla="*/ 77 h 105"/>
                <a:gd name="T24" fmla="*/ 0 w 174"/>
                <a:gd name="T25" fmla="*/ 48 h 105"/>
                <a:gd name="T26" fmla="*/ 2 w 174"/>
                <a:gd name="T27" fmla="*/ 48 h 105"/>
                <a:gd name="T28" fmla="*/ 5 w 174"/>
                <a:gd name="T29" fmla="*/ 43 h 105"/>
                <a:gd name="T30" fmla="*/ 5 w 174"/>
                <a:gd name="T31" fmla="*/ 13 h 105"/>
                <a:gd name="T32" fmla="*/ 5 w 174"/>
                <a:gd name="T33" fmla="*/ 6 h 105"/>
                <a:gd name="T34" fmla="*/ 5 w 174"/>
                <a:gd name="T35" fmla="*/ 10 h 105"/>
                <a:gd name="T36" fmla="*/ 5 w 174"/>
                <a:gd name="T37" fmla="*/ 0 h 105"/>
                <a:gd name="T38" fmla="*/ 5 w 174"/>
                <a:gd name="T39" fmla="*/ 3 h 105"/>
                <a:gd name="T40" fmla="*/ 5 w 174"/>
                <a:gd name="T41" fmla="*/ 32 h 105"/>
                <a:gd name="T42" fmla="*/ 5 w 174"/>
                <a:gd name="T43" fmla="*/ 59 h 10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74"/>
                <a:gd name="T67" fmla="*/ 0 h 105"/>
                <a:gd name="T68" fmla="*/ 174 w 174"/>
                <a:gd name="T69" fmla="*/ 105 h 10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74" h="105">
                  <a:moveTo>
                    <a:pt x="150" y="59"/>
                  </a:moveTo>
                  <a:lnTo>
                    <a:pt x="152" y="66"/>
                  </a:lnTo>
                  <a:lnTo>
                    <a:pt x="174" y="66"/>
                  </a:lnTo>
                  <a:lnTo>
                    <a:pt x="173" y="78"/>
                  </a:lnTo>
                  <a:lnTo>
                    <a:pt x="158" y="90"/>
                  </a:lnTo>
                  <a:lnTo>
                    <a:pt x="159" y="103"/>
                  </a:lnTo>
                  <a:lnTo>
                    <a:pt x="126" y="95"/>
                  </a:lnTo>
                  <a:lnTo>
                    <a:pt x="100" y="105"/>
                  </a:lnTo>
                  <a:lnTo>
                    <a:pt x="72" y="102"/>
                  </a:lnTo>
                  <a:lnTo>
                    <a:pt x="50" y="94"/>
                  </a:lnTo>
                  <a:lnTo>
                    <a:pt x="44" y="80"/>
                  </a:lnTo>
                  <a:lnTo>
                    <a:pt x="26" y="77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17" y="43"/>
                  </a:lnTo>
                  <a:lnTo>
                    <a:pt x="34" y="13"/>
                  </a:lnTo>
                  <a:lnTo>
                    <a:pt x="45" y="6"/>
                  </a:lnTo>
                  <a:lnTo>
                    <a:pt x="84" y="10"/>
                  </a:lnTo>
                  <a:lnTo>
                    <a:pt x="111" y="0"/>
                  </a:lnTo>
                  <a:lnTo>
                    <a:pt x="119" y="3"/>
                  </a:lnTo>
                  <a:lnTo>
                    <a:pt x="142" y="32"/>
                  </a:lnTo>
                  <a:lnTo>
                    <a:pt x="150" y="59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92" name="Freeform 274"/>
            <p:cNvSpPr>
              <a:spLocks noChangeAspect="1"/>
            </p:cNvSpPr>
            <p:nvPr/>
          </p:nvSpPr>
          <p:spPr bwMode="auto">
            <a:xfrm>
              <a:off x="3262" y="1384"/>
              <a:ext cx="107" cy="62"/>
            </a:xfrm>
            <a:custGeom>
              <a:avLst/>
              <a:gdLst>
                <a:gd name="T0" fmla="*/ 4 w 119"/>
                <a:gd name="T1" fmla="*/ 40 h 62"/>
                <a:gd name="T2" fmla="*/ 4 w 119"/>
                <a:gd name="T3" fmla="*/ 62 h 62"/>
                <a:gd name="T4" fmla="*/ 4 w 119"/>
                <a:gd name="T5" fmla="*/ 54 h 62"/>
                <a:gd name="T6" fmla="*/ 4 w 119"/>
                <a:gd name="T7" fmla="*/ 49 h 62"/>
                <a:gd name="T8" fmla="*/ 4 w 119"/>
                <a:gd name="T9" fmla="*/ 19 h 62"/>
                <a:gd name="T10" fmla="*/ 4 w 119"/>
                <a:gd name="T11" fmla="*/ 12 h 62"/>
                <a:gd name="T12" fmla="*/ 4 w 119"/>
                <a:gd name="T13" fmla="*/ 4 h 62"/>
                <a:gd name="T14" fmla="*/ 4 w 119"/>
                <a:gd name="T15" fmla="*/ 3 h 62"/>
                <a:gd name="T16" fmla="*/ 4 w 119"/>
                <a:gd name="T17" fmla="*/ 0 h 62"/>
                <a:gd name="T18" fmla="*/ 4 w 119"/>
                <a:gd name="T19" fmla="*/ 17 h 62"/>
                <a:gd name="T20" fmla="*/ 4 w 119"/>
                <a:gd name="T21" fmla="*/ 10 h 62"/>
                <a:gd name="T22" fmla="*/ 0 w 119"/>
                <a:gd name="T23" fmla="*/ 37 h 62"/>
                <a:gd name="T24" fmla="*/ 4 w 119"/>
                <a:gd name="T25" fmla="*/ 4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9"/>
                <a:gd name="T40" fmla="*/ 0 h 62"/>
                <a:gd name="T41" fmla="*/ 119 w 119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9" h="62">
                  <a:moveTo>
                    <a:pt x="5" y="40"/>
                  </a:moveTo>
                  <a:lnTo>
                    <a:pt x="34" y="62"/>
                  </a:lnTo>
                  <a:lnTo>
                    <a:pt x="76" y="54"/>
                  </a:lnTo>
                  <a:lnTo>
                    <a:pt x="91" y="49"/>
                  </a:lnTo>
                  <a:lnTo>
                    <a:pt x="108" y="19"/>
                  </a:lnTo>
                  <a:lnTo>
                    <a:pt x="119" y="12"/>
                  </a:lnTo>
                  <a:lnTo>
                    <a:pt x="107" y="4"/>
                  </a:lnTo>
                  <a:lnTo>
                    <a:pt x="106" y="3"/>
                  </a:lnTo>
                  <a:lnTo>
                    <a:pt x="82" y="0"/>
                  </a:lnTo>
                  <a:lnTo>
                    <a:pt x="39" y="17"/>
                  </a:lnTo>
                  <a:lnTo>
                    <a:pt x="19" y="10"/>
                  </a:lnTo>
                  <a:lnTo>
                    <a:pt x="0" y="37"/>
                  </a:lnTo>
                  <a:lnTo>
                    <a:pt x="5" y="4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93" name="Freeform 275"/>
            <p:cNvSpPr>
              <a:spLocks noChangeAspect="1"/>
            </p:cNvSpPr>
            <p:nvPr/>
          </p:nvSpPr>
          <p:spPr bwMode="auto">
            <a:xfrm>
              <a:off x="3101" y="1245"/>
              <a:ext cx="136" cy="163"/>
            </a:xfrm>
            <a:custGeom>
              <a:avLst/>
              <a:gdLst>
                <a:gd name="T0" fmla="*/ 4 w 152"/>
                <a:gd name="T1" fmla="*/ 13 h 163"/>
                <a:gd name="T2" fmla="*/ 4 w 152"/>
                <a:gd name="T3" fmla="*/ 0 h 163"/>
                <a:gd name="T4" fmla="*/ 4 w 152"/>
                <a:gd name="T5" fmla="*/ 0 h 163"/>
                <a:gd name="T6" fmla="*/ 4 w 152"/>
                <a:gd name="T7" fmla="*/ 8 h 163"/>
                <a:gd name="T8" fmla="*/ 4 w 152"/>
                <a:gd name="T9" fmla="*/ 30 h 163"/>
                <a:gd name="T10" fmla="*/ 4 w 152"/>
                <a:gd name="T11" fmla="*/ 27 h 163"/>
                <a:gd name="T12" fmla="*/ 4 w 152"/>
                <a:gd name="T13" fmla="*/ 51 h 163"/>
                <a:gd name="T14" fmla="*/ 4 w 152"/>
                <a:gd name="T15" fmla="*/ 56 h 163"/>
                <a:gd name="T16" fmla="*/ 0 w 152"/>
                <a:gd name="T17" fmla="*/ 67 h 163"/>
                <a:gd name="T18" fmla="*/ 0 w 152"/>
                <a:gd name="T19" fmla="*/ 90 h 163"/>
                <a:gd name="T20" fmla="*/ 0 w 152"/>
                <a:gd name="T21" fmla="*/ 103 h 163"/>
                <a:gd name="T22" fmla="*/ 4 w 152"/>
                <a:gd name="T23" fmla="*/ 116 h 163"/>
                <a:gd name="T24" fmla="*/ 4 w 152"/>
                <a:gd name="T25" fmla="*/ 132 h 163"/>
                <a:gd name="T26" fmla="*/ 4 w 152"/>
                <a:gd name="T27" fmla="*/ 159 h 163"/>
                <a:gd name="T28" fmla="*/ 4 w 152"/>
                <a:gd name="T29" fmla="*/ 160 h 163"/>
                <a:gd name="T30" fmla="*/ 4 w 152"/>
                <a:gd name="T31" fmla="*/ 163 h 163"/>
                <a:gd name="T32" fmla="*/ 4 w 152"/>
                <a:gd name="T33" fmla="*/ 158 h 163"/>
                <a:gd name="T34" fmla="*/ 4 w 152"/>
                <a:gd name="T35" fmla="*/ 149 h 163"/>
                <a:gd name="T36" fmla="*/ 4 w 152"/>
                <a:gd name="T37" fmla="*/ 134 h 163"/>
                <a:gd name="T38" fmla="*/ 4 w 152"/>
                <a:gd name="T39" fmla="*/ 118 h 163"/>
                <a:gd name="T40" fmla="*/ 4 w 152"/>
                <a:gd name="T41" fmla="*/ 99 h 163"/>
                <a:gd name="T42" fmla="*/ 4 w 152"/>
                <a:gd name="T43" fmla="*/ 81 h 163"/>
                <a:gd name="T44" fmla="*/ 4 w 152"/>
                <a:gd name="T45" fmla="*/ 87 h 163"/>
                <a:gd name="T46" fmla="*/ 4 w 152"/>
                <a:gd name="T47" fmla="*/ 24 h 163"/>
                <a:gd name="T48" fmla="*/ 4 w 152"/>
                <a:gd name="T49" fmla="*/ 16 h 163"/>
                <a:gd name="T50" fmla="*/ 4 w 152"/>
                <a:gd name="T51" fmla="*/ 12 h 163"/>
                <a:gd name="T52" fmla="*/ 4 w 152"/>
                <a:gd name="T53" fmla="*/ 5 h 163"/>
                <a:gd name="T54" fmla="*/ 4 w 152"/>
                <a:gd name="T55" fmla="*/ 22 h 163"/>
                <a:gd name="T56" fmla="*/ 4 w 152"/>
                <a:gd name="T57" fmla="*/ 13 h 16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52"/>
                <a:gd name="T88" fmla="*/ 0 h 163"/>
                <a:gd name="T89" fmla="*/ 152 w 152"/>
                <a:gd name="T90" fmla="*/ 163 h 16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52" h="163">
                  <a:moveTo>
                    <a:pt x="86" y="13"/>
                  </a:moveTo>
                  <a:lnTo>
                    <a:pt x="63" y="0"/>
                  </a:lnTo>
                  <a:lnTo>
                    <a:pt x="51" y="0"/>
                  </a:lnTo>
                  <a:lnTo>
                    <a:pt x="53" y="8"/>
                  </a:lnTo>
                  <a:lnTo>
                    <a:pt x="45" y="30"/>
                  </a:lnTo>
                  <a:lnTo>
                    <a:pt x="24" y="27"/>
                  </a:lnTo>
                  <a:lnTo>
                    <a:pt x="12" y="51"/>
                  </a:lnTo>
                  <a:lnTo>
                    <a:pt x="18" y="56"/>
                  </a:lnTo>
                  <a:lnTo>
                    <a:pt x="0" y="67"/>
                  </a:lnTo>
                  <a:lnTo>
                    <a:pt x="0" y="90"/>
                  </a:lnTo>
                  <a:lnTo>
                    <a:pt x="0" y="103"/>
                  </a:lnTo>
                  <a:lnTo>
                    <a:pt x="4" y="116"/>
                  </a:lnTo>
                  <a:lnTo>
                    <a:pt x="34" y="132"/>
                  </a:lnTo>
                  <a:lnTo>
                    <a:pt x="24" y="159"/>
                  </a:lnTo>
                  <a:lnTo>
                    <a:pt x="26" y="160"/>
                  </a:lnTo>
                  <a:lnTo>
                    <a:pt x="59" y="163"/>
                  </a:lnTo>
                  <a:lnTo>
                    <a:pt x="121" y="158"/>
                  </a:lnTo>
                  <a:lnTo>
                    <a:pt x="119" y="149"/>
                  </a:lnTo>
                  <a:lnTo>
                    <a:pt x="136" y="134"/>
                  </a:lnTo>
                  <a:lnTo>
                    <a:pt x="114" y="118"/>
                  </a:lnTo>
                  <a:lnTo>
                    <a:pt x="104" y="99"/>
                  </a:lnTo>
                  <a:lnTo>
                    <a:pt x="144" y="81"/>
                  </a:lnTo>
                  <a:lnTo>
                    <a:pt x="152" y="87"/>
                  </a:lnTo>
                  <a:lnTo>
                    <a:pt x="141" y="24"/>
                  </a:lnTo>
                  <a:lnTo>
                    <a:pt x="126" y="16"/>
                  </a:lnTo>
                  <a:lnTo>
                    <a:pt x="132" y="12"/>
                  </a:lnTo>
                  <a:lnTo>
                    <a:pt x="127" y="5"/>
                  </a:lnTo>
                  <a:lnTo>
                    <a:pt x="85" y="22"/>
                  </a:lnTo>
                  <a:lnTo>
                    <a:pt x="86" y="13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94" name="Freeform 276"/>
            <p:cNvSpPr>
              <a:spLocks noChangeAspect="1"/>
            </p:cNvSpPr>
            <p:nvPr/>
          </p:nvSpPr>
          <p:spPr bwMode="auto">
            <a:xfrm>
              <a:off x="3109" y="1417"/>
              <a:ext cx="196" cy="209"/>
            </a:xfrm>
            <a:custGeom>
              <a:avLst/>
              <a:gdLst>
                <a:gd name="T0" fmla="*/ 0 w 216"/>
                <a:gd name="T1" fmla="*/ 50 h 209"/>
                <a:gd name="T2" fmla="*/ 5 w 216"/>
                <a:gd name="T3" fmla="*/ 27 h 209"/>
                <a:gd name="T4" fmla="*/ 5 w 216"/>
                <a:gd name="T5" fmla="*/ 16 h 209"/>
                <a:gd name="T6" fmla="*/ 5 w 216"/>
                <a:gd name="T7" fmla="*/ 24 h 209"/>
                <a:gd name="T8" fmla="*/ 5 w 216"/>
                <a:gd name="T9" fmla="*/ 15 h 209"/>
                <a:gd name="T10" fmla="*/ 5 w 216"/>
                <a:gd name="T11" fmla="*/ 17 h 209"/>
                <a:gd name="T12" fmla="*/ 5 w 216"/>
                <a:gd name="T13" fmla="*/ 5 h 209"/>
                <a:gd name="T14" fmla="*/ 5 w 216"/>
                <a:gd name="T15" fmla="*/ 5 h 209"/>
                <a:gd name="T16" fmla="*/ 5 w 216"/>
                <a:gd name="T17" fmla="*/ 0 h 209"/>
                <a:gd name="T18" fmla="*/ 5 w 216"/>
                <a:gd name="T19" fmla="*/ 6 h 209"/>
                <a:gd name="T20" fmla="*/ 5 w 216"/>
                <a:gd name="T21" fmla="*/ 13 h 209"/>
                <a:gd name="T22" fmla="*/ 5 w 216"/>
                <a:gd name="T23" fmla="*/ 21 h 209"/>
                <a:gd name="T24" fmla="*/ 5 w 216"/>
                <a:gd name="T25" fmla="*/ 33 h 209"/>
                <a:gd name="T26" fmla="*/ 5 w 216"/>
                <a:gd name="T27" fmla="*/ 34 h 209"/>
                <a:gd name="T28" fmla="*/ 5 w 216"/>
                <a:gd name="T29" fmla="*/ 35 h 209"/>
                <a:gd name="T30" fmla="*/ 5 w 216"/>
                <a:gd name="T31" fmla="*/ 30 h 209"/>
                <a:gd name="T32" fmla="*/ 5 w 216"/>
                <a:gd name="T33" fmla="*/ 35 h 209"/>
                <a:gd name="T34" fmla="*/ 5 w 216"/>
                <a:gd name="T35" fmla="*/ 65 h 209"/>
                <a:gd name="T36" fmla="*/ 5 w 216"/>
                <a:gd name="T37" fmla="*/ 84 h 209"/>
                <a:gd name="T38" fmla="*/ 5 w 216"/>
                <a:gd name="T39" fmla="*/ 108 h 209"/>
                <a:gd name="T40" fmla="*/ 5 w 216"/>
                <a:gd name="T41" fmla="*/ 120 h 209"/>
                <a:gd name="T42" fmla="*/ 5 w 216"/>
                <a:gd name="T43" fmla="*/ 120 h 209"/>
                <a:gd name="T44" fmla="*/ 5 w 216"/>
                <a:gd name="T45" fmla="*/ 127 h 209"/>
                <a:gd name="T46" fmla="*/ 5 w 216"/>
                <a:gd name="T47" fmla="*/ 158 h 209"/>
                <a:gd name="T48" fmla="*/ 5 w 216"/>
                <a:gd name="T49" fmla="*/ 165 h 209"/>
                <a:gd name="T50" fmla="*/ 5 w 216"/>
                <a:gd name="T51" fmla="*/ 150 h 209"/>
                <a:gd name="T52" fmla="*/ 5 w 216"/>
                <a:gd name="T53" fmla="*/ 170 h 209"/>
                <a:gd name="T54" fmla="*/ 5 w 216"/>
                <a:gd name="T55" fmla="*/ 175 h 209"/>
                <a:gd name="T56" fmla="*/ 5 w 216"/>
                <a:gd name="T57" fmla="*/ 184 h 209"/>
                <a:gd name="T58" fmla="*/ 5 w 216"/>
                <a:gd name="T59" fmla="*/ 188 h 209"/>
                <a:gd name="T60" fmla="*/ 5 w 216"/>
                <a:gd name="T61" fmla="*/ 209 h 209"/>
                <a:gd name="T62" fmla="*/ 5 w 216"/>
                <a:gd name="T63" fmla="*/ 209 h 209"/>
                <a:gd name="T64" fmla="*/ 5 w 216"/>
                <a:gd name="T65" fmla="*/ 188 h 209"/>
                <a:gd name="T66" fmla="*/ 5 w 216"/>
                <a:gd name="T67" fmla="*/ 161 h 209"/>
                <a:gd name="T68" fmla="*/ 5 w 216"/>
                <a:gd name="T69" fmla="*/ 133 h 209"/>
                <a:gd name="T70" fmla="*/ 5 w 216"/>
                <a:gd name="T71" fmla="*/ 127 h 209"/>
                <a:gd name="T72" fmla="*/ 5 w 216"/>
                <a:gd name="T73" fmla="*/ 108 h 209"/>
                <a:gd name="T74" fmla="*/ 5 w 216"/>
                <a:gd name="T75" fmla="*/ 108 h 209"/>
                <a:gd name="T76" fmla="*/ 5 w 216"/>
                <a:gd name="T77" fmla="*/ 70 h 209"/>
                <a:gd name="T78" fmla="*/ 5 w 216"/>
                <a:gd name="T79" fmla="*/ 63 h 209"/>
                <a:gd name="T80" fmla="*/ 5 w 216"/>
                <a:gd name="T81" fmla="*/ 74 h 209"/>
                <a:gd name="T82" fmla="*/ 0 w 216"/>
                <a:gd name="T83" fmla="*/ 50 h 20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16"/>
                <a:gd name="T127" fmla="*/ 0 h 209"/>
                <a:gd name="T128" fmla="*/ 216 w 216"/>
                <a:gd name="T129" fmla="*/ 209 h 20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16" h="209">
                  <a:moveTo>
                    <a:pt x="0" y="50"/>
                  </a:moveTo>
                  <a:lnTo>
                    <a:pt x="5" y="27"/>
                  </a:lnTo>
                  <a:lnTo>
                    <a:pt x="31" y="16"/>
                  </a:lnTo>
                  <a:lnTo>
                    <a:pt x="41" y="24"/>
                  </a:lnTo>
                  <a:lnTo>
                    <a:pt x="48" y="15"/>
                  </a:lnTo>
                  <a:lnTo>
                    <a:pt x="60" y="17"/>
                  </a:lnTo>
                  <a:lnTo>
                    <a:pt x="66" y="5"/>
                  </a:lnTo>
                  <a:lnTo>
                    <a:pt x="68" y="5"/>
                  </a:lnTo>
                  <a:lnTo>
                    <a:pt x="97" y="0"/>
                  </a:lnTo>
                  <a:lnTo>
                    <a:pt x="99" y="6"/>
                  </a:lnTo>
                  <a:lnTo>
                    <a:pt x="125" y="13"/>
                  </a:lnTo>
                  <a:lnTo>
                    <a:pt x="122" y="21"/>
                  </a:lnTo>
                  <a:lnTo>
                    <a:pt x="130" y="33"/>
                  </a:lnTo>
                  <a:lnTo>
                    <a:pt x="125" y="34"/>
                  </a:lnTo>
                  <a:lnTo>
                    <a:pt x="125" y="35"/>
                  </a:lnTo>
                  <a:lnTo>
                    <a:pt x="115" y="30"/>
                  </a:lnTo>
                  <a:lnTo>
                    <a:pt x="98" y="35"/>
                  </a:lnTo>
                  <a:lnTo>
                    <a:pt x="100" y="65"/>
                  </a:lnTo>
                  <a:lnTo>
                    <a:pt x="125" y="84"/>
                  </a:lnTo>
                  <a:lnTo>
                    <a:pt x="136" y="108"/>
                  </a:lnTo>
                  <a:lnTo>
                    <a:pt x="156" y="120"/>
                  </a:lnTo>
                  <a:lnTo>
                    <a:pt x="172" y="120"/>
                  </a:lnTo>
                  <a:lnTo>
                    <a:pt x="167" y="127"/>
                  </a:lnTo>
                  <a:lnTo>
                    <a:pt x="216" y="158"/>
                  </a:lnTo>
                  <a:lnTo>
                    <a:pt x="213" y="165"/>
                  </a:lnTo>
                  <a:lnTo>
                    <a:pt x="188" y="150"/>
                  </a:lnTo>
                  <a:lnTo>
                    <a:pt x="180" y="170"/>
                  </a:lnTo>
                  <a:lnTo>
                    <a:pt x="190" y="175"/>
                  </a:lnTo>
                  <a:lnTo>
                    <a:pt x="190" y="184"/>
                  </a:lnTo>
                  <a:lnTo>
                    <a:pt x="180" y="188"/>
                  </a:lnTo>
                  <a:lnTo>
                    <a:pt x="172" y="209"/>
                  </a:lnTo>
                  <a:lnTo>
                    <a:pt x="166" y="209"/>
                  </a:lnTo>
                  <a:lnTo>
                    <a:pt x="173" y="188"/>
                  </a:lnTo>
                  <a:lnTo>
                    <a:pt x="165" y="161"/>
                  </a:lnTo>
                  <a:lnTo>
                    <a:pt x="125" y="133"/>
                  </a:lnTo>
                  <a:lnTo>
                    <a:pt x="104" y="127"/>
                  </a:lnTo>
                  <a:lnTo>
                    <a:pt x="87" y="108"/>
                  </a:lnTo>
                  <a:lnTo>
                    <a:pt x="77" y="108"/>
                  </a:lnTo>
                  <a:lnTo>
                    <a:pt x="60" y="70"/>
                  </a:lnTo>
                  <a:lnTo>
                    <a:pt x="35" y="63"/>
                  </a:lnTo>
                  <a:lnTo>
                    <a:pt x="15" y="74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95" name="Freeform 277"/>
            <p:cNvSpPr>
              <a:spLocks noChangeAspect="1"/>
            </p:cNvSpPr>
            <p:nvPr/>
          </p:nvSpPr>
          <p:spPr bwMode="auto">
            <a:xfrm>
              <a:off x="3414" y="794"/>
              <a:ext cx="2230" cy="756"/>
            </a:xfrm>
            <a:custGeom>
              <a:avLst/>
              <a:gdLst>
                <a:gd name="T0" fmla="*/ 5 w 2475"/>
                <a:gd name="T1" fmla="*/ 163 h 756"/>
                <a:gd name="T2" fmla="*/ 5 w 2475"/>
                <a:gd name="T3" fmla="*/ 167 h 756"/>
                <a:gd name="T4" fmla="*/ 5 w 2475"/>
                <a:gd name="T5" fmla="*/ 74 h 756"/>
                <a:gd name="T6" fmla="*/ 5 w 2475"/>
                <a:gd name="T7" fmla="*/ 173 h 756"/>
                <a:gd name="T8" fmla="*/ 5 w 2475"/>
                <a:gd name="T9" fmla="*/ 171 h 756"/>
                <a:gd name="T10" fmla="*/ 5 w 2475"/>
                <a:gd name="T11" fmla="*/ 196 h 756"/>
                <a:gd name="T12" fmla="*/ 5 w 2475"/>
                <a:gd name="T13" fmla="*/ 173 h 756"/>
                <a:gd name="T14" fmla="*/ 5 w 2475"/>
                <a:gd name="T15" fmla="*/ 228 h 756"/>
                <a:gd name="T16" fmla="*/ 5 w 2475"/>
                <a:gd name="T17" fmla="*/ 260 h 756"/>
                <a:gd name="T18" fmla="*/ 5 w 2475"/>
                <a:gd name="T19" fmla="*/ 185 h 756"/>
                <a:gd name="T20" fmla="*/ 2 w 2475"/>
                <a:gd name="T21" fmla="*/ 173 h 756"/>
                <a:gd name="T22" fmla="*/ 5 w 2475"/>
                <a:gd name="T23" fmla="*/ 264 h 756"/>
                <a:gd name="T24" fmla="*/ 5 w 2475"/>
                <a:gd name="T25" fmla="*/ 361 h 756"/>
                <a:gd name="T26" fmla="*/ 5 w 2475"/>
                <a:gd name="T27" fmla="*/ 452 h 756"/>
                <a:gd name="T28" fmla="*/ 5 w 2475"/>
                <a:gd name="T29" fmla="*/ 505 h 756"/>
                <a:gd name="T30" fmla="*/ 5 w 2475"/>
                <a:gd name="T31" fmla="*/ 558 h 756"/>
                <a:gd name="T32" fmla="*/ 5 w 2475"/>
                <a:gd name="T33" fmla="*/ 604 h 756"/>
                <a:gd name="T34" fmla="*/ 5 w 2475"/>
                <a:gd name="T35" fmla="*/ 662 h 756"/>
                <a:gd name="T36" fmla="*/ 5 w 2475"/>
                <a:gd name="T37" fmla="*/ 725 h 756"/>
                <a:gd name="T38" fmla="*/ 5 w 2475"/>
                <a:gd name="T39" fmla="*/ 716 h 756"/>
                <a:gd name="T40" fmla="*/ 5 w 2475"/>
                <a:gd name="T41" fmla="*/ 634 h 756"/>
                <a:gd name="T42" fmla="*/ 5 w 2475"/>
                <a:gd name="T43" fmla="*/ 547 h 756"/>
                <a:gd name="T44" fmla="*/ 5 w 2475"/>
                <a:gd name="T45" fmla="*/ 525 h 756"/>
                <a:gd name="T46" fmla="*/ 5 w 2475"/>
                <a:gd name="T47" fmla="*/ 535 h 756"/>
                <a:gd name="T48" fmla="*/ 5 w 2475"/>
                <a:gd name="T49" fmla="*/ 508 h 756"/>
                <a:gd name="T50" fmla="*/ 5 w 2475"/>
                <a:gd name="T51" fmla="*/ 471 h 756"/>
                <a:gd name="T52" fmla="*/ 5 w 2475"/>
                <a:gd name="T53" fmla="*/ 467 h 756"/>
                <a:gd name="T54" fmla="*/ 5 w 2475"/>
                <a:gd name="T55" fmla="*/ 467 h 756"/>
                <a:gd name="T56" fmla="*/ 5 w 2475"/>
                <a:gd name="T57" fmla="*/ 542 h 756"/>
                <a:gd name="T58" fmla="*/ 5 w 2475"/>
                <a:gd name="T59" fmla="*/ 588 h 756"/>
                <a:gd name="T60" fmla="*/ 5 w 2475"/>
                <a:gd name="T61" fmla="*/ 558 h 756"/>
                <a:gd name="T62" fmla="*/ 5 w 2475"/>
                <a:gd name="T63" fmla="*/ 545 h 756"/>
                <a:gd name="T64" fmla="*/ 5 w 2475"/>
                <a:gd name="T65" fmla="*/ 556 h 756"/>
                <a:gd name="T66" fmla="*/ 5 w 2475"/>
                <a:gd name="T67" fmla="*/ 496 h 756"/>
                <a:gd name="T68" fmla="*/ 5 w 2475"/>
                <a:gd name="T69" fmla="*/ 610 h 756"/>
                <a:gd name="T70" fmla="*/ 5 w 2475"/>
                <a:gd name="T71" fmla="*/ 679 h 756"/>
                <a:gd name="T72" fmla="*/ 5 w 2475"/>
                <a:gd name="T73" fmla="*/ 707 h 756"/>
                <a:gd name="T74" fmla="*/ 5 w 2475"/>
                <a:gd name="T75" fmla="*/ 467 h 756"/>
                <a:gd name="T76" fmla="*/ 5 w 2475"/>
                <a:gd name="T77" fmla="*/ 475 h 756"/>
                <a:gd name="T78" fmla="*/ 5 w 2475"/>
                <a:gd name="T79" fmla="*/ 357 h 756"/>
                <a:gd name="T80" fmla="*/ 5 w 2475"/>
                <a:gd name="T81" fmla="*/ 351 h 756"/>
                <a:gd name="T82" fmla="*/ 5 w 2475"/>
                <a:gd name="T83" fmla="*/ 308 h 756"/>
                <a:gd name="T84" fmla="*/ 5 w 2475"/>
                <a:gd name="T85" fmla="*/ 333 h 756"/>
                <a:gd name="T86" fmla="*/ 5 w 2475"/>
                <a:gd name="T87" fmla="*/ 537 h 756"/>
                <a:gd name="T88" fmla="*/ 5 w 2475"/>
                <a:gd name="T89" fmla="*/ 461 h 756"/>
                <a:gd name="T90" fmla="*/ 5 w 2475"/>
                <a:gd name="T91" fmla="*/ 391 h 756"/>
                <a:gd name="T92" fmla="*/ 5 w 2475"/>
                <a:gd name="T93" fmla="*/ 334 h 756"/>
                <a:gd name="T94" fmla="*/ 5 w 2475"/>
                <a:gd name="T95" fmla="*/ 298 h 756"/>
                <a:gd name="T96" fmla="*/ 5 w 2475"/>
                <a:gd name="T97" fmla="*/ 237 h 756"/>
                <a:gd name="T98" fmla="*/ 5 w 2475"/>
                <a:gd name="T99" fmla="*/ 253 h 756"/>
                <a:gd name="T100" fmla="*/ 5 w 2475"/>
                <a:gd name="T101" fmla="*/ 157 h 756"/>
                <a:gd name="T102" fmla="*/ 5 w 2475"/>
                <a:gd name="T103" fmla="*/ 148 h 756"/>
                <a:gd name="T104" fmla="*/ 5 w 2475"/>
                <a:gd name="T105" fmla="*/ 122 h 756"/>
                <a:gd name="T106" fmla="*/ 5 w 2475"/>
                <a:gd name="T107" fmla="*/ 111 h 756"/>
                <a:gd name="T108" fmla="*/ 5 w 2475"/>
                <a:gd name="T109" fmla="*/ 105 h 756"/>
                <a:gd name="T110" fmla="*/ 5 w 2475"/>
                <a:gd name="T111" fmla="*/ 81 h 756"/>
                <a:gd name="T112" fmla="*/ 5 w 2475"/>
                <a:gd name="T113" fmla="*/ 71 h 756"/>
                <a:gd name="T114" fmla="*/ 5 w 2475"/>
                <a:gd name="T115" fmla="*/ 42 h 756"/>
                <a:gd name="T116" fmla="*/ 5 w 2475"/>
                <a:gd name="T117" fmla="*/ 0 h 756"/>
                <a:gd name="T118" fmla="*/ 5 w 2475"/>
                <a:gd name="T119" fmla="*/ 66 h 756"/>
                <a:gd name="T120" fmla="*/ 5 w 2475"/>
                <a:gd name="T121" fmla="*/ 104 h 7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75"/>
                <a:gd name="T184" fmla="*/ 0 h 756"/>
                <a:gd name="T185" fmla="*/ 2475 w 2475"/>
                <a:gd name="T186" fmla="*/ 756 h 75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75" h="756">
                  <a:moveTo>
                    <a:pt x="650" y="95"/>
                  </a:moveTo>
                  <a:lnTo>
                    <a:pt x="633" y="115"/>
                  </a:lnTo>
                  <a:lnTo>
                    <a:pt x="658" y="128"/>
                  </a:lnTo>
                  <a:lnTo>
                    <a:pt x="658" y="146"/>
                  </a:lnTo>
                  <a:lnTo>
                    <a:pt x="668" y="157"/>
                  </a:lnTo>
                  <a:lnTo>
                    <a:pt x="681" y="163"/>
                  </a:lnTo>
                  <a:lnTo>
                    <a:pt x="697" y="185"/>
                  </a:lnTo>
                  <a:lnTo>
                    <a:pt x="685" y="201"/>
                  </a:lnTo>
                  <a:lnTo>
                    <a:pt x="662" y="213"/>
                  </a:lnTo>
                  <a:lnTo>
                    <a:pt x="641" y="205"/>
                  </a:lnTo>
                  <a:lnTo>
                    <a:pt x="666" y="191"/>
                  </a:lnTo>
                  <a:lnTo>
                    <a:pt x="668" y="167"/>
                  </a:lnTo>
                  <a:lnTo>
                    <a:pt x="649" y="159"/>
                  </a:lnTo>
                  <a:lnTo>
                    <a:pt x="628" y="120"/>
                  </a:lnTo>
                  <a:lnTo>
                    <a:pt x="612" y="111"/>
                  </a:lnTo>
                  <a:lnTo>
                    <a:pt x="612" y="89"/>
                  </a:lnTo>
                  <a:lnTo>
                    <a:pt x="589" y="81"/>
                  </a:lnTo>
                  <a:lnTo>
                    <a:pt x="579" y="74"/>
                  </a:lnTo>
                  <a:lnTo>
                    <a:pt x="565" y="77"/>
                  </a:lnTo>
                  <a:lnTo>
                    <a:pt x="545" y="116"/>
                  </a:lnTo>
                  <a:lnTo>
                    <a:pt x="557" y="132"/>
                  </a:lnTo>
                  <a:lnTo>
                    <a:pt x="558" y="146"/>
                  </a:lnTo>
                  <a:lnTo>
                    <a:pt x="600" y="163"/>
                  </a:lnTo>
                  <a:lnTo>
                    <a:pt x="597" y="173"/>
                  </a:lnTo>
                  <a:lnTo>
                    <a:pt x="437" y="131"/>
                  </a:lnTo>
                  <a:lnTo>
                    <a:pt x="433" y="137"/>
                  </a:lnTo>
                  <a:lnTo>
                    <a:pt x="479" y="159"/>
                  </a:lnTo>
                  <a:lnTo>
                    <a:pt x="463" y="166"/>
                  </a:lnTo>
                  <a:lnTo>
                    <a:pt x="466" y="172"/>
                  </a:lnTo>
                  <a:lnTo>
                    <a:pt x="454" y="171"/>
                  </a:lnTo>
                  <a:lnTo>
                    <a:pt x="449" y="159"/>
                  </a:lnTo>
                  <a:lnTo>
                    <a:pt x="395" y="168"/>
                  </a:lnTo>
                  <a:lnTo>
                    <a:pt x="393" y="176"/>
                  </a:lnTo>
                  <a:lnTo>
                    <a:pt x="374" y="159"/>
                  </a:lnTo>
                  <a:lnTo>
                    <a:pt x="297" y="185"/>
                  </a:lnTo>
                  <a:lnTo>
                    <a:pt x="301" y="196"/>
                  </a:lnTo>
                  <a:lnTo>
                    <a:pt x="289" y="201"/>
                  </a:lnTo>
                  <a:lnTo>
                    <a:pt x="250" y="191"/>
                  </a:lnTo>
                  <a:lnTo>
                    <a:pt x="273" y="182"/>
                  </a:lnTo>
                  <a:lnTo>
                    <a:pt x="264" y="173"/>
                  </a:lnTo>
                  <a:lnTo>
                    <a:pt x="218" y="166"/>
                  </a:lnTo>
                  <a:lnTo>
                    <a:pt x="234" y="173"/>
                  </a:lnTo>
                  <a:lnTo>
                    <a:pt x="234" y="195"/>
                  </a:lnTo>
                  <a:lnTo>
                    <a:pt x="245" y="199"/>
                  </a:lnTo>
                  <a:lnTo>
                    <a:pt x="249" y="208"/>
                  </a:lnTo>
                  <a:lnTo>
                    <a:pt x="241" y="214"/>
                  </a:lnTo>
                  <a:lnTo>
                    <a:pt x="213" y="209"/>
                  </a:lnTo>
                  <a:lnTo>
                    <a:pt x="179" y="228"/>
                  </a:lnTo>
                  <a:lnTo>
                    <a:pt x="199" y="247"/>
                  </a:lnTo>
                  <a:lnTo>
                    <a:pt x="139" y="235"/>
                  </a:lnTo>
                  <a:lnTo>
                    <a:pt x="133" y="241"/>
                  </a:lnTo>
                  <a:lnTo>
                    <a:pt x="159" y="250"/>
                  </a:lnTo>
                  <a:lnTo>
                    <a:pt x="161" y="260"/>
                  </a:lnTo>
                  <a:lnTo>
                    <a:pt x="142" y="260"/>
                  </a:lnTo>
                  <a:lnTo>
                    <a:pt x="107" y="247"/>
                  </a:lnTo>
                  <a:lnTo>
                    <a:pt x="101" y="218"/>
                  </a:lnTo>
                  <a:lnTo>
                    <a:pt x="61" y="195"/>
                  </a:lnTo>
                  <a:lnTo>
                    <a:pt x="156" y="217"/>
                  </a:lnTo>
                  <a:lnTo>
                    <a:pt x="198" y="203"/>
                  </a:lnTo>
                  <a:lnTo>
                    <a:pt x="188" y="185"/>
                  </a:lnTo>
                  <a:lnTo>
                    <a:pt x="124" y="161"/>
                  </a:lnTo>
                  <a:lnTo>
                    <a:pt x="63" y="144"/>
                  </a:lnTo>
                  <a:lnTo>
                    <a:pt x="33" y="145"/>
                  </a:lnTo>
                  <a:lnTo>
                    <a:pt x="7" y="159"/>
                  </a:lnTo>
                  <a:lnTo>
                    <a:pt x="1" y="161"/>
                  </a:lnTo>
                  <a:lnTo>
                    <a:pt x="2" y="173"/>
                  </a:lnTo>
                  <a:lnTo>
                    <a:pt x="24" y="184"/>
                  </a:lnTo>
                  <a:lnTo>
                    <a:pt x="17" y="197"/>
                  </a:lnTo>
                  <a:lnTo>
                    <a:pt x="31" y="219"/>
                  </a:lnTo>
                  <a:lnTo>
                    <a:pt x="29" y="239"/>
                  </a:lnTo>
                  <a:lnTo>
                    <a:pt x="45" y="253"/>
                  </a:lnTo>
                  <a:lnTo>
                    <a:pt x="41" y="264"/>
                  </a:lnTo>
                  <a:lnTo>
                    <a:pt x="62" y="285"/>
                  </a:lnTo>
                  <a:lnTo>
                    <a:pt x="8" y="330"/>
                  </a:lnTo>
                  <a:lnTo>
                    <a:pt x="19" y="330"/>
                  </a:lnTo>
                  <a:lnTo>
                    <a:pt x="35" y="342"/>
                  </a:lnTo>
                  <a:lnTo>
                    <a:pt x="16" y="354"/>
                  </a:lnTo>
                  <a:lnTo>
                    <a:pt x="13" y="361"/>
                  </a:lnTo>
                  <a:lnTo>
                    <a:pt x="0" y="366"/>
                  </a:lnTo>
                  <a:lnTo>
                    <a:pt x="15" y="383"/>
                  </a:lnTo>
                  <a:lnTo>
                    <a:pt x="11" y="391"/>
                  </a:lnTo>
                  <a:lnTo>
                    <a:pt x="28" y="422"/>
                  </a:lnTo>
                  <a:lnTo>
                    <a:pt x="75" y="435"/>
                  </a:lnTo>
                  <a:lnTo>
                    <a:pt x="76" y="452"/>
                  </a:lnTo>
                  <a:lnTo>
                    <a:pt x="96" y="474"/>
                  </a:lnTo>
                  <a:lnTo>
                    <a:pt x="112" y="479"/>
                  </a:lnTo>
                  <a:lnTo>
                    <a:pt x="104" y="488"/>
                  </a:lnTo>
                  <a:lnTo>
                    <a:pt x="87" y="488"/>
                  </a:lnTo>
                  <a:lnTo>
                    <a:pt x="99" y="510"/>
                  </a:lnTo>
                  <a:lnTo>
                    <a:pt x="133" y="505"/>
                  </a:lnTo>
                  <a:lnTo>
                    <a:pt x="146" y="516"/>
                  </a:lnTo>
                  <a:lnTo>
                    <a:pt x="144" y="527"/>
                  </a:lnTo>
                  <a:lnTo>
                    <a:pt x="159" y="530"/>
                  </a:lnTo>
                  <a:lnTo>
                    <a:pt x="171" y="547"/>
                  </a:lnTo>
                  <a:lnTo>
                    <a:pt x="204" y="547"/>
                  </a:lnTo>
                  <a:lnTo>
                    <a:pt x="215" y="558"/>
                  </a:lnTo>
                  <a:lnTo>
                    <a:pt x="253" y="567"/>
                  </a:lnTo>
                  <a:lnTo>
                    <a:pt x="247" y="579"/>
                  </a:lnTo>
                  <a:lnTo>
                    <a:pt x="255" y="583"/>
                  </a:lnTo>
                  <a:lnTo>
                    <a:pt x="249" y="585"/>
                  </a:lnTo>
                  <a:lnTo>
                    <a:pt x="252" y="606"/>
                  </a:lnTo>
                  <a:lnTo>
                    <a:pt x="236" y="604"/>
                  </a:lnTo>
                  <a:lnTo>
                    <a:pt x="228" y="611"/>
                  </a:lnTo>
                  <a:lnTo>
                    <a:pt x="228" y="623"/>
                  </a:lnTo>
                  <a:lnTo>
                    <a:pt x="249" y="623"/>
                  </a:lnTo>
                  <a:lnTo>
                    <a:pt x="221" y="633"/>
                  </a:lnTo>
                  <a:lnTo>
                    <a:pt x="232" y="641"/>
                  </a:lnTo>
                  <a:lnTo>
                    <a:pt x="218" y="662"/>
                  </a:lnTo>
                  <a:lnTo>
                    <a:pt x="209" y="663"/>
                  </a:lnTo>
                  <a:lnTo>
                    <a:pt x="209" y="668"/>
                  </a:lnTo>
                  <a:lnTo>
                    <a:pt x="212" y="668"/>
                  </a:lnTo>
                  <a:lnTo>
                    <a:pt x="272" y="705"/>
                  </a:lnTo>
                  <a:lnTo>
                    <a:pt x="325" y="711"/>
                  </a:lnTo>
                  <a:lnTo>
                    <a:pt x="346" y="725"/>
                  </a:lnTo>
                  <a:lnTo>
                    <a:pt x="369" y="722"/>
                  </a:lnTo>
                  <a:lnTo>
                    <a:pt x="393" y="741"/>
                  </a:lnTo>
                  <a:lnTo>
                    <a:pt x="412" y="755"/>
                  </a:lnTo>
                  <a:lnTo>
                    <a:pt x="423" y="756"/>
                  </a:lnTo>
                  <a:lnTo>
                    <a:pt x="433" y="742"/>
                  </a:lnTo>
                  <a:lnTo>
                    <a:pt x="410" y="716"/>
                  </a:lnTo>
                  <a:lnTo>
                    <a:pt x="408" y="699"/>
                  </a:lnTo>
                  <a:lnTo>
                    <a:pt x="389" y="675"/>
                  </a:lnTo>
                  <a:lnTo>
                    <a:pt x="401" y="646"/>
                  </a:lnTo>
                  <a:lnTo>
                    <a:pt x="414" y="650"/>
                  </a:lnTo>
                  <a:lnTo>
                    <a:pt x="426" y="640"/>
                  </a:lnTo>
                  <a:lnTo>
                    <a:pt x="411" y="634"/>
                  </a:lnTo>
                  <a:lnTo>
                    <a:pt x="421" y="630"/>
                  </a:lnTo>
                  <a:lnTo>
                    <a:pt x="404" y="609"/>
                  </a:lnTo>
                  <a:lnTo>
                    <a:pt x="389" y="609"/>
                  </a:lnTo>
                  <a:lnTo>
                    <a:pt x="381" y="595"/>
                  </a:lnTo>
                  <a:lnTo>
                    <a:pt x="371" y="593"/>
                  </a:lnTo>
                  <a:lnTo>
                    <a:pt x="380" y="547"/>
                  </a:lnTo>
                  <a:lnTo>
                    <a:pt x="398" y="562"/>
                  </a:lnTo>
                  <a:lnTo>
                    <a:pt x="405" y="558"/>
                  </a:lnTo>
                  <a:lnTo>
                    <a:pt x="397" y="544"/>
                  </a:lnTo>
                  <a:lnTo>
                    <a:pt x="410" y="533"/>
                  </a:lnTo>
                  <a:lnTo>
                    <a:pt x="429" y="521"/>
                  </a:lnTo>
                  <a:lnTo>
                    <a:pt x="448" y="525"/>
                  </a:lnTo>
                  <a:lnTo>
                    <a:pt x="455" y="519"/>
                  </a:lnTo>
                  <a:lnTo>
                    <a:pt x="479" y="525"/>
                  </a:lnTo>
                  <a:lnTo>
                    <a:pt x="502" y="545"/>
                  </a:lnTo>
                  <a:lnTo>
                    <a:pt x="502" y="535"/>
                  </a:lnTo>
                  <a:lnTo>
                    <a:pt x="523" y="544"/>
                  </a:lnTo>
                  <a:lnTo>
                    <a:pt x="539" y="535"/>
                  </a:lnTo>
                  <a:lnTo>
                    <a:pt x="564" y="533"/>
                  </a:lnTo>
                  <a:lnTo>
                    <a:pt x="587" y="543"/>
                  </a:lnTo>
                  <a:lnTo>
                    <a:pt x="616" y="543"/>
                  </a:lnTo>
                  <a:lnTo>
                    <a:pt x="623" y="528"/>
                  </a:lnTo>
                  <a:lnTo>
                    <a:pt x="591" y="516"/>
                  </a:lnTo>
                  <a:lnTo>
                    <a:pt x="605" y="508"/>
                  </a:lnTo>
                  <a:lnTo>
                    <a:pt x="597" y="497"/>
                  </a:lnTo>
                  <a:lnTo>
                    <a:pt x="603" y="492"/>
                  </a:lnTo>
                  <a:lnTo>
                    <a:pt x="606" y="479"/>
                  </a:lnTo>
                  <a:lnTo>
                    <a:pt x="597" y="479"/>
                  </a:lnTo>
                  <a:lnTo>
                    <a:pt x="593" y="470"/>
                  </a:lnTo>
                  <a:lnTo>
                    <a:pt x="621" y="471"/>
                  </a:lnTo>
                  <a:lnTo>
                    <a:pt x="674" y="454"/>
                  </a:lnTo>
                  <a:lnTo>
                    <a:pt x="709" y="448"/>
                  </a:lnTo>
                  <a:lnTo>
                    <a:pt x="719" y="439"/>
                  </a:lnTo>
                  <a:lnTo>
                    <a:pt x="749" y="442"/>
                  </a:lnTo>
                  <a:lnTo>
                    <a:pt x="764" y="454"/>
                  </a:lnTo>
                  <a:lnTo>
                    <a:pt x="766" y="467"/>
                  </a:lnTo>
                  <a:lnTo>
                    <a:pt x="781" y="462"/>
                  </a:lnTo>
                  <a:lnTo>
                    <a:pt x="789" y="470"/>
                  </a:lnTo>
                  <a:lnTo>
                    <a:pt x="810" y="469"/>
                  </a:lnTo>
                  <a:lnTo>
                    <a:pt x="811" y="481"/>
                  </a:lnTo>
                  <a:lnTo>
                    <a:pt x="828" y="480"/>
                  </a:lnTo>
                  <a:lnTo>
                    <a:pt x="842" y="467"/>
                  </a:lnTo>
                  <a:lnTo>
                    <a:pt x="860" y="461"/>
                  </a:lnTo>
                  <a:lnTo>
                    <a:pt x="860" y="470"/>
                  </a:lnTo>
                  <a:lnTo>
                    <a:pt x="890" y="486"/>
                  </a:lnTo>
                  <a:lnTo>
                    <a:pt x="949" y="541"/>
                  </a:lnTo>
                  <a:lnTo>
                    <a:pt x="957" y="530"/>
                  </a:lnTo>
                  <a:lnTo>
                    <a:pt x="974" y="542"/>
                  </a:lnTo>
                  <a:lnTo>
                    <a:pt x="1008" y="537"/>
                  </a:lnTo>
                  <a:lnTo>
                    <a:pt x="1050" y="566"/>
                  </a:lnTo>
                  <a:lnTo>
                    <a:pt x="1070" y="570"/>
                  </a:lnTo>
                  <a:lnTo>
                    <a:pt x="1074" y="565"/>
                  </a:lnTo>
                  <a:lnTo>
                    <a:pt x="1089" y="577"/>
                  </a:lnTo>
                  <a:lnTo>
                    <a:pt x="1087" y="588"/>
                  </a:lnTo>
                  <a:lnTo>
                    <a:pt x="1102" y="581"/>
                  </a:lnTo>
                  <a:lnTo>
                    <a:pt x="1107" y="570"/>
                  </a:lnTo>
                  <a:lnTo>
                    <a:pt x="1158" y="544"/>
                  </a:lnTo>
                  <a:lnTo>
                    <a:pt x="1202" y="548"/>
                  </a:lnTo>
                  <a:lnTo>
                    <a:pt x="1224" y="559"/>
                  </a:lnTo>
                  <a:lnTo>
                    <a:pt x="1268" y="558"/>
                  </a:lnTo>
                  <a:lnTo>
                    <a:pt x="1267" y="543"/>
                  </a:lnTo>
                  <a:lnTo>
                    <a:pt x="1255" y="526"/>
                  </a:lnTo>
                  <a:lnTo>
                    <a:pt x="1270" y="510"/>
                  </a:lnTo>
                  <a:lnTo>
                    <a:pt x="1324" y="525"/>
                  </a:lnTo>
                  <a:lnTo>
                    <a:pt x="1356" y="549"/>
                  </a:lnTo>
                  <a:lnTo>
                    <a:pt x="1399" y="545"/>
                  </a:lnTo>
                  <a:lnTo>
                    <a:pt x="1492" y="575"/>
                  </a:lnTo>
                  <a:lnTo>
                    <a:pt x="1541" y="567"/>
                  </a:lnTo>
                  <a:lnTo>
                    <a:pt x="1563" y="553"/>
                  </a:lnTo>
                  <a:lnTo>
                    <a:pt x="1597" y="559"/>
                  </a:lnTo>
                  <a:lnTo>
                    <a:pt x="1628" y="567"/>
                  </a:lnTo>
                  <a:lnTo>
                    <a:pt x="1645" y="556"/>
                  </a:lnTo>
                  <a:lnTo>
                    <a:pt x="1637" y="524"/>
                  </a:lnTo>
                  <a:lnTo>
                    <a:pt x="1643" y="518"/>
                  </a:lnTo>
                  <a:lnTo>
                    <a:pt x="1625" y="497"/>
                  </a:lnTo>
                  <a:lnTo>
                    <a:pt x="1631" y="488"/>
                  </a:lnTo>
                  <a:lnTo>
                    <a:pt x="1669" y="482"/>
                  </a:lnTo>
                  <a:lnTo>
                    <a:pt x="1720" y="496"/>
                  </a:lnTo>
                  <a:lnTo>
                    <a:pt x="1773" y="538"/>
                  </a:lnTo>
                  <a:lnTo>
                    <a:pt x="1797" y="566"/>
                  </a:lnTo>
                  <a:lnTo>
                    <a:pt x="1829" y="570"/>
                  </a:lnTo>
                  <a:lnTo>
                    <a:pt x="1864" y="584"/>
                  </a:lnTo>
                  <a:lnTo>
                    <a:pt x="1888" y="609"/>
                  </a:lnTo>
                  <a:lnTo>
                    <a:pt x="1907" y="610"/>
                  </a:lnTo>
                  <a:lnTo>
                    <a:pt x="1944" y="592"/>
                  </a:lnTo>
                  <a:lnTo>
                    <a:pt x="1955" y="612"/>
                  </a:lnTo>
                  <a:lnTo>
                    <a:pt x="1950" y="618"/>
                  </a:lnTo>
                  <a:lnTo>
                    <a:pt x="1957" y="669"/>
                  </a:lnTo>
                  <a:lnTo>
                    <a:pt x="1937" y="666"/>
                  </a:lnTo>
                  <a:lnTo>
                    <a:pt x="1927" y="679"/>
                  </a:lnTo>
                  <a:lnTo>
                    <a:pt x="1949" y="708"/>
                  </a:lnTo>
                  <a:lnTo>
                    <a:pt x="1951" y="726"/>
                  </a:lnTo>
                  <a:lnTo>
                    <a:pt x="1956" y="726"/>
                  </a:lnTo>
                  <a:lnTo>
                    <a:pt x="1959" y="710"/>
                  </a:lnTo>
                  <a:lnTo>
                    <a:pt x="1991" y="724"/>
                  </a:lnTo>
                  <a:lnTo>
                    <a:pt x="2017" y="707"/>
                  </a:lnTo>
                  <a:lnTo>
                    <a:pt x="2017" y="686"/>
                  </a:lnTo>
                  <a:lnTo>
                    <a:pt x="2031" y="655"/>
                  </a:lnTo>
                  <a:lnTo>
                    <a:pt x="2038" y="592"/>
                  </a:lnTo>
                  <a:lnTo>
                    <a:pt x="2005" y="536"/>
                  </a:lnTo>
                  <a:lnTo>
                    <a:pt x="1981" y="486"/>
                  </a:lnTo>
                  <a:lnTo>
                    <a:pt x="1932" y="467"/>
                  </a:lnTo>
                  <a:lnTo>
                    <a:pt x="1921" y="467"/>
                  </a:lnTo>
                  <a:lnTo>
                    <a:pt x="1920" y="478"/>
                  </a:lnTo>
                  <a:lnTo>
                    <a:pt x="1908" y="481"/>
                  </a:lnTo>
                  <a:lnTo>
                    <a:pt x="1899" y="464"/>
                  </a:lnTo>
                  <a:lnTo>
                    <a:pt x="1891" y="467"/>
                  </a:lnTo>
                  <a:lnTo>
                    <a:pt x="1892" y="475"/>
                  </a:lnTo>
                  <a:lnTo>
                    <a:pt x="1876" y="457"/>
                  </a:lnTo>
                  <a:lnTo>
                    <a:pt x="1846" y="450"/>
                  </a:lnTo>
                  <a:lnTo>
                    <a:pt x="1863" y="428"/>
                  </a:lnTo>
                  <a:lnTo>
                    <a:pt x="1883" y="362"/>
                  </a:lnTo>
                  <a:lnTo>
                    <a:pt x="1904" y="355"/>
                  </a:lnTo>
                  <a:lnTo>
                    <a:pt x="1990" y="357"/>
                  </a:lnTo>
                  <a:lnTo>
                    <a:pt x="1983" y="348"/>
                  </a:lnTo>
                  <a:lnTo>
                    <a:pt x="1990" y="347"/>
                  </a:lnTo>
                  <a:lnTo>
                    <a:pt x="2023" y="350"/>
                  </a:lnTo>
                  <a:lnTo>
                    <a:pt x="2039" y="366"/>
                  </a:lnTo>
                  <a:lnTo>
                    <a:pt x="2095" y="359"/>
                  </a:lnTo>
                  <a:lnTo>
                    <a:pt x="2071" y="351"/>
                  </a:lnTo>
                  <a:lnTo>
                    <a:pt x="2065" y="342"/>
                  </a:lnTo>
                  <a:lnTo>
                    <a:pt x="2069" y="308"/>
                  </a:lnTo>
                  <a:lnTo>
                    <a:pt x="2118" y="303"/>
                  </a:lnTo>
                  <a:lnTo>
                    <a:pt x="2124" y="315"/>
                  </a:lnTo>
                  <a:lnTo>
                    <a:pt x="2145" y="330"/>
                  </a:lnTo>
                  <a:lnTo>
                    <a:pt x="2155" y="308"/>
                  </a:lnTo>
                  <a:lnTo>
                    <a:pt x="2163" y="307"/>
                  </a:lnTo>
                  <a:lnTo>
                    <a:pt x="2149" y="290"/>
                  </a:lnTo>
                  <a:lnTo>
                    <a:pt x="2173" y="290"/>
                  </a:lnTo>
                  <a:lnTo>
                    <a:pt x="2168" y="294"/>
                  </a:lnTo>
                  <a:lnTo>
                    <a:pt x="2193" y="323"/>
                  </a:lnTo>
                  <a:lnTo>
                    <a:pt x="2177" y="333"/>
                  </a:lnTo>
                  <a:lnTo>
                    <a:pt x="2172" y="384"/>
                  </a:lnTo>
                  <a:lnTo>
                    <a:pt x="2154" y="389"/>
                  </a:lnTo>
                  <a:lnTo>
                    <a:pt x="2167" y="405"/>
                  </a:lnTo>
                  <a:lnTo>
                    <a:pt x="2160" y="408"/>
                  </a:lnTo>
                  <a:lnTo>
                    <a:pt x="2183" y="442"/>
                  </a:lnTo>
                  <a:lnTo>
                    <a:pt x="2290" y="537"/>
                  </a:lnTo>
                  <a:lnTo>
                    <a:pt x="2297" y="521"/>
                  </a:lnTo>
                  <a:lnTo>
                    <a:pt x="2286" y="496"/>
                  </a:lnTo>
                  <a:lnTo>
                    <a:pt x="2290" y="488"/>
                  </a:lnTo>
                  <a:lnTo>
                    <a:pt x="2302" y="488"/>
                  </a:lnTo>
                  <a:lnTo>
                    <a:pt x="2284" y="468"/>
                  </a:lnTo>
                  <a:lnTo>
                    <a:pt x="2285" y="461"/>
                  </a:lnTo>
                  <a:lnTo>
                    <a:pt x="2304" y="459"/>
                  </a:lnTo>
                  <a:lnTo>
                    <a:pt x="2307" y="453"/>
                  </a:lnTo>
                  <a:lnTo>
                    <a:pt x="2275" y="425"/>
                  </a:lnTo>
                  <a:lnTo>
                    <a:pt x="2296" y="423"/>
                  </a:lnTo>
                  <a:lnTo>
                    <a:pt x="2271" y="408"/>
                  </a:lnTo>
                  <a:lnTo>
                    <a:pt x="2260" y="391"/>
                  </a:lnTo>
                  <a:lnTo>
                    <a:pt x="2241" y="389"/>
                  </a:lnTo>
                  <a:lnTo>
                    <a:pt x="2229" y="381"/>
                  </a:lnTo>
                  <a:lnTo>
                    <a:pt x="2227" y="362"/>
                  </a:lnTo>
                  <a:lnTo>
                    <a:pt x="2213" y="345"/>
                  </a:lnTo>
                  <a:lnTo>
                    <a:pt x="2236" y="345"/>
                  </a:lnTo>
                  <a:lnTo>
                    <a:pt x="2247" y="334"/>
                  </a:lnTo>
                  <a:lnTo>
                    <a:pt x="2262" y="347"/>
                  </a:lnTo>
                  <a:lnTo>
                    <a:pt x="2263" y="338"/>
                  </a:lnTo>
                  <a:lnTo>
                    <a:pt x="2275" y="330"/>
                  </a:lnTo>
                  <a:lnTo>
                    <a:pt x="2325" y="343"/>
                  </a:lnTo>
                  <a:lnTo>
                    <a:pt x="2319" y="333"/>
                  </a:lnTo>
                  <a:lnTo>
                    <a:pt x="2350" y="298"/>
                  </a:lnTo>
                  <a:lnTo>
                    <a:pt x="2366" y="290"/>
                  </a:lnTo>
                  <a:lnTo>
                    <a:pt x="2405" y="294"/>
                  </a:lnTo>
                  <a:lnTo>
                    <a:pt x="2404" y="286"/>
                  </a:lnTo>
                  <a:lnTo>
                    <a:pt x="2314" y="243"/>
                  </a:lnTo>
                  <a:lnTo>
                    <a:pt x="2334" y="245"/>
                  </a:lnTo>
                  <a:lnTo>
                    <a:pt x="2345" y="237"/>
                  </a:lnTo>
                  <a:lnTo>
                    <a:pt x="2339" y="225"/>
                  </a:lnTo>
                  <a:lnTo>
                    <a:pt x="2320" y="218"/>
                  </a:lnTo>
                  <a:lnTo>
                    <a:pt x="2325" y="212"/>
                  </a:lnTo>
                  <a:lnTo>
                    <a:pt x="2355" y="228"/>
                  </a:lnTo>
                  <a:lnTo>
                    <a:pt x="2396" y="230"/>
                  </a:lnTo>
                  <a:lnTo>
                    <a:pt x="2475" y="253"/>
                  </a:lnTo>
                  <a:lnTo>
                    <a:pt x="2452" y="228"/>
                  </a:lnTo>
                  <a:lnTo>
                    <a:pt x="2469" y="228"/>
                  </a:lnTo>
                  <a:lnTo>
                    <a:pt x="2472" y="217"/>
                  </a:lnTo>
                  <a:lnTo>
                    <a:pt x="2418" y="200"/>
                  </a:lnTo>
                  <a:lnTo>
                    <a:pt x="2371" y="196"/>
                  </a:lnTo>
                  <a:lnTo>
                    <a:pt x="2231" y="157"/>
                  </a:lnTo>
                  <a:lnTo>
                    <a:pt x="2154" y="143"/>
                  </a:lnTo>
                  <a:lnTo>
                    <a:pt x="2064" y="138"/>
                  </a:lnTo>
                  <a:lnTo>
                    <a:pt x="2098" y="157"/>
                  </a:lnTo>
                  <a:lnTo>
                    <a:pt x="2086" y="163"/>
                  </a:lnTo>
                  <a:lnTo>
                    <a:pt x="2044" y="148"/>
                  </a:lnTo>
                  <a:lnTo>
                    <a:pt x="2058" y="148"/>
                  </a:lnTo>
                  <a:lnTo>
                    <a:pt x="2054" y="143"/>
                  </a:lnTo>
                  <a:lnTo>
                    <a:pt x="2033" y="139"/>
                  </a:lnTo>
                  <a:lnTo>
                    <a:pt x="2030" y="151"/>
                  </a:lnTo>
                  <a:lnTo>
                    <a:pt x="1933" y="148"/>
                  </a:lnTo>
                  <a:lnTo>
                    <a:pt x="1907" y="135"/>
                  </a:lnTo>
                  <a:lnTo>
                    <a:pt x="1871" y="122"/>
                  </a:lnTo>
                  <a:lnTo>
                    <a:pt x="1782" y="123"/>
                  </a:lnTo>
                  <a:lnTo>
                    <a:pt x="1711" y="99"/>
                  </a:lnTo>
                  <a:lnTo>
                    <a:pt x="1564" y="87"/>
                  </a:lnTo>
                  <a:lnTo>
                    <a:pt x="1560" y="93"/>
                  </a:lnTo>
                  <a:lnTo>
                    <a:pt x="1560" y="98"/>
                  </a:lnTo>
                  <a:lnTo>
                    <a:pt x="1590" y="111"/>
                  </a:lnTo>
                  <a:lnTo>
                    <a:pt x="1523" y="108"/>
                  </a:lnTo>
                  <a:lnTo>
                    <a:pt x="1511" y="115"/>
                  </a:lnTo>
                  <a:lnTo>
                    <a:pt x="1471" y="104"/>
                  </a:lnTo>
                  <a:lnTo>
                    <a:pt x="1482" y="120"/>
                  </a:lnTo>
                  <a:lnTo>
                    <a:pt x="1478" y="126"/>
                  </a:lnTo>
                  <a:lnTo>
                    <a:pt x="1419" y="105"/>
                  </a:lnTo>
                  <a:lnTo>
                    <a:pt x="1414" y="88"/>
                  </a:lnTo>
                  <a:lnTo>
                    <a:pt x="1386" y="78"/>
                  </a:lnTo>
                  <a:lnTo>
                    <a:pt x="1299" y="71"/>
                  </a:lnTo>
                  <a:lnTo>
                    <a:pt x="1318" y="83"/>
                  </a:lnTo>
                  <a:lnTo>
                    <a:pt x="1271" y="83"/>
                  </a:lnTo>
                  <a:lnTo>
                    <a:pt x="1247" y="81"/>
                  </a:lnTo>
                  <a:lnTo>
                    <a:pt x="1241" y="72"/>
                  </a:lnTo>
                  <a:lnTo>
                    <a:pt x="1173" y="74"/>
                  </a:lnTo>
                  <a:lnTo>
                    <a:pt x="1150" y="58"/>
                  </a:lnTo>
                  <a:lnTo>
                    <a:pt x="1131" y="55"/>
                  </a:lnTo>
                  <a:lnTo>
                    <a:pt x="1128" y="59"/>
                  </a:lnTo>
                  <a:lnTo>
                    <a:pt x="1159" y="71"/>
                  </a:lnTo>
                  <a:lnTo>
                    <a:pt x="1114" y="65"/>
                  </a:lnTo>
                  <a:lnTo>
                    <a:pt x="1110" y="70"/>
                  </a:lnTo>
                  <a:lnTo>
                    <a:pt x="1124" y="74"/>
                  </a:lnTo>
                  <a:lnTo>
                    <a:pt x="1078" y="81"/>
                  </a:lnTo>
                  <a:lnTo>
                    <a:pt x="1080" y="72"/>
                  </a:lnTo>
                  <a:lnTo>
                    <a:pt x="1137" y="42"/>
                  </a:lnTo>
                  <a:lnTo>
                    <a:pt x="1130" y="34"/>
                  </a:lnTo>
                  <a:lnTo>
                    <a:pt x="1076" y="18"/>
                  </a:lnTo>
                  <a:lnTo>
                    <a:pt x="1015" y="20"/>
                  </a:lnTo>
                  <a:lnTo>
                    <a:pt x="1020" y="12"/>
                  </a:lnTo>
                  <a:lnTo>
                    <a:pt x="993" y="4"/>
                  </a:lnTo>
                  <a:lnTo>
                    <a:pt x="959" y="0"/>
                  </a:lnTo>
                  <a:lnTo>
                    <a:pt x="934" y="12"/>
                  </a:lnTo>
                  <a:lnTo>
                    <a:pt x="928" y="26"/>
                  </a:lnTo>
                  <a:lnTo>
                    <a:pt x="846" y="28"/>
                  </a:lnTo>
                  <a:lnTo>
                    <a:pt x="797" y="41"/>
                  </a:lnTo>
                  <a:lnTo>
                    <a:pt x="778" y="53"/>
                  </a:lnTo>
                  <a:lnTo>
                    <a:pt x="794" y="66"/>
                  </a:lnTo>
                  <a:lnTo>
                    <a:pt x="708" y="74"/>
                  </a:lnTo>
                  <a:lnTo>
                    <a:pt x="729" y="94"/>
                  </a:lnTo>
                  <a:lnTo>
                    <a:pt x="765" y="105"/>
                  </a:lnTo>
                  <a:lnTo>
                    <a:pt x="749" y="108"/>
                  </a:lnTo>
                  <a:lnTo>
                    <a:pt x="683" y="91"/>
                  </a:lnTo>
                  <a:lnTo>
                    <a:pt x="668" y="104"/>
                  </a:lnTo>
                  <a:lnTo>
                    <a:pt x="713" y="121"/>
                  </a:lnTo>
                  <a:lnTo>
                    <a:pt x="663" y="115"/>
                  </a:lnTo>
                  <a:lnTo>
                    <a:pt x="650" y="95"/>
                  </a:lnTo>
                  <a:close/>
                </a:path>
              </a:pathLst>
            </a:custGeom>
            <a:solidFill>
              <a:srgbClr val="7F7F7F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296" name="Freeform 278"/>
            <p:cNvSpPr>
              <a:spLocks noChangeAspect="1"/>
            </p:cNvSpPr>
            <p:nvPr/>
          </p:nvSpPr>
          <p:spPr bwMode="auto">
            <a:xfrm>
              <a:off x="3433" y="1533"/>
              <a:ext cx="324" cy="137"/>
            </a:xfrm>
            <a:custGeom>
              <a:avLst/>
              <a:gdLst>
                <a:gd name="T0" fmla="*/ 5 w 359"/>
                <a:gd name="T1" fmla="*/ 21 h 137"/>
                <a:gd name="T2" fmla="*/ 5 w 359"/>
                <a:gd name="T3" fmla="*/ 10 h 137"/>
                <a:gd name="T4" fmla="*/ 5 w 359"/>
                <a:gd name="T5" fmla="*/ 8 h 137"/>
                <a:gd name="T6" fmla="*/ 5 w 359"/>
                <a:gd name="T7" fmla="*/ 22 h 137"/>
                <a:gd name="T8" fmla="*/ 5 w 359"/>
                <a:gd name="T9" fmla="*/ 22 h 137"/>
                <a:gd name="T10" fmla="*/ 5 w 359"/>
                <a:gd name="T11" fmla="*/ 0 h 137"/>
                <a:gd name="T12" fmla="*/ 5 w 359"/>
                <a:gd name="T13" fmla="*/ 0 h 137"/>
                <a:gd name="T14" fmla="*/ 5 w 359"/>
                <a:gd name="T15" fmla="*/ 21 h 137"/>
                <a:gd name="T16" fmla="*/ 5 w 359"/>
                <a:gd name="T17" fmla="*/ 21 h 137"/>
                <a:gd name="T18" fmla="*/ 5 w 359"/>
                <a:gd name="T19" fmla="*/ 15 h 137"/>
                <a:gd name="T20" fmla="*/ 5 w 359"/>
                <a:gd name="T21" fmla="*/ 3 h 137"/>
                <a:gd name="T22" fmla="*/ 2 w 359"/>
                <a:gd name="T23" fmla="*/ 4 h 137"/>
                <a:gd name="T24" fmla="*/ 0 w 359"/>
                <a:gd name="T25" fmla="*/ 34 h 137"/>
                <a:gd name="T26" fmla="*/ 5 w 359"/>
                <a:gd name="T27" fmla="*/ 32 h 137"/>
                <a:gd name="T28" fmla="*/ 2 w 359"/>
                <a:gd name="T29" fmla="*/ 43 h 137"/>
                <a:gd name="T30" fmla="*/ 5 w 359"/>
                <a:gd name="T31" fmla="*/ 25 h 137"/>
                <a:gd name="T32" fmla="*/ 5 w 359"/>
                <a:gd name="T33" fmla="*/ 22 h 137"/>
                <a:gd name="T34" fmla="*/ 5 w 359"/>
                <a:gd name="T35" fmla="*/ 31 h 137"/>
                <a:gd name="T36" fmla="*/ 5 w 359"/>
                <a:gd name="T37" fmla="*/ 32 h 137"/>
                <a:gd name="T38" fmla="*/ 5 w 359"/>
                <a:gd name="T39" fmla="*/ 39 h 137"/>
                <a:gd name="T40" fmla="*/ 5 w 359"/>
                <a:gd name="T41" fmla="*/ 39 h 137"/>
                <a:gd name="T42" fmla="*/ 2 w 359"/>
                <a:gd name="T43" fmla="*/ 45 h 137"/>
                <a:gd name="T44" fmla="*/ 0 w 359"/>
                <a:gd name="T45" fmla="*/ 59 h 137"/>
                <a:gd name="T46" fmla="*/ 5 w 359"/>
                <a:gd name="T47" fmla="*/ 57 h 137"/>
                <a:gd name="T48" fmla="*/ 5 w 359"/>
                <a:gd name="T49" fmla="*/ 82 h 137"/>
                <a:gd name="T50" fmla="*/ 5 w 359"/>
                <a:gd name="T51" fmla="*/ 78 h 137"/>
                <a:gd name="T52" fmla="*/ 5 w 359"/>
                <a:gd name="T53" fmla="*/ 85 h 137"/>
                <a:gd name="T54" fmla="*/ 5 w 359"/>
                <a:gd name="T55" fmla="*/ 93 h 137"/>
                <a:gd name="T56" fmla="*/ 5 w 359"/>
                <a:gd name="T57" fmla="*/ 101 h 137"/>
                <a:gd name="T58" fmla="*/ 5 w 359"/>
                <a:gd name="T59" fmla="*/ 107 h 137"/>
                <a:gd name="T60" fmla="*/ 5 w 359"/>
                <a:gd name="T61" fmla="*/ 114 h 137"/>
                <a:gd name="T62" fmla="*/ 5 w 359"/>
                <a:gd name="T63" fmla="*/ 114 h 137"/>
                <a:gd name="T64" fmla="*/ 5 w 359"/>
                <a:gd name="T65" fmla="*/ 119 h 137"/>
                <a:gd name="T66" fmla="*/ 5 w 359"/>
                <a:gd name="T67" fmla="*/ 134 h 137"/>
                <a:gd name="T68" fmla="*/ 5 w 359"/>
                <a:gd name="T69" fmla="*/ 128 h 137"/>
                <a:gd name="T70" fmla="*/ 5 w 359"/>
                <a:gd name="T71" fmla="*/ 118 h 137"/>
                <a:gd name="T72" fmla="*/ 5 w 359"/>
                <a:gd name="T73" fmla="*/ 119 h 137"/>
                <a:gd name="T74" fmla="*/ 5 w 359"/>
                <a:gd name="T75" fmla="*/ 137 h 137"/>
                <a:gd name="T76" fmla="*/ 5 w 359"/>
                <a:gd name="T77" fmla="*/ 134 h 137"/>
                <a:gd name="T78" fmla="*/ 5 w 359"/>
                <a:gd name="T79" fmla="*/ 118 h 137"/>
                <a:gd name="T80" fmla="*/ 5 w 359"/>
                <a:gd name="T81" fmla="*/ 124 h 137"/>
                <a:gd name="T82" fmla="*/ 5 w 359"/>
                <a:gd name="T83" fmla="*/ 116 h 137"/>
                <a:gd name="T84" fmla="*/ 5 w 359"/>
                <a:gd name="T85" fmla="*/ 137 h 137"/>
                <a:gd name="T86" fmla="*/ 5 w 359"/>
                <a:gd name="T87" fmla="*/ 130 h 137"/>
                <a:gd name="T88" fmla="*/ 5 w 359"/>
                <a:gd name="T89" fmla="*/ 118 h 137"/>
                <a:gd name="T90" fmla="*/ 5 w 359"/>
                <a:gd name="T91" fmla="*/ 114 h 137"/>
                <a:gd name="T92" fmla="*/ 5 w 359"/>
                <a:gd name="T93" fmla="*/ 120 h 137"/>
                <a:gd name="T94" fmla="*/ 5 w 359"/>
                <a:gd name="T95" fmla="*/ 111 h 137"/>
                <a:gd name="T96" fmla="*/ 5 w 359"/>
                <a:gd name="T97" fmla="*/ 110 h 137"/>
                <a:gd name="T98" fmla="*/ 5 w 359"/>
                <a:gd name="T99" fmla="*/ 102 h 137"/>
                <a:gd name="T100" fmla="*/ 5 w 359"/>
                <a:gd name="T101" fmla="*/ 107 h 137"/>
                <a:gd name="T102" fmla="*/ 5 w 359"/>
                <a:gd name="T103" fmla="*/ 59 h 137"/>
                <a:gd name="T104" fmla="*/ 5 w 359"/>
                <a:gd name="T105" fmla="*/ 48 h 137"/>
                <a:gd name="T106" fmla="*/ 5 w 359"/>
                <a:gd name="T107" fmla="*/ 39 h 137"/>
                <a:gd name="T108" fmla="*/ 5 w 359"/>
                <a:gd name="T109" fmla="*/ 21 h 13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59"/>
                <a:gd name="T166" fmla="*/ 0 h 137"/>
                <a:gd name="T167" fmla="*/ 359 w 359"/>
                <a:gd name="T168" fmla="*/ 137 h 13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59" h="137">
                  <a:moveTo>
                    <a:pt x="319" y="21"/>
                  </a:moveTo>
                  <a:lnTo>
                    <a:pt x="312" y="10"/>
                  </a:lnTo>
                  <a:lnTo>
                    <a:pt x="285" y="8"/>
                  </a:lnTo>
                  <a:lnTo>
                    <a:pt x="256" y="22"/>
                  </a:lnTo>
                  <a:lnTo>
                    <a:pt x="206" y="22"/>
                  </a:lnTo>
                  <a:lnTo>
                    <a:pt x="162" y="0"/>
                  </a:lnTo>
                  <a:lnTo>
                    <a:pt x="130" y="0"/>
                  </a:lnTo>
                  <a:lnTo>
                    <a:pt x="92" y="21"/>
                  </a:lnTo>
                  <a:lnTo>
                    <a:pt x="69" y="21"/>
                  </a:lnTo>
                  <a:lnTo>
                    <a:pt x="45" y="15"/>
                  </a:lnTo>
                  <a:lnTo>
                    <a:pt x="34" y="3"/>
                  </a:lnTo>
                  <a:lnTo>
                    <a:pt x="2" y="4"/>
                  </a:lnTo>
                  <a:lnTo>
                    <a:pt x="0" y="34"/>
                  </a:lnTo>
                  <a:lnTo>
                    <a:pt x="8" y="32"/>
                  </a:lnTo>
                  <a:lnTo>
                    <a:pt x="2" y="43"/>
                  </a:lnTo>
                  <a:lnTo>
                    <a:pt x="24" y="25"/>
                  </a:lnTo>
                  <a:lnTo>
                    <a:pt x="50" y="22"/>
                  </a:lnTo>
                  <a:lnTo>
                    <a:pt x="62" y="31"/>
                  </a:lnTo>
                  <a:lnTo>
                    <a:pt x="52" y="32"/>
                  </a:lnTo>
                  <a:lnTo>
                    <a:pt x="57" y="39"/>
                  </a:lnTo>
                  <a:lnTo>
                    <a:pt x="12" y="39"/>
                  </a:lnTo>
                  <a:lnTo>
                    <a:pt x="2" y="45"/>
                  </a:lnTo>
                  <a:lnTo>
                    <a:pt x="0" y="59"/>
                  </a:lnTo>
                  <a:lnTo>
                    <a:pt x="16" y="57"/>
                  </a:lnTo>
                  <a:lnTo>
                    <a:pt x="18" y="82"/>
                  </a:lnTo>
                  <a:lnTo>
                    <a:pt x="7" y="78"/>
                  </a:lnTo>
                  <a:lnTo>
                    <a:pt x="6" y="85"/>
                  </a:lnTo>
                  <a:lnTo>
                    <a:pt x="24" y="93"/>
                  </a:lnTo>
                  <a:lnTo>
                    <a:pt x="23" y="101"/>
                  </a:lnTo>
                  <a:lnTo>
                    <a:pt x="31" y="107"/>
                  </a:lnTo>
                  <a:lnTo>
                    <a:pt x="25" y="114"/>
                  </a:lnTo>
                  <a:lnTo>
                    <a:pt x="43" y="114"/>
                  </a:lnTo>
                  <a:lnTo>
                    <a:pt x="41" y="119"/>
                  </a:lnTo>
                  <a:lnTo>
                    <a:pt x="75" y="134"/>
                  </a:lnTo>
                  <a:lnTo>
                    <a:pt x="90" y="128"/>
                  </a:lnTo>
                  <a:lnTo>
                    <a:pt x="92" y="118"/>
                  </a:lnTo>
                  <a:lnTo>
                    <a:pt x="103" y="119"/>
                  </a:lnTo>
                  <a:lnTo>
                    <a:pt x="132" y="137"/>
                  </a:lnTo>
                  <a:lnTo>
                    <a:pt x="148" y="134"/>
                  </a:lnTo>
                  <a:lnTo>
                    <a:pt x="165" y="118"/>
                  </a:lnTo>
                  <a:lnTo>
                    <a:pt x="184" y="124"/>
                  </a:lnTo>
                  <a:lnTo>
                    <a:pt x="193" y="116"/>
                  </a:lnTo>
                  <a:lnTo>
                    <a:pt x="194" y="137"/>
                  </a:lnTo>
                  <a:lnTo>
                    <a:pt x="207" y="130"/>
                  </a:lnTo>
                  <a:lnTo>
                    <a:pt x="205" y="118"/>
                  </a:lnTo>
                  <a:lnTo>
                    <a:pt x="238" y="114"/>
                  </a:lnTo>
                  <a:lnTo>
                    <a:pt x="255" y="120"/>
                  </a:lnTo>
                  <a:lnTo>
                    <a:pt x="284" y="111"/>
                  </a:lnTo>
                  <a:lnTo>
                    <a:pt x="315" y="110"/>
                  </a:lnTo>
                  <a:lnTo>
                    <a:pt x="322" y="102"/>
                  </a:lnTo>
                  <a:lnTo>
                    <a:pt x="359" y="107"/>
                  </a:lnTo>
                  <a:lnTo>
                    <a:pt x="339" y="59"/>
                  </a:lnTo>
                  <a:lnTo>
                    <a:pt x="347" y="48"/>
                  </a:lnTo>
                  <a:lnTo>
                    <a:pt x="332" y="39"/>
                  </a:lnTo>
                  <a:lnTo>
                    <a:pt x="319" y="21"/>
                  </a:lnTo>
                  <a:close/>
                </a:path>
              </a:pathLst>
            </a:custGeom>
            <a:grpFill/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8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</p:grpSp>
      <p:sp>
        <p:nvSpPr>
          <p:cNvPr id="300" name="Заголовок 5"/>
          <p:cNvSpPr txBox="1">
            <a:spLocks/>
          </p:cNvSpPr>
          <p:nvPr/>
        </p:nvSpPr>
        <p:spPr>
          <a:xfrm>
            <a:off x="746775" y="792910"/>
            <a:ext cx="6213544" cy="31605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9pPr>
          </a:lstStyle>
          <a:p>
            <a:pPr defTabSz="632085"/>
            <a:r>
              <a:rPr lang="ru-RU" sz="1143" kern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экологически чувствительных рынков </a:t>
            </a:r>
          </a:p>
        </p:txBody>
      </p:sp>
      <p:sp>
        <p:nvSpPr>
          <p:cNvPr id="313" name="Овал 312"/>
          <p:cNvSpPr/>
          <p:nvPr/>
        </p:nvSpPr>
        <p:spPr>
          <a:xfrm>
            <a:off x="3300530" y="1451689"/>
            <a:ext cx="956558" cy="814266"/>
          </a:xfrm>
          <a:prstGeom prst="ellipse">
            <a:avLst/>
          </a:prstGeom>
          <a:solidFill>
            <a:srgbClr val="3C8A2E">
              <a:alpha val="3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371"/>
            <a:endParaRPr lang="ru-RU" sz="1348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2712" y="3311074"/>
            <a:ext cx="8640960" cy="10484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3286" indent="-233286" algn="just" defTabSz="342371">
              <a:spcBef>
                <a:spcPts val="245"/>
              </a:spcBef>
              <a:buFont typeface="Arial" panose="020B0604020202020204" pitchFamily="34" charset="0"/>
              <a:buChar char="•"/>
            </a:pPr>
            <a:r>
              <a:rPr lang="ru-RU" sz="147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прос на </a:t>
            </a:r>
            <a:r>
              <a:rPr lang="ru-RU" sz="147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Зеленый рынок» - </a:t>
            </a:r>
            <a:r>
              <a:rPr lang="ru-RU" sz="1470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купатель</a:t>
            </a:r>
            <a:r>
              <a:rPr lang="ru-RU" sz="147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ыбирает </a:t>
            </a:r>
            <a:r>
              <a:rPr lang="ru-RU" sz="1470" b="1" dirty="0">
                <a:solidFill>
                  <a:srgbClr val="3C8A2E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дукцию из возобновляемого и сертифицированного сырья</a:t>
            </a:r>
          </a:p>
          <a:p>
            <a:pPr marL="233286" indent="-233286" algn="just" defTabSz="342371">
              <a:spcBef>
                <a:spcPts val="245"/>
              </a:spcBef>
              <a:buFont typeface="Arial" panose="020B0604020202020204" pitchFamily="34" charset="0"/>
              <a:buChar char="•"/>
            </a:pPr>
            <a:r>
              <a:rPr lang="ru-RU" sz="1470" b="1" dirty="0">
                <a:solidFill>
                  <a:srgbClr val="3C8A2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тавание России</a:t>
            </a:r>
            <a:r>
              <a:rPr lang="ru-RU" sz="1470" dirty="0">
                <a:solidFill>
                  <a:srgbClr val="3C8A2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7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 стран </a:t>
            </a:r>
            <a:r>
              <a:rPr lang="ru-RU" sz="1470" b="1" dirty="0">
                <a:solidFill>
                  <a:srgbClr val="3C8A2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вропы и США </a:t>
            </a:r>
            <a:r>
              <a:rPr lang="ru-RU" sz="147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имум </a:t>
            </a:r>
            <a:r>
              <a:rPr lang="ru-RU" sz="1470" b="1" dirty="0">
                <a:solidFill>
                  <a:srgbClr val="3C8A2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лет</a:t>
            </a:r>
            <a:r>
              <a:rPr lang="ru-RU" sz="147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233286" indent="-233286" algn="just" defTabSz="342371">
              <a:spcBef>
                <a:spcPts val="245"/>
              </a:spcBef>
              <a:buFont typeface="Arial" panose="020B0604020202020204" pitchFamily="34" charset="0"/>
              <a:buChar char="•"/>
            </a:pPr>
            <a:r>
              <a:rPr lang="ru-RU" sz="147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тог 2017 года - года экологии в России -  </a:t>
            </a:r>
            <a:r>
              <a:rPr lang="ru-RU" sz="1470" b="1" dirty="0">
                <a:solidFill>
                  <a:srgbClr val="3C8A2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прос потребителей на «зеленую экономику»</a:t>
            </a:r>
            <a:r>
              <a:rPr lang="ru-RU" sz="147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стране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027390" y="1179634"/>
            <a:ext cx="3536332" cy="15770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371"/>
            <a:r>
              <a:rPr lang="ru-RU" sz="1048" b="1" i="1" dirty="0">
                <a:solidFill>
                  <a:srgbClr val="377A2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048" b="1" i="1" u="sng" dirty="0">
                <a:solidFill>
                  <a:srgbClr val="377A2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правочно:</a:t>
            </a:r>
          </a:p>
          <a:p>
            <a:pPr marL="139972" indent="-139972" defTabSz="342371">
              <a:spcBef>
                <a:spcPts val="490"/>
              </a:spcBef>
              <a:buFont typeface="Wingdings" panose="05000000000000000000" pitchFamily="2" charset="2"/>
              <a:buChar char="ü"/>
            </a:pPr>
            <a:r>
              <a:rPr lang="ru-RU" sz="98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1996 г. </a:t>
            </a:r>
            <a:r>
              <a:rPr lang="ru-RU" sz="98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м торговли сертифицированными продуктами </a:t>
            </a:r>
            <a:r>
              <a:rPr lang="ru-RU" sz="980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превышал 2 % </a:t>
            </a:r>
            <a:r>
              <a:rPr lang="ru-RU" sz="98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оварооборота рынков развитых стран, </a:t>
            </a:r>
          </a:p>
          <a:p>
            <a:pPr marL="139972" indent="-139972" defTabSz="342371">
              <a:spcBef>
                <a:spcPts val="490"/>
              </a:spcBef>
              <a:buFont typeface="Wingdings" panose="05000000000000000000" pitchFamily="2" charset="2"/>
              <a:buChar char="ü"/>
            </a:pPr>
            <a:r>
              <a:rPr lang="ru-RU" sz="98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 2002 г. </a:t>
            </a:r>
            <a:r>
              <a:rPr lang="ru-RU" sz="980" b="1" i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рос до 20 %</a:t>
            </a:r>
          </a:p>
          <a:p>
            <a:pPr marL="139972" indent="-139972" defTabSz="342371">
              <a:spcBef>
                <a:spcPts val="490"/>
              </a:spcBef>
              <a:buFont typeface="Wingdings" panose="05000000000000000000" pitchFamily="2" charset="2"/>
              <a:buChar char="ü"/>
            </a:pPr>
            <a:r>
              <a:rPr lang="ru-RU" sz="98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настоящее время </a:t>
            </a:r>
            <a:r>
              <a:rPr lang="ru-RU" sz="98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мкость рынков сертифицированных товаров продукции лесопромышленных холдингов в </a:t>
            </a:r>
            <a:r>
              <a:rPr lang="ru-RU" sz="98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С </a:t>
            </a:r>
            <a:r>
              <a:rPr lang="ru-RU" sz="1470" b="1" i="1" dirty="0">
                <a:solidFill>
                  <a:srgbClr val="3C8A2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вышает 60 % </a:t>
            </a:r>
          </a:p>
        </p:txBody>
      </p:sp>
      <p:sp>
        <p:nvSpPr>
          <p:cNvPr id="298" name="Заголовок 5"/>
          <p:cNvSpPr txBox="1">
            <a:spLocks/>
          </p:cNvSpPr>
          <p:nvPr/>
        </p:nvSpPr>
        <p:spPr>
          <a:xfrm>
            <a:off x="2312634" y="285078"/>
            <a:ext cx="7280443" cy="31605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9pPr>
          </a:lstStyle>
          <a:p>
            <a:pPr defTabSz="632085"/>
            <a:r>
              <a:rPr lang="ru-RU" sz="1797" kern="0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Зеленый рынок - глобальный тренд</a:t>
            </a:r>
          </a:p>
        </p:txBody>
      </p:sp>
      <p:sp>
        <p:nvSpPr>
          <p:cNvPr id="299" name="Овал 298"/>
          <p:cNvSpPr/>
          <p:nvPr/>
        </p:nvSpPr>
        <p:spPr>
          <a:xfrm>
            <a:off x="1881474" y="1959205"/>
            <a:ext cx="1181875" cy="814266"/>
          </a:xfrm>
          <a:prstGeom prst="ellipse">
            <a:avLst/>
          </a:prstGeom>
          <a:solidFill>
            <a:srgbClr val="3C8A2E">
              <a:alpha val="3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371"/>
            <a:endParaRPr lang="ru-RU" sz="1348">
              <a:solidFill>
                <a:prstClr val="white"/>
              </a:solidFill>
            </a:endParaRPr>
          </a:p>
        </p:txBody>
      </p:sp>
      <p:sp>
        <p:nvSpPr>
          <p:cNvPr id="301" name="Овал 300"/>
          <p:cNvSpPr/>
          <p:nvPr/>
        </p:nvSpPr>
        <p:spPr>
          <a:xfrm>
            <a:off x="2124440" y="1412081"/>
            <a:ext cx="626089" cy="392888"/>
          </a:xfrm>
          <a:prstGeom prst="ellipse">
            <a:avLst/>
          </a:prstGeom>
          <a:solidFill>
            <a:srgbClr val="3C8A2E">
              <a:alpha val="3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371"/>
            <a:endParaRPr lang="ru-RU" sz="1348">
              <a:solidFill>
                <a:prstClr val="white"/>
              </a:solidFill>
            </a:endParaRPr>
          </a:p>
        </p:txBody>
      </p:sp>
      <p:sp>
        <p:nvSpPr>
          <p:cNvPr id="302" name="Овал 301"/>
          <p:cNvSpPr/>
          <p:nvPr/>
        </p:nvSpPr>
        <p:spPr>
          <a:xfrm>
            <a:off x="428496" y="1345275"/>
            <a:ext cx="895133" cy="814266"/>
          </a:xfrm>
          <a:prstGeom prst="ellipse">
            <a:avLst/>
          </a:prstGeom>
          <a:solidFill>
            <a:srgbClr val="3C8A2E">
              <a:alpha val="34902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371"/>
            <a:endParaRPr lang="ru-RU" sz="134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372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Прямоугольник 306"/>
          <p:cNvSpPr/>
          <p:nvPr/>
        </p:nvSpPr>
        <p:spPr>
          <a:xfrm>
            <a:off x="2381438" y="244000"/>
            <a:ext cx="5709448" cy="3938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959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Глобальный тренд. Ограничение полиэтилена</a:t>
            </a:r>
          </a:p>
        </p:txBody>
      </p:sp>
      <p:sp>
        <p:nvSpPr>
          <p:cNvPr id="308" name="Прямоугольник 307"/>
          <p:cNvSpPr/>
          <p:nvPr/>
        </p:nvSpPr>
        <p:spPr>
          <a:xfrm>
            <a:off x="1515392" y="4438464"/>
            <a:ext cx="7136371" cy="6951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6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6 стран мира, в которых проживает более 5,8 млрд человек или 80% населения земного шара ввели запрет/ограничение использования или налог/пошлину на полиэтиленовые пакеты с ручками  </a:t>
            </a:r>
          </a:p>
        </p:txBody>
      </p:sp>
      <p:grpSp>
        <p:nvGrpSpPr>
          <p:cNvPr id="1450" name="Группа 1449"/>
          <p:cNvGrpSpPr/>
          <p:nvPr>
            <p:custDataLst>
              <p:tags r:id="rId1"/>
            </p:custDataLst>
          </p:nvPr>
        </p:nvGrpSpPr>
        <p:grpSpPr>
          <a:xfrm>
            <a:off x="1178568" y="872967"/>
            <a:ext cx="5134407" cy="3028467"/>
            <a:chOff x="953090" y="1035560"/>
            <a:chExt cx="7427361" cy="4380938"/>
          </a:xfrm>
        </p:grpSpPr>
        <p:sp>
          <p:nvSpPr>
            <p:cNvPr id="1451" name="Freeform 8"/>
            <p:cNvSpPr>
              <a:spLocks noChangeAspect="1"/>
            </p:cNvSpPr>
            <p:nvPr/>
          </p:nvSpPr>
          <p:spPr bwMode="auto">
            <a:xfrm>
              <a:off x="7926370" y="5130941"/>
              <a:ext cx="26546" cy="22959"/>
            </a:xfrm>
            <a:custGeom>
              <a:avLst/>
              <a:gdLst>
                <a:gd name="T0" fmla="*/ 0 w 19"/>
                <a:gd name="T1" fmla="*/ 16 h 16"/>
                <a:gd name="T2" fmla="*/ 17 w 19"/>
                <a:gd name="T3" fmla="*/ 9 h 16"/>
                <a:gd name="T4" fmla="*/ 19 w 19"/>
                <a:gd name="T5" fmla="*/ 0 h 16"/>
                <a:gd name="T6" fmla="*/ 0 w 19"/>
                <a:gd name="T7" fmla="*/ 16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6"/>
                <a:gd name="T14" fmla="*/ 19 w 19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6">
                  <a:moveTo>
                    <a:pt x="0" y="16"/>
                  </a:moveTo>
                  <a:lnTo>
                    <a:pt x="17" y="9"/>
                  </a:lnTo>
                  <a:lnTo>
                    <a:pt x="19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52" name="Freeform 9"/>
            <p:cNvSpPr>
              <a:spLocks noChangeAspect="1"/>
            </p:cNvSpPr>
            <p:nvPr/>
          </p:nvSpPr>
          <p:spPr bwMode="auto">
            <a:xfrm>
              <a:off x="3040463" y="4592830"/>
              <a:ext cx="124348" cy="152106"/>
            </a:xfrm>
            <a:custGeom>
              <a:avLst/>
              <a:gdLst>
                <a:gd name="T0" fmla="*/ 5 w 98"/>
                <a:gd name="T1" fmla="*/ 88 h 106"/>
                <a:gd name="T2" fmla="*/ 0 w 98"/>
                <a:gd name="T3" fmla="*/ 0 h 106"/>
                <a:gd name="T4" fmla="*/ 5 w 98"/>
                <a:gd name="T5" fmla="*/ 0 h 106"/>
                <a:gd name="T6" fmla="*/ 5 w 98"/>
                <a:gd name="T7" fmla="*/ 18 h 106"/>
                <a:gd name="T8" fmla="*/ 5 w 98"/>
                <a:gd name="T9" fmla="*/ 15 h 106"/>
                <a:gd name="T10" fmla="*/ 5 w 98"/>
                <a:gd name="T11" fmla="*/ 40 h 106"/>
                <a:gd name="T12" fmla="*/ 5 w 98"/>
                <a:gd name="T13" fmla="*/ 58 h 106"/>
                <a:gd name="T14" fmla="*/ 5 w 98"/>
                <a:gd name="T15" fmla="*/ 82 h 106"/>
                <a:gd name="T16" fmla="*/ 5 w 98"/>
                <a:gd name="T17" fmla="*/ 99 h 106"/>
                <a:gd name="T18" fmla="*/ 5 w 98"/>
                <a:gd name="T19" fmla="*/ 106 h 106"/>
                <a:gd name="T20" fmla="*/ 5 w 98"/>
                <a:gd name="T21" fmla="*/ 88 h 10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8"/>
                <a:gd name="T34" fmla="*/ 0 h 106"/>
                <a:gd name="T35" fmla="*/ 98 w 98"/>
                <a:gd name="T36" fmla="*/ 106 h 10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8" h="106">
                  <a:moveTo>
                    <a:pt x="5" y="88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38" y="18"/>
                  </a:lnTo>
                  <a:lnTo>
                    <a:pt x="42" y="15"/>
                  </a:lnTo>
                  <a:lnTo>
                    <a:pt x="82" y="40"/>
                  </a:lnTo>
                  <a:lnTo>
                    <a:pt x="98" y="58"/>
                  </a:lnTo>
                  <a:lnTo>
                    <a:pt x="98" y="82"/>
                  </a:lnTo>
                  <a:lnTo>
                    <a:pt x="90" y="99"/>
                  </a:lnTo>
                  <a:lnTo>
                    <a:pt x="48" y="106"/>
                  </a:lnTo>
                  <a:lnTo>
                    <a:pt x="5" y="8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53" name="Freeform 10"/>
            <p:cNvSpPr>
              <a:spLocks noChangeAspect="1"/>
            </p:cNvSpPr>
            <p:nvPr/>
          </p:nvSpPr>
          <p:spPr bwMode="auto">
            <a:xfrm>
              <a:off x="2988768" y="5320356"/>
              <a:ext cx="104788" cy="96142"/>
            </a:xfrm>
            <a:custGeom>
              <a:avLst/>
              <a:gdLst>
                <a:gd name="T0" fmla="*/ 0 w 83"/>
                <a:gd name="T1" fmla="*/ 0 h 67"/>
                <a:gd name="T2" fmla="*/ 5 w 83"/>
                <a:gd name="T3" fmla="*/ 23 h 67"/>
                <a:gd name="T4" fmla="*/ 5 w 83"/>
                <a:gd name="T5" fmla="*/ 45 h 67"/>
                <a:gd name="T6" fmla="*/ 5 w 83"/>
                <a:gd name="T7" fmla="*/ 52 h 67"/>
                <a:gd name="T8" fmla="*/ 5 w 83"/>
                <a:gd name="T9" fmla="*/ 59 h 67"/>
                <a:gd name="T10" fmla="*/ 5 w 83"/>
                <a:gd name="T11" fmla="*/ 67 h 67"/>
                <a:gd name="T12" fmla="*/ 5 w 83"/>
                <a:gd name="T13" fmla="*/ 65 h 67"/>
                <a:gd name="T14" fmla="*/ 0 w 83"/>
                <a:gd name="T15" fmla="*/ 0 h 6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3"/>
                <a:gd name="T25" fmla="*/ 0 h 67"/>
                <a:gd name="T26" fmla="*/ 83 w 83"/>
                <a:gd name="T27" fmla="*/ 67 h 6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3" h="67">
                  <a:moveTo>
                    <a:pt x="0" y="0"/>
                  </a:moveTo>
                  <a:lnTo>
                    <a:pt x="24" y="23"/>
                  </a:lnTo>
                  <a:lnTo>
                    <a:pt x="83" y="45"/>
                  </a:lnTo>
                  <a:lnTo>
                    <a:pt x="79" y="52"/>
                  </a:lnTo>
                  <a:lnTo>
                    <a:pt x="38" y="59"/>
                  </a:lnTo>
                  <a:lnTo>
                    <a:pt x="46" y="67"/>
                  </a:lnTo>
                  <a:lnTo>
                    <a:pt x="31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54" name="Freeform 11"/>
            <p:cNvSpPr>
              <a:spLocks noChangeAspect="1"/>
            </p:cNvSpPr>
            <p:nvPr/>
          </p:nvSpPr>
          <p:spPr bwMode="auto">
            <a:xfrm>
              <a:off x="2892363" y="5320356"/>
              <a:ext cx="135526" cy="93273"/>
            </a:xfrm>
            <a:custGeom>
              <a:avLst/>
              <a:gdLst>
                <a:gd name="T0" fmla="*/ 4 w 108"/>
                <a:gd name="T1" fmla="*/ 0 h 65"/>
                <a:gd name="T2" fmla="*/ 4 w 108"/>
                <a:gd name="T3" fmla="*/ 5 h 65"/>
                <a:gd name="T4" fmla="*/ 4 w 108"/>
                <a:gd name="T5" fmla="*/ 16 h 65"/>
                <a:gd name="T6" fmla="*/ 4 w 108"/>
                <a:gd name="T7" fmla="*/ 20 h 65"/>
                <a:gd name="T8" fmla="*/ 4 w 108"/>
                <a:gd name="T9" fmla="*/ 26 h 65"/>
                <a:gd name="T10" fmla="*/ 4 w 108"/>
                <a:gd name="T11" fmla="*/ 23 h 65"/>
                <a:gd name="T12" fmla="*/ 4 w 108"/>
                <a:gd name="T13" fmla="*/ 34 h 65"/>
                <a:gd name="T14" fmla="*/ 3 w 108"/>
                <a:gd name="T15" fmla="*/ 16 h 65"/>
                <a:gd name="T16" fmla="*/ 0 w 108"/>
                <a:gd name="T17" fmla="*/ 22 h 65"/>
                <a:gd name="T18" fmla="*/ 4 w 108"/>
                <a:gd name="T19" fmla="*/ 33 h 65"/>
                <a:gd name="T20" fmla="*/ 4 w 108"/>
                <a:gd name="T21" fmla="*/ 33 h 65"/>
                <a:gd name="T22" fmla="*/ 4 w 108"/>
                <a:gd name="T23" fmla="*/ 52 h 65"/>
                <a:gd name="T24" fmla="*/ 4 w 108"/>
                <a:gd name="T25" fmla="*/ 52 h 65"/>
                <a:gd name="T26" fmla="*/ 4 w 108"/>
                <a:gd name="T27" fmla="*/ 60 h 65"/>
                <a:gd name="T28" fmla="*/ 4 w 108"/>
                <a:gd name="T29" fmla="*/ 65 h 65"/>
                <a:gd name="T30" fmla="*/ 4 w 108"/>
                <a:gd name="T31" fmla="*/ 0 h 6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8"/>
                <a:gd name="T49" fmla="*/ 0 h 65"/>
                <a:gd name="T50" fmla="*/ 108 w 108"/>
                <a:gd name="T51" fmla="*/ 65 h 6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8" h="65">
                  <a:moveTo>
                    <a:pt x="77" y="0"/>
                  </a:moveTo>
                  <a:lnTo>
                    <a:pt x="54" y="5"/>
                  </a:lnTo>
                  <a:lnTo>
                    <a:pt x="56" y="16"/>
                  </a:lnTo>
                  <a:lnTo>
                    <a:pt x="77" y="20"/>
                  </a:lnTo>
                  <a:lnTo>
                    <a:pt x="66" y="26"/>
                  </a:lnTo>
                  <a:lnTo>
                    <a:pt x="58" y="23"/>
                  </a:lnTo>
                  <a:lnTo>
                    <a:pt x="55" y="34"/>
                  </a:lnTo>
                  <a:lnTo>
                    <a:pt x="3" y="16"/>
                  </a:lnTo>
                  <a:lnTo>
                    <a:pt x="0" y="22"/>
                  </a:lnTo>
                  <a:lnTo>
                    <a:pt x="15" y="33"/>
                  </a:lnTo>
                  <a:lnTo>
                    <a:pt x="26" y="33"/>
                  </a:lnTo>
                  <a:lnTo>
                    <a:pt x="62" y="52"/>
                  </a:lnTo>
                  <a:lnTo>
                    <a:pt x="82" y="52"/>
                  </a:lnTo>
                  <a:lnTo>
                    <a:pt x="89" y="60"/>
                  </a:lnTo>
                  <a:lnTo>
                    <a:pt x="108" y="65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55" name="Freeform 12"/>
            <p:cNvSpPr>
              <a:spLocks noChangeAspect="1"/>
            </p:cNvSpPr>
            <p:nvPr/>
          </p:nvSpPr>
          <p:spPr bwMode="auto">
            <a:xfrm>
              <a:off x="2367027" y="3599837"/>
              <a:ext cx="336718" cy="596944"/>
            </a:xfrm>
            <a:custGeom>
              <a:avLst/>
              <a:gdLst>
                <a:gd name="T0" fmla="*/ 5 w 267"/>
                <a:gd name="T1" fmla="*/ 77 h 416"/>
                <a:gd name="T2" fmla="*/ 0 w 267"/>
                <a:gd name="T3" fmla="*/ 94 h 416"/>
                <a:gd name="T4" fmla="*/ 5 w 267"/>
                <a:gd name="T5" fmla="*/ 127 h 416"/>
                <a:gd name="T6" fmla="*/ 5 w 267"/>
                <a:gd name="T7" fmla="*/ 136 h 416"/>
                <a:gd name="T8" fmla="*/ 5 w 267"/>
                <a:gd name="T9" fmla="*/ 154 h 416"/>
                <a:gd name="T10" fmla="*/ 5 w 267"/>
                <a:gd name="T11" fmla="*/ 196 h 416"/>
                <a:gd name="T12" fmla="*/ 5 w 267"/>
                <a:gd name="T13" fmla="*/ 335 h 416"/>
                <a:gd name="T14" fmla="*/ 5 w 267"/>
                <a:gd name="T15" fmla="*/ 416 h 416"/>
                <a:gd name="T16" fmla="*/ 5 w 267"/>
                <a:gd name="T17" fmla="*/ 400 h 416"/>
                <a:gd name="T18" fmla="*/ 5 w 267"/>
                <a:gd name="T19" fmla="*/ 376 h 416"/>
                <a:gd name="T20" fmla="*/ 5 w 267"/>
                <a:gd name="T21" fmla="*/ 358 h 416"/>
                <a:gd name="T22" fmla="*/ 5 w 267"/>
                <a:gd name="T23" fmla="*/ 281 h 416"/>
                <a:gd name="T24" fmla="*/ 5 w 267"/>
                <a:gd name="T25" fmla="*/ 247 h 416"/>
                <a:gd name="T26" fmla="*/ 5 w 267"/>
                <a:gd name="T27" fmla="*/ 247 h 416"/>
                <a:gd name="T28" fmla="*/ 5 w 267"/>
                <a:gd name="T29" fmla="*/ 213 h 416"/>
                <a:gd name="T30" fmla="*/ 5 w 267"/>
                <a:gd name="T31" fmla="*/ 227 h 416"/>
                <a:gd name="T32" fmla="*/ 5 w 267"/>
                <a:gd name="T33" fmla="*/ 211 h 416"/>
                <a:gd name="T34" fmla="*/ 5 w 267"/>
                <a:gd name="T35" fmla="*/ 204 h 416"/>
                <a:gd name="T36" fmla="*/ 5 w 267"/>
                <a:gd name="T37" fmla="*/ 175 h 416"/>
                <a:gd name="T38" fmla="*/ 5 w 267"/>
                <a:gd name="T39" fmla="*/ 132 h 416"/>
                <a:gd name="T40" fmla="*/ 5 w 267"/>
                <a:gd name="T41" fmla="*/ 111 h 416"/>
                <a:gd name="T42" fmla="*/ 5 w 267"/>
                <a:gd name="T43" fmla="*/ 93 h 416"/>
                <a:gd name="T44" fmla="*/ 5 w 267"/>
                <a:gd name="T45" fmla="*/ 80 h 416"/>
                <a:gd name="T46" fmla="*/ 5 w 267"/>
                <a:gd name="T47" fmla="*/ 65 h 416"/>
                <a:gd name="T48" fmla="*/ 5 w 267"/>
                <a:gd name="T49" fmla="*/ 58 h 416"/>
                <a:gd name="T50" fmla="*/ 5 w 267"/>
                <a:gd name="T51" fmla="*/ 51 h 416"/>
                <a:gd name="T52" fmla="*/ 5 w 267"/>
                <a:gd name="T53" fmla="*/ 54 h 416"/>
                <a:gd name="T54" fmla="*/ 5 w 267"/>
                <a:gd name="T55" fmla="*/ 28 h 416"/>
                <a:gd name="T56" fmla="*/ 5 w 267"/>
                <a:gd name="T57" fmla="*/ 0 h 416"/>
                <a:gd name="T58" fmla="*/ 5 w 267"/>
                <a:gd name="T59" fmla="*/ 5 h 416"/>
                <a:gd name="T60" fmla="*/ 5 w 267"/>
                <a:gd name="T61" fmla="*/ 18 h 416"/>
                <a:gd name="T62" fmla="*/ 5 w 267"/>
                <a:gd name="T63" fmla="*/ 37 h 416"/>
                <a:gd name="T64" fmla="*/ 5 w 267"/>
                <a:gd name="T65" fmla="*/ 54 h 416"/>
                <a:gd name="T66" fmla="*/ 5 w 267"/>
                <a:gd name="T67" fmla="*/ 69 h 416"/>
                <a:gd name="T68" fmla="*/ 5 w 267"/>
                <a:gd name="T69" fmla="*/ 113 h 416"/>
                <a:gd name="T70" fmla="*/ 5 w 267"/>
                <a:gd name="T71" fmla="*/ 98 h 416"/>
                <a:gd name="T72" fmla="*/ 5 w 267"/>
                <a:gd name="T73" fmla="*/ 77 h 41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67"/>
                <a:gd name="T112" fmla="*/ 0 h 416"/>
                <a:gd name="T113" fmla="*/ 267 w 267"/>
                <a:gd name="T114" fmla="*/ 416 h 41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67" h="416">
                  <a:moveTo>
                    <a:pt x="18" y="77"/>
                  </a:moveTo>
                  <a:lnTo>
                    <a:pt x="0" y="94"/>
                  </a:lnTo>
                  <a:lnTo>
                    <a:pt x="11" y="127"/>
                  </a:lnTo>
                  <a:lnTo>
                    <a:pt x="5" y="136"/>
                  </a:lnTo>
                  <a:lnTo>
                    <a:pt x="29" y="154"/>
                  </a:lnTo>
                  <a:lnTo>
                    <a:pt x="58" y="196"/>
                  </a:lnTo>
                  <a:lnTo>
                    <a:pt x="126" y="335"/>
                  </a:lnTo>
                  <a:lnTo>
                    <a:pt x="240" y="416"/>
                  </a:lnTo>
                  <a:lnTo>
                    <a:pt x="258" y="400"/>
                  </a:lnTo>
                  <a:lnTo>
                    <a:pt x="267" y="376"/>
                  </a:lnTo>
                  <a:lnTo>
                    <a:pt x="257" y="358"/>
                  </a:lnTo>
                  <a:lnTo>
                    <a:pt x="263" y="281"/>
                  </a:lnTo>
                  <a:lnTo>
                    <a:pt x="243" y="247"/>
                  </a:lnTo>
                  <a:lnTo>
                    <a:pt x="226" y="247"/>
                  </a:lnTo>
                  <a:lnTo>
                    <a:pt x="221" y="213"/>
                  </a:lnTo>
                  <a:lnTo>
                    <a:pt x="196" y="227"/>
                  </a:lnTo>
                  <a:lnTo>
                    <a:pt x="173" y="211"/>
                  </a:lnTo>
                  <a:lnTo>
                    <a:pt x="175" y="204"/>
                  </a:lnTo>
                  <a:lnTo>
                    <a:pt x="156" y="175"/>
                  </a:lnTo>
                  <a:lnTo>
                    <a:pt x="170" y="132"/>
                  </a:lnTo>
                  <a:lnTo>
                    <a:pt x="183" y="111"/>
                  </a:lnTo>
                  <a:lnTo>
                    <a:pt x="229" y="93"/>
                  </a:lnTo>
                  <a:lnTo>
                    <a:pt x="217" y="80"/>
                  </a:lnTo>
                  <a:lnTo>
                    <a:pt x="227" y="65"/>
                  </a:lnTo>
                  <a:lnTo>
                    <a:pt x="223" y="58"/>
                  </a:lnTo>
                  <a:lnTo>
                    <a:pt x="211" y="51"/>
                  </a:lnTo>
                  <a:lnTo>
                    <a:pt x="166" y="54"/>
                  </a:lnTo>
                  <a:lnTo>
                    <a:pt x="154" y="28"/>
                  </a:lnTo>
                  <a:lnTo>
                    <a:pt x="120" y="0"/>
                  </a:lnTo>
                  <a:lnTo>
                    <a:pt x="114" y="5"/>
                  </a:lnTo>
                  <a:lnTo>
                    <a:pt x="121" y="18"/>
                  </a:lnTo>
                  <a:lnTo>
                    <a:pt x="112" y="37"/>
                  </a:lnTo>
                  <a:lnTo>
                    <a:pt x="97" y="54"/>
                  </a:lnTo>
                  <a:lnTo>
                    <a:pt x="68" y="69"/>
                  </a:lnTo>
                  <a:lnTo>
                    <a:pt x="42" y="113"/>
                  </a:lnTo>
                  <a:lnTo>
                    <a:pt x="16" y="98"/>
                  </a:lnTo>
                  <a:lnTo>
                    <a:pt x="18" y="7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56" name="Freeform 13"/>
            <p:cNvSpPr>
              <a:spLocks noChangeAspect="1"/>
            </p:cNvSpPr>
            <p:nvPr/>
          </p:nvSpPr>
          <p:spPr bwMode="auto">
            <a:xfrm>
              <a:off x="2375410" y="3553918"/>
              <a:ext cx="145306" cy="208069"/>
            </a:xfrm>
            <a:custGeom>
              <a:avLst/>
              <a:gdLst>
                <a:gd name="T0" fmla="*/ 5 w 115"/>
                <a:gd name="T1" fmla="*/ 109 h 145"/>
                <a:gd name="T2" fmla="*/ 5 w 115"/>
                <a:gd name="T3" fmla="*/ 130 h 145"/>
                <a:gd name="T4" fmla="*/ 5 w 115"/>
                <a:gd name="T5" fmla="*/ 145 h 145"/>
                <a:gd name="T6" fmla="*/ 5 w 115"/>
                <a:gd name="T7" fmla="*/ 101 h 145"/>
                <a:gd name="T8" fmla="*/ 5 w 115"/>
                <a:gd name="T9" fmla="*/ 86 h 145"/>
                <a:gd name="T10" fmla="*/ 5 w 115"/>
                <a:gd name="T11" fmla="*/ 69 h 145"/>
                <a:gd name="T12" fmla="*/ 5 w 115"/>
                <a:gd name="T13" fmla="*/ 50 h 145"/>
                <a:gd name="T14" fmla="*/ 5 w 115"/>
                <a:gd name="T15" fmla="*/ 37 h 145"/>
                <a:gd name="T16" fmla="*/ 5 w 115"/>
                <a:gd name="T17" fmla="*/ 32 h 145"/>
                <a:gd name="T18" fmla="*/ 5 w 115"/>
                <a:gd name="T19" fmla="*/ 25 h 145"/>
                <a:gd name="T20" fmla="*/ 5 w 115"/>
                <a:gd name="T21" fmla="*/ 28 h 145"/>
                <a:gd name="T22" fmla="*/ 5 w 115"/>
                <a:gd name="T23" fmla="*/ 0 h 145"/>
                <a:gd name="T24" fmla="*/ 5 w 115"/>
                <a:gd name="T25" fmla="*/ 14 h 145"/>
                <a:gd name="T26" fmla="*/ 5 w 115"/>
                <a:gd name="T27" fmla="*/ 29 h 145"/>
                <a:gd name="T28" fmla="*/ 5 w 115"/>
                <a:gd name="T29" fmla="*/ 37 h 145"/>
                <a:gd name="T30" fmla="*/ 5 w 115"/>
                <a:gd name="T31" fmla="*/ 49 h 145"/>
                <a:gd name="T32" fmla="*/ 0 w 115"/>
                <a:gd name="T33" fmla="*/ 52 h 145"/>
                <a:gd name="T34" fmla="*/ 1 w 115"/>
                <a:gd name="T35" fmla="*/ 83 h 145"/>
                <a:gd name="T36" fmla="*/ 5 w 115"/>
                <a:gd name="T37" fmla="*/ 99 h 145"/>
                <a:gd name="T38" fmla="*/ 5 w 115"/>
                <a:gd name="T39" fmla="*/ 86 h 145"/>
                <a:gd name="T40" fmla="*/ 5 w 115"/>
                <a:gd name="T41" fmla="*/ 86 h 145"/>
                <a:gd name="T42" fmla="*/ 5 w 115"/>
                <a:gd name="T43" fmla="*/ 106 h 145"/>
                <a:gd name="T44" fmla="*/ 5 w 115"/>
                <a:gd name="T45" fmla="*/ 109 h 1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15"/>
                <a:gd name="T70" fmla="*/ 0 h 145"/>
                <a:gd name="T71" fmla="*/ 115 w 115"/>
                <a:gd name="T72" fmla="*/ 145 h 1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15" h="145">
                  <a:moveTo>
                    <a:pt x="12" y="109"/>
                  </a:moveTo>
                  <a:lnTo>
                    <a:pt x="10" y="130"/>
                  </a:lnTo>
                  <a:lnTo>
                    <a:pt x="36" y="145"/>
                  </a:lnTo>
                  <a:lnTo>
                    <a:pt x="62" y="101"/>
                  </a:lnTo>
                  <a:lnTo>
                    <a:pt x="91" y="86"/>
                  </a:lnTo>
                  <a:lnTo>
                    <a:pt x="106" y="69"/>
                  </a:lnTo>
                  <a:lnTo>
                    <a:pt x="115" y="50"/>
                  </a:lnTo>
                  <a:lnTo>
                    <a:pt x="108" y="37"/>
                  </a:lnTo>
                  <a:lnTo>
                    <a:pt x="114" y="32"/>
                  </a:lnTo>
                  <a:lnTo>
                    <a:pt x="102" y="25"/>
                  </a:lnTo>
                  <a:lnTo>
                    <a:pt x="76" y="28"/>
                  </a:lnTo>
                  <a:lnTo>
                    <a:pt x="43" y="0"/>
                  </a:lnTo>
                  <a:lnTo>
                    <a:pt x="19" y="14"/>
                  </a:lnTo>
                  <a:lnTo>
                    <a:pt x="17" y="29"/>
                  </a:lnTo>
                  <a:lnTo>
                    <a:pt x="9" y="37"/>
                  </a:lnTo>
                  <a:lnTo>
                    <a:pt x="9" y="49"/>
                  </a:lnTo>
                  <a:lnTo>
                    <a:pt x="0" y="52"/>
                  </a:lnTo>
                  <a:lnTo>
                    <a:pt x="1" y="83"/>
                  </a:lnTo>
                  <a:lnTo>
                    <a:pt x="17" y="99"/>
                  </a:lnTo>
                  <a:lnTo>
                    <a:pt x="18" y="86"/>
                  </a:lnTo>
                  <a:lnTo>
                    <a:pt x="27" y="86"/>
                  </a:lnTo>
                  <a:lnTo>
                    <a:pt x="21" y="106"/>
                  </a:lnTo>
                  <a:lnTo>
                    <a:pt x="12" y="10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57" name="Freeform 14"/>
            <p:cNvSpPr>
              <a:spLocks noChangeAspect="1"/>
            </p:cNvSpPr>
            <p:nvPr/>
          </p:nvSpPr>
          <p:spPr bwMode="auto">
            <a:xfrm>
              <a:off x="2425708" y="3186568"/>
              <a:ext cx="307378" cy="546720"/>
            </a:xfrm>
            <a:custGeom>
              <a:avLst/>
              <a:gdLst>
                <a:gd name="T0" fmla="*/ 3 w 245"/>
                <a:gd name="T1" fmla="*/ 256 h 381"/>
                <a:gd name="T2" fmla="*/ 0 w 245"/>
                <a:gd name="T3" fmla="*/ 247 h 381"/>
                <a:gd name="T4" fmla="*/ 4 w 245"/>
                <a:gd name="T5" fmla="*/ 245 h 381"/>
                <a:gd name="T6" fmla="*/ 4 w 245"/>
                <a:gd name="T7" fmla="*/ 224 h 381"/>
                <a:gd name="T8" fmla="*/ 4 w 245"/>
                <a:gd name="T9" fmla="*/ 224 h 381"/>
                <a:gd name="T10" fmla="*/ 4 w 245"/>
                <a:gd name="T11" fmla="*/ 202 h 381"/>
                <a:gd name="T12" fmla="*/ 4 w 245"/>
                <a:gd name="T13" fmla="*/ 193 h 381"/>
                <a:gd name="T14" fmla="*/ 4 w 245"/>
                <a:gd name="T15" fmla="*/ 134 h 381"/>
                <a:gd name="T16" fmla="*/ 4 w 245"/>
                <a:gd name="T17" fmla="*/ 118 h 381"/>
                <a:gd name="T18" fmla="*/ 4 w 245"/>
                <a:gd name="T19" fmla="*/ 101 h 381"/>
                <a:gd name="T20" fmla="*/ 4 w 245"/>
                <a:gd name="T21" fmla="*/ 89 h 381"/>
                <a:gd name="T22" fmla="*/ 4 w 245"/>
                <a:gd name="T23" fmla="*/ 106 h 381"/>
                <a:gd name="T24" fmla="*/ 4 w 245"/>
                <a:gd name="T25" fmla="*/ 89 h 381"/>
                <a:gd name="T26" fmla="*/ 4 w 245"/>
                <a:gd name="T27" fmla="*/ 67 h 381"/>
                <a:gd name="T28" fmla="*/ 4 w 245"/>
                <a:gd name="T29" fmla="*/ 37 h 381"/>
                <a:gd name="T30" fmla="*/ 4 w 245"/>
                <a:gd name="T31" fmla="*/ 34 h 381"/>
                <a:gd name="T32" fmla="*/ 4 w 245"/>
                <a:gd name="T33" fmla="*/ 27 h 381"/>
                <a:gd name="T34" fmla="*/ 4 w 245"/>
                <a:gd name="T35" fmla="*/ 30 h 381"/>
                <a:gd name="T36" fmla="*/ 4 w 245"/>
                <a:gd name="T37" fmla="*/ 0 h 381"/>
                <a:gd name="T38" fmla="*/ 4 w 245"/>
                <a:gd name="T39" fmla="*/ 8 h 381"/>
                <a:gd name="T40" fmla="*/ 4 w 245"/>
                <a:gd name="T41" fmla="*/ 21 h 381"/>
                <a:gd name="T42" fmla="*/ 4 w 245"/>
                <a:gd name="T43" fmla="*/ 22 h 381"/>
                <a:gd name="T44" fmla="*/ 4 w 245"/>
                <a:gd name="T45" fmla="*/ 33 h 381"/>
                <a:gd name="T46" fmla="*/ 4 w 245"/>
                <a:gd name="T47" fmla="*/ 70 h 381"/>
                <a:gd name="T48" fmla="*/ 4 w 245"/>
                <a:gd name="T49" fmla="*/ 100 h 381"/>
                <a:gd name="T50" fmla="*/ 4 w 245"/>
                <a:gd name="T51" fmla="*/ 116 h 381"/>
                <a:gd name="T52" fmla="*/ 4 w 245"/>
                <a:gd name="T53" fmla="*/ 123 h 381"/>
                <a:gd name="T54" fmla="*/ 4 w 245"/>
                <a:gd name="T55" fmla="*/ 125 h 381"/>
                <a:gd name="T56" fmla="*/ 4 w 245"/>
                <a:gd name="T57" fmla="*/ 146 h 381"/>
                <a:gd name="T58" fmla="*/ 4 w 245"/>
                <a:gd name="T59" fmla="*/ 145 h 381"/>
                <a:gd name="T60" fmla="*/ 4 w 245"/>
                <a:gd name="T61" fmla="*/ 180 h 381"/>
                <a:gd name="T62" fmla="*/ 4 w 245"/>
                <a:gd name="T63" fmla="*/ 210 h 381"/>
                <a:gd name="T64" fmla="*/ 4 w 245"/>
                <a:gd name="T65" fmla="*/ 220 h 381"/>
                <a:gd name="T66" fmla="*/ 4 w 245"/>
                <a:gd name="T67" fmla="*/ 256 h 381"/>
                <a:gd name="T68" fmla="*/ 4 w 245"/>
                <a:gd name="T69" fmla="*/ 244 h 381"/>
                <a:gd name="T70" fmla="*/ 4 w 245"/>
                <a:gd name="T71" fmla="*/ 247 h 381"/>
                <a:gd name="T72" fmla="*/ 4 w 245"/>
                <a:gd name="T73" fmla="*/ 260 h 381"/>
                <a:gd name="T74" fmla="*/ 4 w 245"/>
                <a:gd name="T75" fmla="*/ 272 h 381"/>
                <a:gd name="T76" fmla="*/ 4 w 245"/>
                <a:gd name="T77" fmla="*/ 278 h 381"/>
                <a:gd name="T78" fmla="*/ 4 w 245"/>
                <a:gd name="T79" fmla="*/ 317 h 381"/>
                <a:gd name="T80" fmla="*/ 4 w 245"/>
                <a:gd name="T81" fmla="*/ 381 h 381"/>
                <a:gd name="T82" fmla="*/ 4 w 245"/>
                <a:gd name="T83" fmla="*/ 368 h 381"/>
                <a:gd name="T84" fmla="*/ 4 w 245"/>
                <a:gd name="T85" fmla="*/ 353 h 381"/>
                <a:gd name="T86" fmla="*/ 4 w 245"/>
                <a:gd name="T87" fmla="*/ 346 h 381"/>
                <a:gd name="T88" fmla="*/ 4 w 245"/>
                <a:gd name="T89" fmla="*/ 339 h 381"/>
                <a:gd name="T90" fmla="*/ 4 w 245"/>
                <a:gd name="T91" fmla="*/ 342 h 381"/>
                <a:gd name="T92" fmla="*/ 4 w 245"/>
                <a:gd name="T93" fmla="*/ 316 h 381"/>
                <a:gd name="T94" fmla="*/ 4 w 245"/>
                <a:gd name="T95" fmla="*/ 288 h 381"/>
                <a:gd name="T96" fmla="*/ 4 w 245"/>
                <a:gd name="T97" fmla="*/ 281 h 381"/>
                <a:gd name="T98" fmla="*/ 4 w 245"/>
                <a:gd name="T99" fmla="*/ 284 h 381"/>
                <a:gd name="T100" fmla="*/ 3 w 245"/>
                <a:gd name="T101" fmla="*/ 256 h 38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45"/>
                <a:gd name="T154" fmla="*/ 0 h 381"/>
                <a:gd name="T155" fmla="*/ 245 w 245"/>
                <a:gd name="T156" fmla="*/ 381 h 38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45" h="381">
                  <a:moveTo>
                    <a:pt x="3" y="256"/>
                  </a:moveTo>
                  <a:lnTo>
                    <a:pt x="0" y="247"/>
                  </a:lnTo>
                  <a:lnTo>
                    <a:pt x="9" y="245"/>
                  </a:lnTo>
                  <a:lnTo>
                    <a:pt x="13" y="224"/>
                  </a:lnTo>
                  <a:lnTo>
                    <a:pt x="26" y="224"/>
                  </a:lnTo>
                  <a:lnTo>
                    <a:pt x="38" y="202"/>
                  </a:lnTo>
                  <a:lnTo>
                    <a:pt x="32" y="193"/>
                  </a:lnTo>
                  <a:lnTo>
                    <a:pt x="35" y="134"/>
                  </a:lnTo>
                  <a:lnTo>
                    <a:pt x="26" y="118"/>
                  </a:lnTo>
                  <a:lnTo>
                    <a:pt x="41" y="101"/>
                  </a:lnTo>
                  <a:lnTo>
                    <a:pt x="38" y="89"/>
                  </a:lnTo>
                  <a:lnTo>
                    <a:pt x="50" y="106"/>
                  </a:lnTo>
                  <a:lnTo>
                    <a:pt x="51" y="89"/>
                  </a:lnTo>
                  <a:lnTo>
                    <a:pt x="75" y="67"/>
                  </a:lnTo>
                  <a:lnTo>
                    <a:pt x="85" y="37"/>
                  </a:lnTo>
                  <a:lnTo>
                    <a:pt x="102" y="34"/>
                  </a:lnTo>
                  <a:lnTo>
                    <a:pt x="107" y="27"/>
                  </a:lnTo>
                  <a:lnTo>
                    <a:pt x="120" y="30"/>
                  </a:lnTo>
                  <a:lnTo>
                    <a:pt x="159" y="0"/>
                  </a:lnTo>
                  <a:lnTo>
                    <a:pt x="169" y="8"/>
                  </a:lnTo>
                  <a:lnTo>
                    <a:pt x="153" y="21"/>
                  </a:lnTo>
                  <a:lnTo>
                    <a:pt x="153" y="22"/>
                  </a:lnTo>
                  <a:lnTo>
                    <a:pt x="140" y="33"/>
                  </a:lnTo>
                  <a:lnTo>
                    <a:pt x="124" y="70"/>
                  </a:lnTo>
                  <a:lnTo>
                    <a:pt x="138" y="100"/>
                  </a:lnTo>
                  <a:lnTo>
                    <a:pt x="138" y="116"/>
                  </a:lnTo>
                  <a:lnTo>
                    <a:pt x="149" y="123"/>
                  </a:lnTo>
                  <a:lnTo>
                    <a:pt x="183" y="125"/>
                  </a:lnTo>
                  <a:lnTo>
                    <a:pt x="200" y="146"/>
                  </a:lnTo>
                  <a:lnTo>
                    <a:pt x="237" y="145"/>
                  </a:lnTo>
                  <a:lnTo>
                    <a:pt x="227" y="180"/>
                  </a:lnTo>
                  <a:lnTo>
                    <a:pt x="237" y="210"/>
                  </a:lnTo>
                  <a:lnTo>
                    <a:pt x="227" y="220"/>
                  </a:lnTo>
                  <a:lnTo>
                    <a:pt x="245" y="256"/>
                  </a:lnTo>
                  <a:lnTo>
                    <a:pt x="232" y="244"/>
                  </a:lnTo>
                  <a:lnTo>
                    <a:pt x="187" y="247"/>
                  </a:lnTo>
                  <a:lnTo>
                    <a:pt x="186" y="260"/>
                  </a:lnTo>
                  <a:lnTo>
                    <a:pt x="199" y="272"/>
                  </a:lnTo>
                  <a:lnTo>
                    <a:pt x="181" y="278"/>
                  </a:lnTo>
                  <a:lnTo>
                    <a:pt x="193" y="317"/>
                  </a:lnTo>
                  <a:lnTo>
                    <a:pt x="183" y="381"/>
                  </a:lnTo>
                  <a:lnTo>
                    <a:pt x="171" y="368"/>
                  </a:lnTo>
                  <a:lnTo>
                    <a:pt x="181" y="353"/>
                  </a:lnTo>
                  <a:lnTo>
                    <a:pt x="177" y="346"/>
                  </a:lnTo>
                  <a:lnTo>
                    <a:pt x="165" y="339"/>
                  </a:lnTo>
                  <a:lnTo>
                    <a:pt x="120" y="342"/>
                  </a:lnTo>
                  <a:lnTo>
                    <a:pt x="108" y="316"/>
                  </a:lnTo>
                  <a:lnTo>
                    <a:pt x="74" y="288"/>
                  </a:lnTo>
                  <a:lnTo>
                    <a:pt x="62" y="281"/>
                  </a:lnTo>
                  <a:lnTo>
                    <a:pt x="36" y="284"/>
                  </a:lnTo>
                  <a:lnTo>
                    <a:pt x="3" y="256"/>
                  </a:lnTo>
                  <a:close/>
                </a:path>
              </a:pathLst>
            </a:custGeom>
            <a:solidFill>
              <a:srgbClr val="996633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58" name="Freeform 15"/>
            <p:cNvSpPr>
              <a:spLocks noChangeAspect="1"/>
            </p:cNvSpPr>
            <p:nvPr/>
          </p:nvSpPr>
          <p:spPr bwMode="auto">
            <a:xfrm>
              <a:off x="2582191" y="3195177"/>
              <a:ext cx="338115" cy="374525"/>
            </a:xfrm>
            <a:custGeom>
              <a:avLst/>
              <a:gdLst>
                <a:gd name="T0" fmla="*/ 4 w 269"/>
                <a:gd name="T1" fmla="*/ 89 h 261"/>
                <a:gd name="T2" fmla="*/ 4 w 269"/>
                <a:gd name="T3" fmla="*/ 102 h 261"/>
                <a:gd name="T4" fmla="*/ 4 w 269"/>
                <a:gd name="T5" fmla="*/ 116 h 261"/>
                <a:gd name="T6" fmla="*/ 4 w 269"/>
                <a:gd name="T7" fmla="*/ 119 h 261"/>
                <a:gd name="T8" fmla="*/ 4 w 269"/>
                <a:gd name="T9" fmla="*/ 127 h 261"/>
                <a:gd name="T10" fmla="*/ 4 w 269"/>
                <a:gd name="T11" fmla="*/ 144 h 261"/>
                <a:gd name="T12" fmla="*/ 4 w 269"/>
                <a:gd name="T13" fmla="*/ 161 h 261"/>
                <a:gd name="T14" fmla="*/ 4 w 269"/>
                <a:gd name="T15" fmla="*/ 174 h 261"/>
                <a:gd name="T16" fmla="*/ 4 w 269"/>
                <a:gd name="T17" fmla="*/ 191 h 261"/>
                <a:gd name="T18" fmla="*/ 4 w 269"/>
                <a:gd name="T19" fmla="*/ 186 h 261"/>
                <a:gd name="T20" fmla="*/ 4 w 269"/>
                <a:gd name="T21" fmla="*/ 197 h 261"/>
                <a:gd name="T22" fmla="*/ 4 w 269"/>
                <a:gd name="T23" fmla="*/ 219 h 261"/>
                <a:gd name="T24" fmla="*/ 4 w 269"/>
                <a:gd name="T25" fmla="*/ 231 h 261"/>
                <a:gd name="T26" fmla="*/ 4 w 269"/>
                <a:gd name="T27" fmla="*/ 261 h 261"/>
                <a:gd name="T28" fmla="*/ 4 w 269"/>
                <a:gd name="T29" fmla="*/ 261 h 261"/>
                <a:gd name="T30" fmla="*/ 4 w 269"/>
                <a:gd name="T31" fmla="*/ 250 h 261"/>
                <a:gd name="T32" fmla="*/ 4 w 269"/>
                <a:gd name="T33" fmla="*/ 214 h 261"/>
                <a:gd name="T34" fmla="*/ 4 w 269"/>
                <a:gd name="T35" fmla="*/ 204 h 261"/>
                <a:gd name="T36" fmla="*/ 4 w 269"/>
                <a:gd name="T37" fmla="*/ 174 h 261"/>
                <a:gd name="T38" fmla="*/ 4 w 269"/>
                <a:gd name="T39" fmla="*/ 139 h 261"/>
                <a:gd name="T40" fmla="*/ 4 w 269"/>
                <a:gd name="T41" fmla="*/ 140 h 261"/>
                <a:gd name="T42" fmla="*/ 4 w 269"/>
                <a:gd name="T43" fmla="*/ 119 h 261"/>
                <a:gd name="T44" fmla="*/ 4 w 269"/>
                <a:gd name="T45" fmla="*/ 117 h 261"/>
                <a:gd name="T46" fmla="*/ 4 w 269"/>
                <a:gd name="T47" fmla="*/ 110 h 261"/>
                <a:gd name="T48" fmla="*/ 4 w 269"/>
                <a:gd name="T49" fmla="*/ 94 h 261"/>
                <a:gd name="T50" fmla="*/ 0 w 269"/>
                <a:gd name="T51" fmla="*/ 64 h 261"/>
                <a:gd name="T52" fmla="*/ 4 w 269"/>
                <a:gd name="T53" fmla="*/ 27 h 261"/>
                <a:gd name="T54" fmla="*/ 4 w 269"/>
                <a:gd name="T55" fmla="*/ 16 h 261"/>
                <a:gd name="T56" fmla="*/ 4 w 269"/>
                <a:gd name="T57" fmla="*/ 15 h 261"/>
                <a:gd name="T58" fmla="*/ 4 w 269"/>
                <a:gd name="T59" fmla="*/ 37 h 261"/>
                <a:gd name="T60" fmla="*/ 4 w 269"/>
                <a:gd name="T61" fmla="*/ 56 h 261"/>
                <a:gd name="T62" fmla="*/ 4 w 269"/>
                <a:gd name="T63" fmla="*/ 73 h 261"/>
                <a:gd name="T64" fmla="*/ 4 w 269"/>
                <a:gd name="T65" fmla="*/ 68 h 261"/>
                <a:gd name="T66" fmla="*/ 4 w 269"/>
                <a:gd name="T67" fmla="*/ 28 h 261"/>
                <a:gd name="T68" fmla="*/ 4 w 269"/>
                <a:gd name="T69" fmla="*/ 15 h 261"/>
                <a:gd name="T70" fmla="*/ 4 w 269"/>
                <a:gd name="T71" fmla="*/ 5 h 261"/>
                <a:gd name="T72" fmla="*/ 4 w 269"/>
                <a:gd name="T73" fmla="*/ 0 h 261"/>
                <a:gd name="T74" fmla="*/ 4 w 269"/>
                <a:gd name="T75" fmla="*/ 15 h 261"/>
                <a:gd name="T76" fmla="*/ 4 w 269"/>
                <a:gd name="T77" fmla="*/ 24 h 261"/>
                <a:gd name="T78" fmla="*/ 4 w 269"/>
                <a:gd name="T79" fmla="*/ 40 h 261"/>
                <a:gd name="T80" fmla="*/ 4 w 269"/>
                <a:gd name="T81" fmla="*/ 37 h 261"/>
                <a:gd name="T82" fmla="*/ 4 w 269"/>
                <a:gd name="T83" fmla="*/ 48 h 261"/>
                <a:gd name="T84" fmla="*/ 4 w 269"/>
                <a:gd name="T85" fmla="*/ 34 h 261"/>
                <a:gd name="T86" fmla="*/ 4 w 269"/>
                <a:gd name="T87" fmla="*/ 34 h 261"/>
                <a:gd name="T88" fmla="*/ 4 w 269"/>
                <a:gd name="T89" fmla="*/ 38 h 261"/>
                <a:gd name="T90" fmla="*/ 4 w 269"/>
                <a:gd name="T91" fmla="*/ 56 h 261"/>
                <a:gd name="T92" fmla="*/ 4 w 269"/>
                <a:gd name="T93" fmla="*/ 61 h 261"/>
                <a:gd name="T94" fmla="*/ 4 w 269"/>
                <a:gd name="T95" fmla="*/ 87 h 261"/>
                <a:gd name="T96" fmla="*/ 4 w 269"/>
                <a:gd name="T97" fmla="*/ 83 h 261"/>
                <a:gd name="T98" fmla="*/ 4 w 269"/>
                <a:gd name="T99" fmla="*/ 89 h 26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69"/>
                <a:gd name="T151" fmla="*/ 0 h 261"/>
                <a:gd name="T152" fmla="*/ 269 w 269"/>
                <a:gd name="T153" fmla="*/ 261 h 26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69" h="261">
                  <a:moveTo>
                    <a:pt x="269" y="89"/>
                  </a:moveTo>
                  <a:lnTo>
                    <a:pt x="251" y="102"/>
                  </a:lnTo>
                  <a:lnTo>
                    <a:pt x="248" y="116"/>
                  </a:lnTo>
                  <a:lnTo>
                    <a:pt x="253" y="119"/>
                  </a:lnTo>
                  <a:lnTo>
                    <a:pt x="242" y="127"/>
                  </a:lnTo>
                  <a:lnTo>
                    <a:pt x="239" y="144"/>
                  </a:lnTo>
                  <a:lnTo>
                    <a:pt x="251" y="161"/>
                  </a:lnTo>
                  <a:lnTo>
                    <a:pt x="245" y="174"/>
                  </a:lnTo>
                  <a:lnTo>
                    <a:pt x="200" y="191"/>
                  </a:lnTo>
                  <a:lnTo>
                    <a:pt x="165" y="186"/>
                  </a:lnTo>
                  <a:lnTo>
                    <a:pt x="176" y="197"/>
                  </a:lnTo>
                  <a:lnTo>
                    <a:pt x="176" y="219"/>
                  </a:lnTo>
                  <a:lnTo>
                    <a:pt x="190" y="231"/>
                  </a:lnTo>
                  <a:lnTo>
                    <a:pt x="144" y="261"/>
                  </a:lnTo>
                  <a:lnTo>
                    <a:pt x="131" y="261"/>
                  </a:lnTo>
                  <a:lnTo>
                    <a:pt x="121" y="250"/>
                  </a:lnTo>
                  <a:lnTo>
                    <a:pt x="103" y="214"/>
                  </a:lnTo>
                  <a:lnTo>
                    <a:pt x="113" y="204"/>
                  </a:lnTo>
                  <a:lnTo>
                    <a:pt x="103" y="174"/>
                  </a:lnTo>
                  <a:lnTo>
                    <a:pt x="113" y="139"/>
                  </a:lnTo>
                  <a:lnTo>
                    <a:pt x="76" y="140"/>
                  </a:lnTo>
                  <a:lnTo>
                    <a:pt x="59" y="119"/>
                  </a:lnTo>
                  <a:lnTo>
                    <a:pt x="25" y="117"/>
                  </a:lnTo>
                  <a:lnTo>
                    <a:pt x="14" y="110"/>
                  </a:lnTo>
                  <a:lnTo>
                    <a:pt x="14" y="94"/>
                  </a:lnTo>
                  <a:lnTo>
                    <a:pt x="0" y="64"/>
                  </a:lnTo>
                  <a:lnTo>
                    <a:pt x="16" y="27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36" y="37"/>
                  </a:lnTo>
                  <a:lnTo>
                    <a:pt x="24" y="56"/>
                  </a:lnTo>
                  <a:lnTo>
                    <a:pt x="30" y="73"/>
                  </a:lnTo>
                  <a:lnTo>
                    <a:pt x="42" y="68"/>
                  </a:lnTo>
                  <a:lnTo>
                    <a:pt x="39" y="28"/>
                  </a:lnTo>
                  <a:lnTo>
                    <a:pt x="64" y="15"/>
                  </a:lnTo>
                  <a:lnTo>
                    <a:pt x="62" y="5"/>
                  </a:lnTo>
                  <a:lnTo>
                    <a:pt x="70" y="0"/>
                  </a:lnTo>
                  <a:lnTo>
                    <a:pt x="73" y="15"/>
                  </a:lnTo>
                  <a:lnTo>
                    <a:pt x="99" y="24"/>
                  </a:lnTo>
                  <a:lnTo>
                    <a:pt x="103" y="40"/>
                  </a:lnTo>
                  <a:lnTo>
                    <a:pt x="143" y="37"/>
                  </a:lnTo>
                  <a:lnTo>
                    <a:pt x="166" y="48"/>
                  </a:lnTo>
                  <a:lnTo>
                    <a:pt x="187" y="34"/>
                  </a:lnTo>
                  <a:lnTo>
                    <a:pt x="224" y="34"/>
                  </a:lnTo>
                  <a:lnTo>
                    <a:pt x="207" y="38"/>
                  </a:lnTo>
                  <a:lnTo>
                    <a:pt x="219" y="56"/>
                  </a:lnTo>
                  <a:lnTo>
                    <a:pt x="246" y="61"/>
                  </a:lnTo>
                  <a:lnTo>
                    <a:pt x="245" y="87"/>
                  </a:lnTo>
                  <a:lnTo>
                    <a:pt x="261" y="83"/>
                  </a:lnTo>
                  <a:lnTo>
                    <a:pt x="269" y="8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59" name="Freeform 16"/>
            <p:cNvSpPr>
              <a:spLocks noChangeAspect="1"/>
            </p:cNvSpPr>
            <p:nvPr/>
          </p:nvSpPr>
          <p:spPr bwMode="auto">
            <a:xfrm>
              <a:off x="3053038" y="3414726"/>
              <a:ext cx="74050" cy="117667"/>
            </a:xfrm>
            <a:custGeom>
              <a:avLst/>
              <a:gdLst>
                <a:gd name="T0" fmla="*/ 5 w 58"/>
                <a:gd name="T1" fmla="*/ 33 h 82"/>
                <a:gd name="T2" fmla="*/ 5 w 58"/>
                <a:gd name="T3" fmla="*/ 74 h 82"/>
                <a:gd name="T4" fmla="*/ 5 w 58"/>
                <a:gd name="T5" fmla="*/ 82 h 82"/>
                <a:gd name="T6" fmla="*/ 0 w 58"/>
                <a:gd name="T7" fmla="*/ 74 h 82"/>
                <a:gd name="T8" fmla="*/ 5 w 58"/>
                <a:gd name="T9" fmla="*/ 44 h 82"/>
                <a:gd name="T10" fmla="*/ 2 w 58"/>
                <a:gd name="T11" fmla="*/ 14 h 82"/>
                <a:gd name="T12" fmla="*/ 5 w 58"/>
                <a:gd name="T13" fmla="*/ 0 h 82"/>
                <a:gd name="T14" fmla="*/ 5 w 58"/>
                <a:gd name="T15" fmla="*/ 33 h 8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8"/>
                <a:gd name="T25" fmla="*/ 0 h 82"/>
                <a:gd name="T26" fmla="*/ 58 w 58"/>
                <a:gd name="T27" fmla="*/ 82 h 8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8" h="82">
                  <a:moveTo>
                    <a:pt x="58" y="33"/>
                  </a:moveTo>
                  <a:lnTo>
                    <a:pt x="29" y="74"/>
                  </a:lnTo>
                  <a:lnTo>
                    <a:pt x="11" y="82"/>
                  </a:lnTo>
                  <a:lnTo>
                    <a:pt x="0" y="74"/>
                  </a:lnTo>
                  <a:lnTo>
                    <a:pt x="9" y="44"/>
                  </a:lnTo>
                  <a:lnTo>
                    <a:pt x="2" y="14"/>
                  </a:lnTo>
                  <a:lnTo>
                    <a:pt x="10" y="0"/>
                  </a:lnTo>
                  <a:lnTo>
                    <a:pt x="58" y="33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60" name="Freeform 17"/>
            <p:cNvSpPr>
              <a:spLocks noChangeAspect="1"/>
            </p:cNvSpPr>
            <p:nvPr/>
          </p:nvSpPr>
          <p:spPr bwMode="auto">
            <a:xfrm>
              <a:off x="2960825" y="3401812"/>
              <a:ext cx="104788" cy="133451"/>
            </a:xfrm>
            <a:custGeom>
              <a:avLst/>
              <a:gdLst>
                <a:gd name="T0" fmla="*/ 5 w 83"/>
                <a:gd name="T1" fmla="*/ 9 h 93"/>
                <a:gd name="T2" fmla="*/ 5 w 83"/>
                <a:gd name="T3" fmla="*/ 0 h 93"/>
                <a:gd name="T4" fmla="*/ 5 w 83"/>
                <a:gd name="T5" fmla="*/ 0 h 93"/>
                <a:gd name="T6" fmla="*/ 0 w 83"/>
                <a:gd name="T7" fmla="*/ 38 h 93"/>
                <a:gd name="T8" fmla="*/ 5 w 83"/>
                <a:gd name="T9" fmla="*/ 91 h 93"/>
                <a:gd name="T10" fmla="*/ 5 w 83"/>
                <a:gd name="T11" fmla="*/ 93 h 93"/>
                <a:gd name="T12" fmla="*/ 5 w 83"/>
                <a:gd name="T13" fmla="*/ 80 h 93"/>
                <a:gd name="T14" fmla="*/ 5 w 83"/>
                <a:gd name="T15" fmla="*/ 83 h 93"/>
                <a:gd name="T16" fmla="*/ 5 w 83"/>
                <a:gd name="T17" fmla="*/ 53 h 93"/>
                <a:gd name="T18" fmla="*/ 5 w 83"/>
                <a:gd name="T19" fmla="*/ 23 h 93"/>
                <a:gd name="T20" fmla="*/ 5 w 83"/>
                <a:gd name="T21" fmla="*/ 9 h 9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3"/>
                <a:gd name="T34" fmla="*/ 0 h 93"/>
                <a:gd name="T35" fmla="*/ 83 w 83"/>
                <a:gd name="T36" fmla="*/ 93 h 9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3" h="93">
                  <a:moveTo>
                    <a:pt x="83" y="9"/>
                  </a:moveTo>
                  <a:lnTo>
                    <a:pt x="63" y="0"/>
                  </a:lnTo>
                  <a:lnTo>
                    <a:pt x="20" y="0"/>
                  </a:lnTo>
                  <a:lnTo>
                    <a:pt x="0" y="38"/>
                  </a:lnTo>
                  <a:lnTo>
                    <a:pt x="31" y="91"/>
                  </a:lnTo>
                  <a:lnTo>
                    <a:pt x="40" y="93"/>
                  </a:lnTo>
                  <a:lnTo>
                    <a:pt x="46" y="80"/>
                  </a:lnTo>
                  <a:lnTo>
                    <a:pt x="73" y="83"/>
                  </a:lnTo>
                  <a:lnTo>
                    <a:pt x="82" y="53"/>
                  </a:lnTo>
                  <a:lnTo>
                    <a:pt x="75" y="23"/>
                  </a:lnTo>
                  <a:lnTo>
                    <a:pt x="83" y="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61" name="Freeform 18"/>
            <p:cNvSpPr>
              <a:spLocks noChangeAspect="1"/>
            </p:cNvSpPr>
            <p:nvPr/>
          </p:nvSpPr>
          <p:spPr bwMode="auto">
            <a:xfrm>
              <a:off x="2670213" y="4173821"/>
              <a:ext cx="298995" cy="1185278"/>
            </a:xfrm>
            <a:custGeom>
              <a:avLst/>
              <a:gdLst>
                <a:gd name="T0" fmla="*/ 4 w 238"/>
                <a:gd name="T1" fmla="*/ 0 h 826"/>
                <a:gd name="T2" fmla="*/ 4 w 238"/>
                <a:gd name="T3" fmla="*/ 58 h 826"/>
                <a:gd name="T4" fmla="*/ 4 w 238"/>
                <a:gd name="T5" fmla="*/ 124 h 826"/>
                <a:gd name="T6" fmla="*/ 4 w 238"/>
                <a:gd name="T7" fmla="*/ 164 h 826"/>
                <a:gd name="T8" fmla="*/ 4 w 238"/>
                <a:gd name="T9" fmla="*/ 249 h 826"/>
                <a:gd name="T10" fmla="*/ 4 w 238"/>
                <a:gd name="T11" fmla="*/ 377 h 826"/>
                <a:gd name="T12" fmla="*/ 4 w 238"/>
                <a:gd name="T13" fmla="*/ 427 h 826"/>
                <a:gd name="T14" fmla="*/ 4 w 238"/>
                <a:gd name="T15" fmla="*/ 485 h 826"/>
                <a:gd name="T16" fmla="*/ 4 w 238"/>
                <a:gd name="T17" fmla="*/ 562 h 826"/>
                <a:gd name="T18" fmla="*/ 4 w 238"/>
                <a:gd name="T19" fmla="*/ 616 h 826"/>
                <a:gd name="T20" fmla="*/ 4 w 238"/>
                <a:gd name="T21" fmla="*/ 625 h 826"/>
                <a:gd name="T22" fmla="*/ 4 w 238"/>
                <a:gd name="T23" fmla="*/ 737 h 826"/>
                <a:gd name="T24" fmla="*/ 4 w 238"/>
                <a:gd name="T25" fmla="*/ 757 h 826"/>
                <a:gd name="T26" fmla="*/ 4 w 238"/>
                <a:gd name="T27" fmla="*/ 792 h 826"/>
                <a:gd name="T28" fmla="*/ 4 w 238"/>
                <a:gd name="T29" fmla="*/ 803 h 826"/>
                <a:gd name="T30" fmla="*/ 4 w 238"/>
                <a:gd name="T31" fmla="*/ 826 h 826"/>
                <a:gd name="T32" fmla="*/ 4 w 238"/>
                <a:gd name="T33" fmla="*/ 811 h 826"/>
                <a:gd name="T34" fmla="*/ 4 w 238"/>
                <a:gd name="T35" fmla="*/ 803 h 826"/>
                <a:gd name="T36" fmla="*/ 4 w 238"/>
                <a:gd name="T37" fmla="*/ 790 h 826"/>
                <a:gd name="T38" fmla="*/ 4 w 238"/>
                <a:gd name="T39" fmla="*/ 792 h 826"/>
                <a:gd name="T40" fmla="*/ 4 w 238"/>
                <a:gd name="T41" fmla="*/ 782 h 826"/>
                <a:gd name="T42" fmla="*/ 4 w 238"/>
                <a:gd name="T43" fmla="*/ 764 h 826"/>
                <a:gd name="T44" fmla="*/ 4 w 238"/>
                <a:gd name="T45" fmla="*/ 777 h 826"/>
                <a:gd name="T46" fmla="*/ 4 w 238"/>
                <a:gd name="T47" fmla="*/ 758 h 826"/>
                <a:gd name="T48" fmla="*/ 4 w 238"/>
                <a:gd name="T49" fmla="*/ 758 h 826"/>
                <a:gd name="T50" fmla="*/ 4 w 238"/>
                <a:gd name="T51" fmla="*/ 739 h 826"/>
                <a:gd name="T52" fmla="*/ 4 w 238"/>
                <a:gd name="T53" fmla="*/ 694 h 826"/>
                <a:gd name="T54" fmla="*/ 4 w 238"/>
                <a:gd name="T55" fmla="*/ 705 h 826"/>
                <a:gd name="T56" fmla="*/ 4 w 238"/>
                <a:gd name="T57" fmla="*/ 667 h 826"/>
                <a:gd name="T58" fmla="*/ 4 w 238"/>
                <a:gd name="T59" fmla="*/ 666 h 826"/>
                <a:gd name="T60" fmla="*/ 4 w 238"/>
                <a:gd name="T61" fmla="*/ 650 h 826"/>
                <a:gd name="T62" fmla="*/ 4 w 238"/>
                <a:gd name="T63" fmla="*/ 611 h 826"/>
                <a:gd name="T64" fmla="*/ 4 w 238"/>
                <a:gd name="T65" fmla="*/ 611 h 826"/>
                <a:gd name="T66" fmla="*/ 4 w 238"/>
                <a:gd name="T67" fmla="*/ 642 h 826"/>
                <a:gd name="T68" fmla="*/ 4 w 238"/>
                <a:gd name="T69" fmla="*/ 554 h 826"/>
                <a:gd name="T70" fmla="*/ 4 w 238"/>
                <a:gd name="T71" fmla="*/ 558 h 826"/>
                <a:gd name="T72" fmla="*/ 4 w 238"/>
                <a:gd name="T73" fmla="*/ 540 h 826"/>
                <a:gd name="T74" fmla="*/ 4 w 238"/>
                <a:gd name="T75" fmla="*/ 465 h 826"/>
                <a:gd name="T76" fmla="*/ 4 w 238"/>
                <a:gd name="T77" fmla="*/ 451 h 826"/>
                <a:gd name="T78" fmla="*/ 4 w 238"/>
                <a:gd name="T79" fmla="*/ 344 h 826"/>
                <a:gd name="T80" fmla="*/ 4 w 238"/>
                <a:gd name="T81" fmla="*/ 287 h 826"/>
                <a:gd name="T82" fmla="*/ 4 w 238"/>
                <a:gd name="T83" fmla="*/ 203 h 826"/>
                <a:gd name="T84" fmla="*/ 4 w 238"/>
                <a:gd name="T85" fmla="*/ 91 h 82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8"/>
                <a:gd name="T130" fmla="*/ 0 h 826"/>
                <a:gd name="T131" fmla="*/ 238 w 238"/>
                <a:gd name="T132" fmla="*/ 826 h 82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8" h="826">
                  <a:moveTo>
                    <a:pt x="0" y="16"/>
                  </a:moveTo>
                  <a:lnTo>
                    <a:pt x="18" y="0"/>
                  </a:lnTo>
                  <a:lnTo>
                    <a:pt x="41" y="39"/>
                  </a:lnTo>
                  <a:lnTo>
                    <a:pt x="40" y="58"/>
                  </a:lnTo>
                  <a:lnTo>
                    <a:pt x="66" y="122"/>
                  </a:lnTo>
                  <a:lnTo>
                    <a:pt x="80" y="124"/>
                  </a:lnTo>
                  <a:lnTo>
                    <a:pt x="80" y="150"/>
                  </a:lnTo>
                  <a:lnTo>
                    <a:pt x="61" y="164"/>
                  </a:lnTo>
                  <a:lnTo>
                    <a:pt x="71" y="211"/>
                  </a:lnTo>
                  <a:lnTo>
                    <a:pt x="54" y="249"/>
                  </a:lnTo>
                  <a:lnTo>
                    <a:pt x="50" y="317"/>
                  </a:lnTo>
                  <a:lnTo>
                    <a:pt x="77" y="377"/>
                  </a:lnTo>
                  <a:lnTo>
                    <a:pt x="73" y="409"/>
                  </a:lnTo>
                  <a:lnTo>
                    <a:pt x="79" y="427"/>
                  </a:lnTo>
                  <a:lnTo>
                    <a:pt x="72" y="444"/>
                  </a:lnTo>
                  <a:lnTo>
                    <a:pt x="86" y="485"/>
                  </a:lnTo>
                  <a:lnTo>
                    <a:pt x="89" y="541"/>
                  </a:lnTo>
                  <a:lnTo>
                    <a:pt x="100" y="562"/>
                  </a:lnTo>
                  <a:lnTo>
                    <a:pt x="101" y="582"/>
                  </a:lnTo>
                  <a:lnTo>
                    <a:pt x="119" y="616"/>
                  </a:lnTo>
                  <a:lnTo>
                    <a:pt x="131" y="626"/>
                  </a:lnTo>
                  <a:lnTo>
                    <a:pt x="124" y="625"/>
                  </a:lnTo>
                  <a:lnTo>
                    <a:pt x="143" y="668"/>
                  </a:lnTo>
                  <a:lnTo>
                    <a:pt x="144" y="737"/>
                  </a:lnTo>
                  <a:lnTo>
                    <a:pt x="154" y="758"/>
                  </a:lnTo>
                  <a:lnTo>
                    <a:pt x="170" y="757"/>
                  </a:lnTo>
                  <a:lnTo>
                    <a:pt x="193" y="787"/>
                  </a:lnTo>
                  <a:lnTo>
                    <a:pt x="237" y="792"/>
                  </a:lnTo>
                  <a:lnTo>
                    <a:pt x="238" y="797"/>
                  </a:lnTo>
                  <a:lnTo>
                    <a:pt x="221" y="803"/>
                  </a:lnTo>
                  <a:lnTo>
                    <a:pt x="228" y="825"/>
                  </a:lnTo>
                  <a:lnTo>
                    <a:pt x="225" y="826"/>
                  </a:lnTo>
                  <a:lnTo>
                    <a:pt x="203" y="817"/>
                  </a:lnTo>
                  <a:lnTo>
                    <a:pt x="215" y="811"/>
                  </a:lnTo>
                  <a:lnTo>
                    <a:pt x="216" y="804"/>
                  </a:lnTo>
                  <a:lnTo>
                    <a:pt x="208" y="803"/>
                  </a:lnTo>
                  <a:lnTo>
                    <a:pt x="198" y="817"/>
                  </a:lnTo>
                  <a:lnTo>
                    <a:pt x="155" y="790"/>
                  </a:lnTo>
                  <a:lnTo>
                    <a:pt x="152" y="796"/>
                  </a:lnTo>
                  <a:lnTo>
                    <a:pt x="141" y="792"/>
                  </a:lnTo>
                  <a:lnTo>
                    <a:pt x="136" y="781"/>
                  </a:lnTo>
                  <a:lnTo>
                    <a:pt x="148" y="782"/>
                  </a:lnTo>
                  <a:lnTo>
                    <a:pt x="148" y="775"/>
                  </a:lnTo>
                  <a:lnTo>
                    <a:pt x="140" y="764"/>
                  </a:lnTo>
                  <a:lnTo>
                    <a:pt x="140" y="771"/>
                  </a:lnTo>
                  <a:lnTo>
                    <a:pt x="129" y="777"/>
                  </a:lnTo>
                  <a:lnTo>
                    <a:pt x="126" y="757"/>
                  </a:lnTo>
                  <a:lnTo>
                    <a:pt x="134" y="758"/>
                  </a:lnTo>
                  <a:lnTo>
                    <a:pt x="125" y="742"/>
                  </a:lnTo>
                  <a:lnTo>
                    <a:pt x="119" y="758"/>
                  </a:lnTo>
                  <a:lnTo>
                    <a:pt x="115" y="740"/>
                  </a:lnTo>
                  <a:lnTo>
                    <a:pt x="106" y="739"/>
                  </a:lnTo>
                  <a:lnTo>
                    <a:pt x="90" y="701"/>
                  </a:lnTo>
                  <a:lnTo>
                    <a:pt x="89" y="694"/>
                  </a:lnTo>
                  <a:lnTo>
                    <a:pt x="95" y="691"/>
                  </a:lnTo>
                  <a:lnTo>
                    <a:pt x="108" y="705"/>
                  </a:lnTo>
                  <a:lnTo>
                    <a:pt x="103" y="671"/>
                  </a:lnTo>
                  <a:lnTo>
                    <a:pt x="83" y="667"/>
                  </a:lnTo>
                  <a:lnTo>
                    <a:pt x="77" y="673"/>
                  </a:lnTo>
                  <a:lnTo>
                    <a:pt x="73" y="666"/>
                  </a:lnTo>
                  <a:lnTo>
                    <a:pt x="83" y="656"/>
                  </a:lnTo>
                  <a:lnTo>
                    <a:pt x="75" y="650"/>
                  </a:lnTo>
                  <a:lnTo>
                    <a:pt x="84" y="649"/>
                  </a:lnTo>
                  <a:lnTo>
                    <a:pt x="73" y="611"/>
                  </a:lnTo>
                  <a:lnTo>
                    <a:pt x="78" y="604"/>
                  </a:lnTo>
                  <a:lnTo>
                    <a:pt x="86" y="611"/>
                  </a:lnTo>
                  <a:lnTo>
                    <a:pt x="89" y="629"/>
                  </a:lnTo>
                  <a:lnTo>
                    <a:pt x="97" y="642"/>
                  </a:lnTo>
                  <a:lnTo>
                    <a:pt x="95" y="602"/>
                  </a:lnTo>
                  <a:lnTo>
                    <a:pt x="83" y="554"/>
                  </a:lnTo>
                  <a:lnTo>
                    <a:pt x="73" y="551"/>
                  </a:lnTo>
                  <a:lnTo>
                    <a:pt x="73" y="558"/>
                  </a:lnTo>
                  <a:lnTo>
                    <a:pt x="64" y="557"/>
                  </a:lnTo>
                  <a:lnTo>
                    <a:pt x="54" y="540"/>
                  </a:lnTo>
                  <a:lnTo>
                    <a:pt x="52" y="505"/>
                  </a:lnTo>
                  <a:lnTo>
                    <a:pt x="30" y="465"/>
                  </a:lnTo>
                  <a:lnTo>
                    <a:pt x="29" y="451"/>
                  </a:lnTo>
                  <a:lnTo>
                    <a:pt x="38" y="451"/>
                  </a:lnTo>
                  <a:lnTo>
                    <a:pt x="43" y="371"/>
                  </a:lnTo>
                  <a:lnTo>
                    <a:pt x="41" y="344"/>
                  </a:lnTo>
                  <a:lnTo>
                    <a:pt x="24" y="304"/>
                  </a:lnTo>
                  <a:lnTo>
                    <a:pt x="29" y="287"/>
                  </a:lnTo>
                  <a:lnTo>
                    <a:pt x="20" y="264"/>
                  </a:lnTo>
                  <a:lnTo>
                    <a:pt x="26" y="203"/>
                  </a:lnTo>
                  <a:lnTo>
                    <a:pt x="16" y="126"/>
                  </a:lnTo>
                  <a:lnTo>
                    <a:pt x="20" y="91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62" name="Freeform 19"/>
            <p:cNvSpPr>
              <a:spLocks noChangeAspect="1"/>
            </p:cNvSpPr>
            <p:nvPr/>
          </p:nvSpPr>
          <p:spPr bwMode="auto">
            <a:xfrm>
              <a:off x="2674405" y="3916963"/>
              <a:ext cx="318555" cy="434793"/>
            </a:xfrm>
            <a:custGeom>
              <a:avLst/>
              <a:gdLst>
                <a:gd name="T0" fmla="*/ 0 w 254"/>
                <a:gd name="T1" fmla="*/ 26 h 303"/>
                <a:gd name="T2" fmla="*/ 4 w 254"/>
                <a:gd name="T3" fmla="*/ 28 h 303"/>
                <a:gd name="T4" fmla="*/ 4 w 254"/>
                <a:gd name="T5" fmla="*/ 1 h 303"/>
                <a:gd name="T6" fmla="*/ 4 w 254"/>
                <a:gd name="T7" fmla="*/ 0 h 303"/>
                <a:gd name="T8" fmla="*/ 4 w 254"/>
                <a:gd name="T9" fmla="*/ 35 h 303"/>
                <a:gd name="T10" fmla="*/ 4 w 254"/>
                <a:gd name="T11" fmla="*/ 53 h 303"/>
                <a:gd name="T12" fmla="*/ 4 w 254"/>
                <a:gd name="T13" fmla="*/ 88 h 303"/>
                <a:gd name="T14" fmla="*/ 4 w 254"/>
                <a:gd name="T15" fmla="*/ 114 h 303"/>
                <a:gd name="T16" fmla="*/ 4 w 254"/>
                <a:gd name="T17" fmla="*/ 127 h 303"/>
                <a:gd name="T18" fmla="*/ 4 w 254"/>
                <a:gd name="T19" fmla="*/ 148 h 303"/>
                <a:gd name="T20" fmla="*/ 4 w 254"/>
                <a:gd name="T21" fmla="*/ 154 h 303"/>
                <a:gd name="T22" fmla="*/ 4 w 254"/>
                <a:gd name="T23" fmla="*/ 167 h 303"/>
                <a:gd name="T24" fmla="*/ 4 w 254"/>
                <a:gd name="T25" fmla="*/ 194 h 303"/>
                <a:gd name="T26" fmla="*/ 4 w 254"/>
                <a:gd name="T27" fmla="*/ 239 h 303"/>
                <a:gd name="T28" fmla="*/ 4 w 254"/>
                <a:gd name="T29" fmla="*/ 218 h 303"/>
                <a:gd name="T30" fmla="*/ 4 w 254"/>
                <a:gd name="T31" fmla="*/ 231 h 303"/>
                <a:gd name="T32" fmla="*/ 4 w 254"/>
                <a:gd name="T33" fmla="*/ 289 h 303"/>
                <a:gd name="T34" fmla="*/ 4 w 254"/>
                <a:gd name="T35" fmla="*/ 283 h 303"/>
                <a:gd name="T36" fmla="*/ 4 w 254"/>
                <a:gd name="T37" fmla="*/ 294 h 303"/>
                <a:gd name="T38" fmla="*/ 4 w 254"/>
                <a:gd name="T39" fmla="*/ 276 h 303"/>
                <a:gd name="T40" fmla="*/ 4 w 254"/>
                <a:gd name="T41" fmla="*/ 303 h 303"/>
                <a:gd name="T42" fmla="*/ 4 w 254"/>
                <a:gd name="T43" fmla="*/ 301 h 303"/>
                <a:gd name="T44" fmla="*/ 4 w 254"/>
                <a:gd name="T45" fmla="*/ 237 h 303"/>
                <a:gd name="T46" fmla="*/ 4 w 254"/>
                <a:gd name="T47" fmla="*/ 218 h 303"/>
                <a:gd name="T48" fmla="*/ 4 w 254"/>
                <a:gd name="T49" fmla="*/ 179 h 303"/>
                <a:gd name="T50" fmla="*/ 4 w 254"/>
                <a:gd name="T51" fmla="*/ 155 h 303"/>
                <a:gd name="T52" fmla="*/ 4 w 254"/>
                <a:gd name="T53" fmla="*/ 137 h 303"/>
                <a:gd name="T54" fmla="*/ 4 w 254"/>
                <a:gd name="T55" fmla="*/ 60 h 303"/>
                <a:gd name="T56" fmla="*/ 0 w 254"/>
                <a:gd name="T57" fmla="*/ 26 h 30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54"/>
                <a:gd name="T88" fmla="*/ 0 h 303"/>
                <a:gd name="T89" fmla="*/ 254 w 254"/>
                <a:gd name="T90" fmla="*/ 303 h 30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54" h="303">
                  <a:moveTo>
                    <a:pt x="0" y="26"/>
                  </a:moveTo>
                  <a:lnTo>
                    <a:pt x="27" y="28"/>
                  </a:lnTo>
                  <a:lnTo>
                    <a:pt x="58" y="1"/>
                  </a:lnTo>
                  <a:lnTo>
                    <a:pt x="83" y="0"/>
                  </a:lnTo>
                  <a:lnTo>
                    <a:pt x="86" y="35"/>
                  </a:lnTo>
                  <a:lnTo>
                    <a:pt x="95" y="53"/>
                  </a:lnTo>
                  <a:lnTo>
                    <a:pt x="180" y="88"/>
                  </a:lnTo>
                  <a:lnTo>
                    <a:pt x="195" y="114"/>
                  </a:lnTo>
                  <a:lnTo>
                    <a:pt x="192" y="127"/>
                  </a:lnTo>
                  <a:lnTo>
                    <a:pt x="201" y="148"/>
                  </a:lnTo>
                  <a:lnTo>
                    <a:pt x="236" y="154"/>
                  </a:lnTo>
                  <a:lnTo>
                    <a:pt x="237" y="167"/>
                  </a:lnTo>
                  <a:lnTo>
                    <a:pt x="254" y="194"/>
                  </a:lnTo>
                  <a:lnTo>
                    <a:pt x="252" y="239"/>
                  </a:lnTo>
                  <a:lnTo>
                    <a:pt x="229" y="218"/>
                  </a:lnTo>
                  <a:lnTo>
                    <a:pt x="175" y="231"/>
                  </a:lnTo>
                  <a:lnTo>
                    <a:pt x="165" y="289"/>
                  </a:lnTo>
                  <a:lnTo>
                    <a:pt x="140" y="283"/>
                  </a:lnTo>
                  <a:lnTo>
                    <a:pt x="134" y="294"/>
                  </a:lnTo>
                  <a:lnTo>
                    <a:pt x="95" y="276"/>
                  </a:lnTo>
                  <a:lnTo>
                    <a:pt x="77" y="303"/>
                  </a:lnTo>
                  <a:lnTo>
                    <a:pt x="63" y="301"/>
                  </a:lnTo>
                  <a:lnTo>
                    <a:pt x="37" y="237"/>
                  </a:lnTo>
                  <a:lnTo>
                    <a:pt x="38" y="218"/>
                  </a:lnTo>
                  <a:lnTo>
                    <a:pt x="15" y="179"/>
                  </a:lnTo>
                  <a:lnTo>
                    <a:pt x="24" y="155"/>
                  </a:lnTo>
                  <a:lnTo>
                    <a:pt x="14" y="137"/>
                  </a:lnTo>
                  <a:lnTo>
                    <a:pt x="20" y="6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63" name="Freeform 20"/>
            <p:cNvSpPr>
              <a:spLocks noChangeAspect="1"/>
            </p:cNvSpPr>
            <p:nvPr/>
          </p:nvSpPr>
          <p:spPr bwMode="auto">
            <a:xfrm>
              <a:off x="2879789" y="4229785"/>
              <a:ext cx="216562" cy="272643"/>
            </a:xfrm>
            <a:custGeom>
              <a:avLst/>
              <a:gdLst>
                <a:gd name="T0" fmla="*/ 5 w 172"/>
                <a:gd name="T1" fmla="*/ 147 h 190"/>
                <a:gd name="T2" fmla="*/ 5 w 172"/>
                <a:gd name="T3" fmla="*/ 110 h 190"/>
                <a:gd name="T4" fmla="*/ 5 w 172"/>
                <a:gd name="T5" fmla="*/ 106 h 190"/>
                <a:gd name="T6" fmla="*/ 5 w 172"/>
                <a:gd name="T7" fmla="*/ 76 h 190"/>
                <a:gd name="T8" fmla="*/ 5 w 172"/>
                <a:gd name="T9" fmla="*/ 71 h 190"/>
                <a:gd name="T10" fmla="*/ 5 w 172"/>
                <a:gd name="T11" fmla="*/ 61 h 190"/>
                <a:gd name="T12" fmla="*/ 5 w 172"/>
                <a:gd name="T13" fmla="*/ 21 h 190"/>
                <a:gd name="T14" fmla="*/ 5 w 172"/>
                <a:gd name="T15" fmla="*/ 0 h 190"/>
                <a:gd name="T16" fmla="*/ 5 w 172"/>
                <a:gd name="T17" fmla="*/ 13 h 190"/>
                <a:gd name="T18" fmla="*/ 0 w 172"/>
                <a:gd name="T19" fmla="*/ 71 h 190"/>
                <a:gd name="T20" fmla="*/ 5 w 172"/>
                <a:gd name="T21" fmla="*/ 110 h 190"/>
                <a:gd name="T22" fmla="*/ 5 w 172"/>
                <a:gd name="T23" fmla="*/ 116 h 190"/>
                <a:gd name="T24" fmla="*/ 5 w 172"/>
                <a:gd name="T25" fmla="*/ 137 h 190"/>
                <a:gd name="T26" fmla="*/ 5 w 172"/>
                <a:gd name="T27" fmla="*/ 151 h 190"/>
                <a:gd name="T28" fmla="*/ 5 w 172"/>
                <a:gd name="T29" fmla="*/ 182 h 190"/>
                <a:gd name="T30" fmla="*/ 5 w 172"/>
                <a:gd name="T31" fmla="*/ 190 h 190"/>
                <a:gd name="T32" fmla="*/ 5 w 172"/>
                <a:gd name="T33" fmla="*/ 188 h 190"/>
                <a:gd name="T34" fmla="*/ 5 w 172"/>
                <a:gd name="T35" fmla="*/ 171 h 190"/>
                <a:gd name="T36" fmla="*/ 5 w 172"/>
                <a:gd name="T37" fmla="*/ 147 h 19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2"/>
                <a:gd name="T58" fmla="*/ 0 h 190"/>
                <a:gd name="T59" fmla="*/ 172 w 172"/>
                <a:gd name="T60" fmla="*/ 190 h 19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2" h="190">
                  <a:moveTo>
                    <a:pt x="172" y="147"/>
                  </a:moveTo>
                  <a:lnTo>
                    <a:pt x="169" y="110"/>
                  </a:lnTo>
                  <a:lnTo>
                    <a:pt x="148" y="106"/>
                  </a:lnTo>
                  <a:lnTo>
                    <a:pt x="139" y="76"/>
                  </a:lnTo>
                  <a:lnTo>
                    <a:pt x="132" y="71"/>
                  </a:lnTo>
                  <a:lnTo>
                    <a:pt x="93" y="61"/>
                  </a:lnTo>
                  <a:lnTo>
                    <a:pt x="87" y="21"/>
                  </a:lnTo>
                  <a:lnTo>
                    <a:pt x="64" y="0"/>
                  </a:lnTo>
                  <a:lnTo>
                    <a:pt x="10" y="13"/>
                  </a:lnTo>
                  <a:lnTo>
                    <a:pt x="0" y="71"/>
                  </a:lnTo>
                  <a:lnTo>
                    <a:pt x="42" y="110"/>
                  </a:lnTo>
                  <a:lnTo>
                    <a:pt x="67" y="116"/>
                  </a:lnTo>
                  <a:lnTo>
                    <a:pt x="101" y="137"/>
                  </a:lnTo>
                  <a:lnTo>
                    <a:pt x="107" y="151"/>
                  </a:lnTo>
                  <a:lnTo>
                    <a:pt x="99" y="182"/>
                  </a:lnTo>
                  <a:lnTo>
                    <a:pt x="138" y="190"/>
                  </a:lnTo>
                  <a:lnTo>
                    <a:pt x="151" y="188"/>
                  </a:lnTo>
                  <a:lnTo>
                    <a:pt x="168" y="171"/>
                  </a:lnTo>
                  <a:lnTo>
                    <a:pt x="172" y="14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64" name="Freeform 21"/>
            <p:cNvSpPr>
              <a:spLocks noChangeAspect="1"/>
            </p:cNvSpPr>
            <p:nvPr/>
          </p:nvSpPr>
          <p:spPr bwMode="auto">
            <a:xfrm>
              <a:off x="2731689" y="4313012"/>
              <a:ext cx="389811" cy="998733"/>
            </a:xfrm>
            <a:custGeom>
              <a:avLst/>
              <a:gdLst>
                <a:gd name="T0" fmla="*/ 5 w 309"/>
                <a:gd name="T1" fmla="*/ 283 h 696"/>
                <a:gd name="T2" fmla="*/ 5 w 309"/>
                <a:gd name="T3" fmla="*/ 313 h 696"/>
                <a:gd name="T4" fmla="*/ 5 w 309"/>
                <a:gd name="T5" fmla="*/ 336 h 696"/>
                <a:gd name="T6" fmla="*/ 5 w 309"/>
                <a:gd name="T7" fmla="*/ 377 h 696"/>
                <a:gd name="T8" fmla="*/ 5 w 309"/>
                <a:gd name="T9" fmla="*/ 397 h 696"/>
                <a:gd name="T10" fmla="*/ 5 w 309"/>
                <a:gd name="T11" fmla="*/ 408 h 696"/>
                <a:gd name="T12" fmla="*/ 5 w 309"/>
                <a:gd name="T13" fmla="*/ 446 h 696"/>
                <a:gd name="T14" fmla="*/ 5 w 309"/>
                <a:gd name="T15" fmla="*/ 443 h 696"/>
                <a:gd name="T16" fmla="*/ 5 w 309"/>
                <a:gd name="T17" fmla="*/ 473 h 696"/>
                <a:gd name="T18" fmla="*/ 5 w 309"/>
                <a:gd name="T19" fmla="*/ 478 h 696"/>
                <a:gd name="T20" fmla="*/ 5 w 309"/>
                <a:gd name="T21" fmla="*/ 484 h 696"/>
                <a:gd name="T22" fmla="*/ 5 w 309"/>
                <a:gd name="T23" fmla="*/ 484 h 696"/>
                <a:gd name="T24" fmla="*/ 5 w 309"/>
                <a:gd name="T25" fmla="*/ 503 h 696"/>
                <a:gd name="T26" fmla="*/ 5 w 309"/>
                <a:gd name="T27" fmla="*/ 525 h 696"/>
                <a:gd name="T28" fmla="*/ 5 w 309"/>
                <a:gd name="T29" fmla="*/ 539 h 696"/>
                <a:gd name="T30" fmla="*/ 5 w 309"/>
                <a:gd name="T31" fmla="*/ 566 h 696"/>
                <a:gd name="T32" fmla="*/ 5 w 309"/>
                <a:gd name="T33" fmla="*/ 582 h 696"/>
                <a:gd name="T34" fmla="*/ 5 w 309"/>
                <a:gd name="T35" fmla="*/ 600 h 696"/>
                <a:gd name="T36" fmla="*/ 5 w 309"/>
                <a:gd name="T37" fmla="*/ 645 h 696"/>
                <a:gd name="T38" fmla="*/ 5 w 309"/>
                <a:gd name="T39" fmla="*/ 667 h 696"/>
                <a:gd name="T40" fmla="*/ 5 w 309"/>
                <a:gd name="T41" fmla="*/ 695 h 696"/>
                <a:gd name="T42" fmla="*/ 5 w 309"/>
                <a:gd name="T43" fmla="*/ 660 h 696"/>
                <a:gd name="T44" fmla="*/ 5 w 309"/>
                <a:gd name="T45" fmla="*/ 640 h 696"/>
                <a:gd name="T46" fmla="*/ 5 w 309"/>
                <a:gd name="T47" fmla="*/ 528 h 696"/>
                <a:gd name="T48" fmla="*/ 5 w 309"/>
                <a:gd name="T49" fmla="*/ 519 h 696"/>
                <a:gd name="T50" fmla="*/ 5 w 309"/>
                <a:gd name="T51" fmla="*/ 465 h 696"/>
                <a:gd name="T52" fmla="*/ 5 w 309"/>
                <a:gd name="T53" fmla="*/ 388 h 696"/>
                <a:gd name="T54" fmla="*/ 5 w 309"/>
                <a:gd name="T55" fmla="*/ 330 h 696"/>
                <a:gd name="T56" fmla="*/ 5 w 309"/>
                <a:gd name="T57" fmla="*/ 280 h 696"/>
                <a:gd name="T58" fmla="*/ 4 w 309"/>
                <a:gd name="T59" fmla="*/ 152 h 696"/>
                <a:gd name="T60" fmla="*/ 5 w 309"/>
                <a:gd name="T61" fmla="*/ 67 h 696"/>
                <a:gd name="T62" fmla="*/ 5 w 309"/>
                <a:gd name="T63" fmla="*/ 27 h 696"/>
                <a:gd name="T64" fmla="*/ 5 w 309"/>
                <a:gd name="T65" fmla="*/ 18 h 696"/>
                <a:gd name="T66" fmla="*/ 5 w 309"/>
                <a:gd name="T67" fmla="*/ 13 h 696"/>
                <a:gd name="T68" fmla="*/ 5 w 309"/>
                <a:gd name="T69" fmla="*/ 58 h 696"/>
                <a:gd name="T70" fmla="*/ 5 w 309"/>
                <a:gd name="T71" fmla="*/ 93 h 696"/>
                <a:gd name="T72" fmla="*/ 5 w 309"/>
                <a:gd name="T73" fmla="*/ 132 h 696"/>
                <a:gd name="T74" fmla="*/ 5 w 309"/>
                <a:gd name="T75" fmla="*/ 113 h 696"/>
                <a:gd name="T76" fmla="*/ 5 w 309"/>
                <a:gd name="T77" fmla="*/ 90 h 696"/>
                <a:gd name="T78" fmla="*/ 5 w 309"/>
                <a:gd name="T79" fmla="*/ 133 h 69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09"/>
                <a:gd name="T121" fmla="*/ 0 h 696"/>
                <a:gd name="T122" fmla="*/ 309 w 309"/>
                <a:gd name="T123" fmla="*/ 696 h 69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09" h="696">
                  <a:moveTo>
                    <a:pt x="245" y="195"/>
                  </a:moveTo>
                  <a:lnTo>
                    <a:pt x="250" y="283"/>
                  </a:lnTo>
                  <a:lnTo>
                    <a:pt x="253" y="297"/>
                  </a:lnTo>
                  <a:lnTo>
                    <a:pt x="279" y="313"/>
                  </a:lnTo>
                  <a:lnTo>
                    <a:pt x="276" y="324"/>
                  </a:lnTo>
                  <a:lnTo>
                    <a:pt x="292" y="336"/>
                  </a:lnTo>
                  <a:lnTo>
                    <a:pt x="297" y="347"/>
                  </a:lnTo>
                  <a:lnTo>
                    <a:pt x="287" y="377"/>
                  </a:lnTo>
                  <a:lnTo>
                    <a:pt x="236" y="394"/>
                  </a:lnTo>
                  <a:lnTo>
                    <a:pt x="210" y="397"/>
                  </a:lnTo>
                  <a:lnTo>
                    <a:pt x="202" y="391"/>
                  </a:lnTo>
                  <a:lnTo>
                    <a:pt x="212" y="408"/>
                  </a:lnTo>
                  <a:lnTo>
                    <a:pt x="216" y="440"/>
                  </a:lnTo>
                  <a:lnTo>
                    <a:pt x="190" y="446"/>
                  </a:lnTo>
                  <a:lnTo>
                    <a:pt x="168" y="437"/>
                  </a:lnTo>
                  <a:lnTo>
                    <a:pt x="164" y="443"/>
                  </a:lnTo>
                  <a:lnTo>
                    <a:pt x="176" y="467"/>
                  </a:lnTo>
                  <a:lnTo>
                    <a:pt x="187" y="473"/>
                  </a:lnTo>
                  <a:lnTo>
                    <a:pt x="199" y="467"/>
                  </a:lnTo>
                  <a:lnTo>
                    <a:pt x="206" y="478"/>
                  </a:lnTo>
                  <a:lnTo>
                    <a:pt x="206" y="484"/>
                  </a:lnTo>
                  <a:lnTo>
                    <a:pt x="196" y="484"/>
                  </a:lnTo>
                  <a:lnTo>
                    <a:pt x="188" y="477"/>
                  </a:lnTo>
                  <a:lnTo>
                    <a:pt x="182" y="484"/>
                  </a:lnTo>
                  <a:lnTo>
                    <a:pt x="195" y="488"/>
                  </a:lnTo>
                  <a:lnTo>
                    <a:pt x="183" y="503"/>
                  </a:lnTo>
                  <a:lnTo>
                    <a:pt x="192" y="522"/>
                  </a:lnTo>
                  <a:lnTo>
                    <a:pt x="185" y="525"/>
                  </a:lnTo>
                  <a:lnTo>
                    <a:pt x="188" y="532"/>
                  </a:lnTo>
                  <a:lnTo>
                    <a:pt x="168" y="539"/>
                  </a:lnTo>
                  <a:lnTo>
                    <a:pt x="162" y="556"/>
                  </a:lnTo>
                  <a:lnTo>
                    <a:pt x="168" y="566"/>
                  </a:lnTo>
                  <a:lnTo>
                    <a:pt x="190" y="582"/>
                  </a:lnTo>
                  <a:lnTo>
                    <a:pt x="204" y="582"/>
                  </a:lnTo>
                  <a:lnTo>
                    <a:pt x="209" y="589"/>
                  </a:lnTo>
                  <a:lnTo>
                    <a:pt x="210" y="600"/>
                  </a:lnTo>
                  <a:lnTo>
                    <a:pt x="189" y="622"/>
                  </a:lnTo>
                  <a:lnTo>
                    <a:pt x="193" y="645"/>
                  </a:lnTo>
                  <a:lnTo>
                    <a:pt x="177" y="656"/>
                  </a:lnTo>
                  <a:lnTo>
                    <a:pt x="179" y="667"/>
                  </a:lnTo>
                  <a:lnTo>
                    <a:pt x="207" y="696"/>
                  </a:lnTo>
                  <a:lnTo>
                    <a:pt x="187" y="695"/>
                  </a:lnTo>
                  <a:lnTo>
                    <a:pt x="143" y="690"/>
                  </a:lnTo>
                  <a:lnTo>
                    <a:pt x="120" y="660"/>
                  </a:lnTo>
                  <a:lnTo>
                    <a:pt x="104" y="661"/>
                  </a:lnTo>
                  <a:lnTo>
                    <a:pt x="94" y="640"/>
                  </a:lnTo>
                  <a:lnTo>
                    <a:pt x="93" y="571"/>
                  </a:lnTo>
                  <a:lnTo>
                    <a:pt x="74" y="528"/>
                  </a:lnTo>
                  <a:lnTo>
                    <a:pt x="81" y="529"/>
                  </a:lnTo>
                  <a:lnTo>
                    <a:pt x="69" y="519"/>
                  </a:lnTo>
                  <a:lnTo>
                    <a:pt x="51" y="485"/>
                  </a:lnTo>
                  <a:lnTo>
                    <a:pt x="50" y="465"/>
                  </a:lnTo>
                  <a:lnTo>
                    <a:pt x="39" y="444"/>
                  </a:lnTo>
                  <a:lnTo>
                    <a:pt x="36" y="388"/>
                  </a:lnTo>
                  <a:lnTo>
                    <a:pt x="22" y="347"/>
                  </a:lnTo>
                  <a:lnTo>
                    <a:pt x="29" y="330"/>
                  </a:lnTo>
                  <a:lnTo>
                    <a:pt x="23" y="312"/>
                  </a:lnTo>
                  <a:lnTo>
                    <a:pt x="27" y="280"/>
                  </a:lnTo>
                  <a:lnTo>
                    <a:pt x="0" y="220"/>
                  </a:lnTo>
                  <a:lnTo>
                    <a:pt x="4" y="152"/>
                  </a:lnTo>
                  <a:lnTo>
                    <a:pt x="21" y="114"/>
                  </a:lnTo>
                  <a:lnTo>
                    <a:pt x="11" y="67"/>
                  </a:lnTo>
                  <a:lnTo>
                    <a:pt x="30" y="53"/>
                  </a:lnTo>
                  <a:lnTo>
                    <a:pt x="30" y="27"/>
                  </a:lnTo>
                  <a:lnTo>
                    <a:pt x="48" y="0"/>
                  </a:lnTo>
                  <a:lnTo>
                    <a:pt x="87" y="18"/>
                  </a:lnTo>
                  <a:lnTo>
                    <a:pt x="93" y="7"/>
                  </a:lnTo>
                  <a:lnTo>
                    <a:pt x="118" y="13"/>
                  </a:lnTo>
                  <a:lnTo>
                    <a:pt x="160" y="52"/>
                  </a:lnTo>
                  <a:lnTo>
                    <a:pt x="185" y="58"/>
                  </a:lnTo>
                  <a:lnTo>
                    <a:pt x="219" y="79"/>
                  </a:lnTo>
                  <a:lnTo>
                    <a:pt x="225" y="93"/>
                  </a:lnTo>
                  <a:lnTo>
                    <a:pt x="217" y="124"/>
                  </a:lnTo>
                  <a:lnTo>
                    <a:pt x="256" y="132"/>
                  </a:lnTo>
                  <a:lnTo>
                    <a:pt x="269" y="130"/>
                  </a:lnTo>
                  <a:lnTo>
                    <a:pt x="286" y="113"/>
                  </a:lnTo>
                  <a:lnTo>
                    <a:pt x="290" y="89"/>
                  </a:lnTo>
                  <a:lnTo>
                    <a:pt x="301" y="90"/>
                  </a:lnTo>
                  <a:lnTo>
                    <a:pt x="309" y="121"/>
                  </a:lnTo>
                  <a:lnTo>
                    <a:pt x="291" y="133"/>
                  </a:lnTo>
                  <a:lnTo>
                    <a:pt x="245" y="195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65" name="Freeform 22"/>
            <p:cNvSpPr>
              <a:spLocks noChangeAspect="1"/>
            </p:cNvSpPr>
            <p:nvPr/>
          </p:nvSpPr>
          <p:spPr bwMode="auto">
            <a:xfrm>
              <a:off x="2881186" y="3322889"/>
              <a:ext cx="120157" cy="231029"/>
            </a:xfrm>
            <a:custGeom>
              <a:avLst/>
              <a:gdLst>
                <a:gd name="T0" fmla="*/ 5 w 94"/>
                <a:gd name="T1" fmla="*/ 0 h 161"/>
                <a:gd name="T2" fmla="*/ 5 w 94"/>
                <a:gd name="T3" fmla="*/ 13 h 161"/>
                <a:gd name="T4" fmla="*/ 5 w 94"/>
                <a:gd name="T5" fmla="*/ 27 h 161"/>
                <a:gd name="T6" fmla="*/ 5 w 94"/>
                <a:gd name="T7" fmla="*/ 30 h 161"/>
                <a:gd name="T8" fmla="*/ 3 w 94"/>
                <a:gd name="T9" fmla="*/ 38 h 161"/>
                <a:gd name="T10" fmla="*/ 0 w 94"/>
                <a:gd name="T11" fmla="*/ 55 h 161"/>
                <a:gd name="T12" fmla="*/ 5 w 94"/>
                <a:gd name="T13" fmla="*/ 72 h 161"/>
                <a:gd name="T14" fmla="*/ 5 w 94"/>
                <a:gd name="T15" fmla="*/ 74 h 161"/>
                <a:gd name="T16" fmla="*/ 5 w 94"/>
                <a:gd name="T17" fmla="*/ 95 h 161"/>
                <a:gd name="T18" fmla="*/ 5 w 94"/>
                <a:gd name="T19" fmla="*/ 130 h 161"/>
                <a:gd name="T20" fmla="*/ 5 w 94"/>
                <a:gd name="T21" fmla="*/ 156 h 161"/>
                <a:gd name="T22" fmla="*/ 5 w 94"/>
                <a:gd name="T23" fmla="*/ 161 h 161"/>
                <a:gd name="T24" fmla="*/ 5 w 94"/>
                <a:gd name="T25" fmla="*/ 144 h 161"/>
                <a:gd name="T26" fmla="*/ 5 w 94"/>
                <a:gd name="T27" fmla="*/ 146 h 161"/>
                <a:gd name="T28" fmla="*/ 5 w 94"/>
                <a:gd name="T29" fmla="*/ 93 h 161"/>
                <a:gd name="T30" fmla="*/ 5 w 94"/>
                <a:gd name="T31" fmla="*/ 55 h 161"/>
                <a:gd name="T32" fmla="*/ 5 w 94"/>
                <a:gd name="T33" fmla="*/ 34 h 161"/>
                <a:gd name="T34" fmla="*/ 5 w 94"/>
                <a:gd name="T35" fmla="*/ 35 h 161"/>
                <a:gd name="T36" fmla="*/ 5 w 94"/>
                <a:gd name="T37" fmla="*/ 16 h 161"/>
                <a:gd name="T38" fmla="*/ 5 w 94"/>
                <a:gd name="T39" fmla="*/ 0 h 16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4"/>
                <a:gd name="T61" fmla="*/ 0 h 161"/>
                <a:gd name="T62" fmla="*/ 94 w 94"/>
                <a:gd name="T63" fmla="*/ 161 h 16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4" h="161">
                  <a:moveTo>
                    <a:pt x="30" y="0"/>
                  </a:moveTo>
                  <a:lnTo>
                    <a:pt x="12" y="13"/>
                  </a:lnTo>
                  <a:lnTo>
                    <a:pt x="9" y="27"/>
                  </a:lnTo>
                  <a:lnTo>
                    <a:pt x="14" y="30"/>
                  </a:lnTo>
                  <a:lnTo>
                    <a:pt x="3" y="38"/>
                  </a:lnTo>
                  <a:lnTo>
                    <a:pt x="0" y="55"/>
                  </a:lnTo>
                  <a:lnTo>
                    <a:pt x="12" y="72"/>
                  </a:lnTo>
                  <a:lnTo>
                    <a:pt x="24" y="74"/>
                  </a:lnTo>
                  <a:lnTo>
                    <a:pt x="31" y="95"/>
                  </a:lnTo>
                  <a:lnTo>
                    <a:pt x="25" y="130"/>
                  </a:lnTo>
                  <a:lnTo>
                    <a:pt x="36" y="156"/>
                  </a:lnTo>
                  <a:lnTo>
                    <a:pt x="47" y="161"/>
                  </a:lnTo>
                  <a:lnTo>
                    <a:pt x="81" y="144"/>
                  </a:lnTo>
                  <a:lnTo>
                    <a:pt x="94" y="146"/>
                  </a:lnTo>
                  <a:lnTo>
                    <a:pt x="63" y="93"/>
                  </a:lnTo>
                  <a:lnTo>
                    <a:pt x="83" y="55"/>
                  </a:lnTo>
                  <a:lnTo>
                    <a:pt x="62" y="34"/>
                  </a:lnTo>
                  <a:lnTo>
                    <a:pt x="53" y="35"/>
                  </a:lnTo>
                  <a:lnTo>
                    <a:pt x="52" y="1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66" name="Freeform 23"/>
            <p:cNvSpPr>
              <a:spLocks noChangeAspect="1"/>
            </p:cNvSpPr>
            <p:nvPr/>
          </p:nvSpPr>
          <p:spPr bwMode="auto">
            <a:xfrm>
              <a:off x="2742866" y="4974530"/>
              <a:ext cx="20958" cy="51659"/>
            </a:xfrm>
            <a:custGeom>
              <a:avLst/>
              <a:gdLst>
                <a:gd name="T0" fmla="*/ 0 w 18"/>
                <a:gd name="T1" fmla="*/ 0 h 36"/>
                <a:gd name="T2" fmla="*/ 2 w 18"/>
                <a:gd name="T3" fmla="*/ 34 h 36"/>
                <a:gd name="T4" fmla="*/ 2 w 18"/>
                <a:gd name="T5" fmla="*/ 36 h 36"/>
                <a:gd name="T6" fmla="*/ 2 w 18"/>
                <a:gd name="T7" fmla="*/ 12 h 36"/>
                <a:gd name="T8" fmla="*/ 0 w 18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36"/>
                <a:gd name="T17" fmla="*/ 18 w 18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36">
                  <a:moveTo>
                    <a:pt x="0" y="0"/>
                  </a:moveTo>
                  <a:lnTo>
                    <a:pt x="7" y="34"/>
                  </a:lnTo>
                  <a:lnTo>
                    <a:pt x="18" y="36"/>
                  </a:lnTo>
                  <a:lnTo>
                    <a:pt x="17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67" name="Freeform 24"/>
            <p:cNvSpPr>
              <a:spLocks noChangeAspect="1"/>
            </p:cNvSpPr>
            <p:nvPr/>
          </p:nvSpPr>
          <p:spPr bwMode="auto">
            <a:xfrm>
              <a:off x="2564028" y="3426206"/>
              <a:ext cx="991991" cy="1284291"/>
            </a:xfrm>
            <a:custGeom>
              <a:avLst/>
              <a:gdLst>
                <a:gd name="T0" fmla="*/ 5 w 788"/>
                <a:gd name="T1" fmla="*/ 66 h 895"/>
                <a:gd name="T2" fmla="*/ 5 w 788"/>
                <a:gd name="T3" fmla="*/ 66 h 895"/>
                <a:gd name="T4" fmla="*/ 5 w 788"/>
                <a:gd name="T5" fmla="*/ 76 h 895"/>
                <a:gd name="T6" fmla="*/ 5 w 788"/>
                <a:gd name="T7" fmla="*/ 72 h 895"/>
                <a:gd name="T8" fmla="*/ 5 w 788"/>
                <a:gd name="T9" fmla="*/ 84 h 895"/>
                <a:gd name="T10" fmla="*/ 5 w 788"/>
                <a:gd name="T11" fmla="*/ 23 h 895"/>
                <a:gd name="T12" fmla="*/ 5 w 788"/>
                <a:gd name="T13" fmla="*/ 0 h 895"/>
                <a:gd name="T14" fmla="*/ 5 w 788"/>
                <a:gd name="T15" fmla="*/ 30 h 895"/>
                <a:gd name="T16" fmla="*/ 5 w 788"/>
                <a:gd name="T17" fmla="*/ 36 h 895"/>
                <a:gd name="T18" fmla="*/ 5 w 788"/>
                <a:gd name="T19" fmla="*/ 70 h 895"/>
                <a:gd name="T20" fmla="*/ 5 w 788"/>
                <a:gd name="T21" fmla="*/ 100 h 895"/>
                <a:gd name="T22" fmla="*/ 5 w 788"/>
                <a:gd name="T23" fmla="*/ 77 h 895"/>
                <a:gd name="T24" fmla="*/ 5 w 788"/>
                <a:gd name="T25" fmla="*/ 93 h 895"/>
                <a:gd name="T26" fmla="*/ 5 w 788"/>
                <a:gd name="T27" fmla="*/ 111 h 895"/>
                <a:gd name="T28" fmla="*/ 5 w 788"/>
                <a:gd name="T29" fmla="*/ 214 h 895"/>
                <a:gd name="T30" fmla="*/ 5 w 788"/>
                <a:gd name="T31" fmla="*/ 253 h 895"/>
                <a:gd name="T32" fmla="*/ 5 w 788"/>
                <a:gd name="T33" fmla="*/ 325 h 895"/>
                <a:gd name="T34" fmla="*/ 5 w 788"/>
                <a:gd name="T35" fmla="*/ 348 h 895"/>
                <a:gd name="T36" fmla="*/ 5 w 788"/>
                <a:gd name="T37" fmla="*/ 368 h 895"/>
                <a:gd name="T38" fmla="*/ 5 w 788"/>
                <a:gd name="T39" fmla="*/ 370 h 895"/>
                <a:gd name="T40" fmla="*/ 5 w 788"/>
                <a:gd name="T41" fmla="*/ 342 h 895"/>
                <a:gd name="T42" fmla="*/ 5 w 788"/>
                <a:gd name="T43" fmla="*/ 395 h 895"/>
                <a:gd name="T44" fmla="*/ 5 w 788"/>
                <a:gd name="T45" fmla="*/ 456 h 895"/>
                <a:gd name="T46" fmla="*/ 5 w 788"/>
                <a:gd name="T47" fmla="*/ 490 h 895"/>
                <a:gd name="T48" fmla="*/ 5 w 788"/>
                <a:gd name="T49" fmla="*/ 509 h 895"/>
                <a:gd name="T50" fmla="*/ 5 w 788"/>
                <a:gd name="T51" fmla="*/ 581 h 895"/>
                <a:gd name="T52" fmla="*/ 5 w 788"/>
                <a:gd name="T53" fmla="*/ 631 h 895"/>
                <a:gd name="T54" fmla="*/ 5 w 788"/>
                <a:gd name="T55" fmla="*/ 666 h 895"/>
                <a:gd name="T56" fmla="*/ 5 w 788"/>
                <a:gd name="T57" fmla="*/ 707 h 895"/>
                <a:gd name="T58" fmla="*/ 5 w 788"/>
                <a:gd name="T59" fmla="*/ 739 h 895"/>
                <a:gd name="T60" fmla="*/ 5 w 788"/>
                <a:gd name="T61" fmla="*/ 813 h 895"/>
                <a:gd name="T62" fmla="*/ 5 w 788"/>
                <a:gd name="T63" fmla="*/ 831 h 895"/>
                <a:gd name="T64" fmla="*/ 5 w 788"/>
                <a:gd name="T65" fmla="*/ 853 h 895"/>
                <a:gd name="T66" fmla="*/ 5 w 788"/>
                <a:gd name="T67" fmla="*/ 895 h 895"/>
                <a:gd name="T68" fmla="*/ 5 w 788"/>
                <a:gd name="T69" fmla="*/ 842 h 895"/>
                <a:gd name="T70" fmla="*/ 5 w 788"/>
                <a:gd name="T71" fmla="*/ 773 h 895"/>
                <a:gd name="T72" fmla="*/ 5 w 788"/>
                <a:gd name="T73" fmla="*/ 674 h 895"/>
                <a:gd name="T74" fmla="*/ 5 w 788"/>
                <a:gd name="T75" fmla="*/ 666 h 895"/>
                <a:gd name="T76" fmla="*/ 5 w 788"/>
                <a:gd name="T77" fmla="*/ 656 h 895"/>
                <a:gd name="T78" fmla="*/ 5 w 788"/>
                <a:gd name="T79" fmla="*/ 646 h 895"/>
                <a:gd name="T80" fmla="*/ 5 w 788"/>
                <a:gd name="T81" fmla="*/ 624 h 895"/>
                <a:gd name="T82" fmla="*/ 5 w 788"/>
                <a:gd name="T83" fmla="*/ 566 h 895"/>
                <a:gd name="T84" fmla="*/ 5 w 788"/>
                <a:gd name="T85" fmla="*/ 524 h 895"/>
                <a:gd name="T86" fmla="*/ 5 w 788"/>
                <a:gd name="T87" fmla="*/ 338 h 895"/>
                <a:gd name="T88" fmla="*/ 5 w 788"/>
                <a:gd name="T89" fmla="*/ 279 h 895"/>
                <a:gd name="T90" fmla="*/ 5 w 788"/>
                <a:gd name="T91" fmla="*/ 235 h 895"/>
                <a:gd name="T92" fmla="*/ 5 w 788"/>
                <a:gd name="T93" fmla="*/ 188 h 895"/>
                <a:gd name="T94" fmla="*/ 5 w 788"/>
                <a:gd name="T95" fmla="*/ 184 h 895"/>
                <a:gd name="T96" fmla="*/ 5 w 788"/>
                <a:gd name="T97" fmla="*/ 152 h 895"/>
                <a:gd name="T98" fmla="*/ 5 w 788"/>
                <a:gd name="T99" fmla="*/ 149 h 895"/>
                <a:gd name="T100" fmla="*/ 5 w 788"/>
                <a:gd name="T101" fmla="*/ 138 h 895"/>
                <a:gd name="T102" fmla="*/ 5 w 788"/>
                <a:gd name="T103" fmla="*/ 151 h 895"/>
                <a:gd name="T104" fmla="*/ 5 w 788"/>
                <a:gd name="T105" fmla="*/ 122 h 895"/>
                <a:gd name="T106" fmla="*/ 5 w 788"/>
                <a:gd name="T107" fmla="*/ 157 h 895"/>
                <a:gd name="T108" fmla="*/ 5 w 788"/>
                <a:gd name="T109" fmla="*/ 148 h 895"/>
                <a:gd name="T110" fmla="*/ 5 w 788"/>
                <a:gd name="T111" fmla="*/ 95 h 895"/>
                <a:gd name="T112" fmla="*/ 5 w 788"/>
                <a:gd name="T113" fmla="*/ 76 h 895"/>
                <a:gd name="T114" fmla="*/ 5 w 788"/>
                <a:gd name="T115" fmla="*/ 25 h 89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88"/>
                <a:gd name="T175" fmla="*/ 0 h 895"/>
                <a:gd name="T176" fmla="*/ 788 w 788"/>
                <a:gd name="T177" fmla="*/ 895 h 89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88" h="895">
                  <a:moveTo>
                    <a:pt x="447" y="25"/>
                  </a:moveTo>
                  <a:lnTo>
                    <a:pt x="418" y="66"/>
                  </a:lnTo>
                  <a:lnTo>
                    <a:pt x="400" y="74"/>
                  </a:lnTo>
                  <a:lnTo>
                    <a:pt x="389" y="66"/>
                  </a:lnTo>
                  <a:lnTo>
                    <a:pt x="362" y="63"/>
                  </a:lnTo>
                  <a:lnTo>
                    <a:pt x="356" y="76"/>
                  </a:lnTo>
                  <a:lnTo>
                    <a:pt x="347" y="74"/>
                  </a:lnTo>
                  <a:lnTo>
                    <a:pt x="334" y="72"/>
                  </a:lnTo>
                  <a:lnTo>
                    <a:pt x="300" y="89"/>
                  </a:lnTo>
                  <a:lnTo>
                    <a:pt x="289" y="84"/>
                  </a:lnTo>
                  <a:lnTo>
                    <a:pt x="278" y="58"/>
                  </a:lnTo>
                  <a:lnTo>
                    <a:pt x="284" y="23"/>
                  </a:lnTo>
                  <a:lnTo>
                    <a:pt x="277" y="2"/>
                  </a:lnTo>
                  <a:lnTo>
                    <a:pt x="265" y="0"/>
                  </a:lnTo>
                  <a:lnTo>
                    <a:pt x="259" y="13"/>
                  </a:lnTo>
                  <a:lnTo>
                    <a:pt x="214" y="30"/>
                  </a:lnTo>
                  <a:lnTo>
                    <a:pt x="179" y="25"/>
                  </a:lnTo>
                  <a:lnTo>
                    <a:pt x="190" y="36"/>
                  </a:lnTo>
                  <a:lnTo>
                    <a:pt x="190" y="58"/>
                  </a:lnTo>
                  <a:lnTo>
                    <a:pt x="204" y="70"/>
                  </a:lnTo>
                  <a:lnTo>
                    <a:pt x="158" y="100"/>
                  </a:lnTo>
                  <a:lnTo>
                    <a:pt x="145" y="100"/>
                  </a:lnTo>
                  <a:lnTo>
                    <a:pt x="135" y="89"/>
                  </a:lnTo>
                  <a:lnTo>
                    <a:pt x="122" y="77"/>
                  </a:lnTo>
                  <a:lnTo>
                    <a:pt x="77" y="80"/>
                  </a:lnTo>
                  <a:lnTo>
                    <a:pt x="76" y="93"/>
                  </a:lnTo>
                  <a:lnTo>
                    <a:pt x="89" y="105"/>
                  </a:lnTo>
                  <a:lnTo>
                    <a:pt x="71" y="111"/>
                  </a:lnTo>
                  <a:lnTo>
                    <a:pt x="83" y="150"/>
                  </a:lnTo>
                  <a:lnTo>
                    <a:pt x="73" y="214"/>
                  </a:lnTo>
                  <a:lnTo>
                    <a:pt x="27" y="232"/>
                  </a:lnTo>
                  <a:lnTo>
                    <a:pt x="14" y="253"/>
                  </a:lnTo>
                  <a:lnTo>
                    <a:pt x="0" y="296"/>
                  </a:lnTo>
                  <a:lnTo>
                    <a:pt x="19" y="325"/>
                  </a:lnTo>
                  <a:lnTo>
                    <a:pt x="17" y="332"/>
                  </a:lnTo>
                  <a:lnTo>
                    <a:pt x="40" y="348"/>
                  </a:lnTo>
                  <a:lnTo>
                    <a:pt x="65" y="334"/>
                  </a:lnTo>
                  <a:lnTo>
                    <a:pt x="70" y="368"/>
                  </a:lnTo>
                  <a:lnTo>
                    <a:pt x="87" y="368"/>
                  </a:lnTo>
                  <a:lnTo>
                    <a:pt x="114" y="370"/>
                  </a:lnTo>
                  <a:lnTo>
                    <a:pt x="145" y="343"/>
                  </a:lnTo>
                  <a:lnTo>
                    <a:pt x="170" y="342"/>
                  </a:lnTo>
                  <a:lnTo>
                    <a:pt x="173" y="377"/>
                  </a:lnTo>
                  <a:lnTo>
                    <a:pt x="182" y="395"/>
                  </a:lnTo>
                  <a:lnTo>
                    <a:pt x="267" y="430"/>
                  </a:lnTo>
                  <a:lnTo>
                    <a:pt x="282" y="456"/>
                  </a:lnTo>
                  <a:lnTo>
                    <a:pt x="279" y="469"/>
                  </a:lnTo>
                  <a:lnTo>
                    <a:pt x="288" y="490"/>
                  </a:lnTo>
                  <a:lnTo>
                    <a:pt x="323" y="496"/>
                  </a:lnTo>
                  <a:lnTo>
                    <a:pt x="324" y="509"/>
                  </a:lnTo>
                  <a:lnTo>
                    <a:pt x="341" y="536"/>
                  </a:lnTo>
                  <a:lnTo>
                    <a:pt x="339" y="581"/>
                  </a:lnTo>
                  <a:lnTo>
                    <a:pt x="345" y="621"/>
                  </a:lnTo>
                  <a:lnTo>
                    <a:pt x="384" y="631"/>
                  </a:lnTo>
                  <a:lnTo>
                    <a:pt x="391" y="636"/>
                  </a:lnTo>
                  <a:lnTo>
                    <a:pt x="400" y="666"/>
                  </a:lnTo>
                  <a:lnTo>
                    <a:pt x="421" y="670"/>
                  </a:lnTo>
                  <a:lnTo>
                    <a:pt x="424" y="707"/>
                  </a:lnTo>
                  <a:lnTo>
                    <a:pt x="435" y="708"/>
                  </a:lnTo>
                  <a:lnTo>
                    <a:pt x="443" y="739"/>
                  </a:lnTo>
                  <a:lnTo>
                    <a:pt x="425" y="751"/>
                  </a:lnTo>
                  <a:lnTo>
                    <a:pt x="379" y="813"/>
                  </a:lnTo>
                  <a:lnTo>
                    <a:pt x="397" y="813"/>
                  </a:lnTo>
                  <a:lnTo>
                    <a:pt x="417" y="831"/>
                  </a:lnTo>
                  <a:lnTo>
                    <a:pt x="421" y="828"/>
                  </a:lnTo>
                  <a:lnTo>
                    <a:pt x="461" y="853"/>
                  </a:lnTo>
                  <a:lnTo>
                    <a:pt x="477" y="871"/>
                  </a:lnTo>
                  <a:lnTo>
                    <a:pt x="477" y="895"/>
                  </a:lnTo>
                  <a:lnTo>
                    <a:pt x="490" y="865"/>
                  </a:lnTo>
                  <a:lnTo>
                    <a:pt x="514" y="842"/>
                  </a:lnTo>
                  <a:lnTo>
                    <a:pt x="528" y="796"/>
                  </a:lnTo>
                  <a:lnTo>
                    <a:pt x="546" y="773"/>
                  </a:lnTo>
                  <a:lnTo>
                    <a:pt x="541" y="713"/>
                  </a:lnTo>
                  <a:lnTo>
                    <a:pt x="572" y="674"/>
                  </a:lnTo>
                  <a:lnTo>
                    <a:pt x="591" y="663"/>
                  </a:lnTo>
                  <a:lnTo>
                    <a:pt x="598" y="666"/>
                  </a:lnTo>
                  <a:lnTo>
                    <a:pt x="606" y="656"/>
                  </a:lnTo>
                  <a:lnTo>
                    <a:pt x="615" y="656"/>
                  </a:lnTo>
                  <a:lnTo>
                    <a:pt x="612" y="647"/>
                  </a:lnTo>
                  <a:lnTo>
                    <a:pt x="664" y="646"/>
                  </a:lnTo>
                  <a:lnTo>
                    <a:pt x="664" y="636"/>
                  </a:lnTo>
                  <a:lnTo>
                    <a:pt x="682" y="624"/>
                  </a:lnTo>
                  <a:lnTo>
                    <a:pt x="683" y="601"/>
                  </a:lnTo>
                  <a:lnTo>
                    <a:pt x="704" y="566"/>
                  </a:lnTo>
                  <a:lnTo>
                    <a:pt x="705" y="532"/>
                  </a:lnTo>
                  <a:lnTo>
                    <a:pt x="711" y="524"/>
                  </a:lnTo>
                  <a:lnTo>
                    <a:pt x="710" y="424"/>
                  </a:lnTo>
                  <a:lnTo>
                    <a:pt x="773" y="338"/>
                  </a:lnTo>
                  <a:lnTo>
                    <a:pt x="788" y="306"/>
                  </a:lnTo>
                  <a:lnTo>
                    <a:pt x="788" y="279"/>
                  </a:lnTo>
                  <a:lnTo>
                    <a:pt x="774" y="239"/>
                  </a:lnTo>
                  <a:lnTo>
                    <a:pt x="743" y="235"/>
                  </a:lnTo>
                  <a:lnTo>
                    <a:pt x="681" y="184"/>
                  </a:lnTo>
                  <a:lnTo>
                    <a:pt x="651" y="188"/>
                  </a:lnTo>
                  <a:lnTo>
                    <a:pt x="609" y="174"/>
                  </a:lnTo>
                  <a:lnTo>
                    <a:pt x="588" y="184"/>
                  </a:lnTo>
                  <a:lnTo>
                    <a:pt x="591" y="172"/>
                  </a:lnTo>
                  <a:lnTo>
                    <a:pt x="583" y="152"/>
                  </a:lnTo>
                  <a:lnTo>
                    <a:pt x="572" y="157"/>
                  </a:lnTo>
                  <a:lnTo>
                    <a:pt x="569" y="149"/>
                  </a:lnTo>
                  <a:lnTo>
                    <a:pt x="533" y="134"/>
                  </a:lnTo>
                  <a:lnTo>
                    <a:pt x="515" y="138"/>
                  </a:lnTo>
                  <a:lnTo>
                    <a:pt x="507" y="155"/>
                  </a:lnTo>
                  <a:lnTo>
                    <a:pt x="503" y="151"/>
                  </a:lnTo>
                  <a:lnTo>
                    <a:pt x="510" y="126"/>
                  </a:lnTo>
                  <a:lnTo>
                    <a:pt x="498" y="122"/>
                  </a:lnTo>
                  <a:lnTo>
                    <a:pt x="469" y="128"/>
                  </a:lnTo>
                  <a:lnTo>
                    <a:pt x="466" y="157"/>
                  </a:lnTo>
                  <a:lnTo>
                    <a:pt x="460" y="141"/>
                  </a:lnTo>
                  <a:lnTo>
                    <a:pt x="449" y="148"/>
                  </a:lnTo>
                  <a:lnTo>
                    <a:pt x="454" y="122"/>
                  </a:lnTo>
                  <a:lnTo>
                    <a:pt x="477" y="95"/>
                  </a:lnTo>
                  <a:lnTo>
                    <a:pt x="480" y="78"/>
                  </a:lnTo>
                  <a:lnTo>
                    <a:pt x="467" y="76"/>
                  </a:lnTo>
                  <a:lnTo>
                    <a:pt x="458" y="32"/>
                  </a:lnTo>
                  <a:lnTo>
                    <a:pt x="447" y="25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rgbClr val="92D05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68" name="Freeform 25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1634909" y="1240760"/>
              <a:ext cx="1641676" cy="978644"/>
            </a:xfrm>
            <a:custGeom>
              <a:avLst/>
              <a:gdLst>
                <a:gd name="T0" fmla="*/ 5 w 1305"/>
                <a:gd name="T1" fmla="*/ 600 h 682"/>
                <a:gd name="T2" fmla="*/ 5 w 1305"/>
                <a:gd name="T3" fmla="*/ 605 h 682"/>
                <a:gd name="T4" fmla="*/ 5 w 1305"/>
                <a:gd name="T5" fmla="*/ 592 h 682"/>
                <a:gd name="T6" fmla="*/ 5 w 1305"/>
                <a:gd name="T7" fmla="*/ 548 h 682"/>
                <a:gd name="T8" fmla="*/ 5 w 1305"/>
                <a:gd name="T9" fmla="*/ 523 h 682"/>
                <a:gd name="T10" fmla="*/ 5 w 1305"/>
                <a:gd name="T11" fmla="*/ 528 h 682"/>
                <a:gd name="T12" fmla="*/ 5 w 1305"/>
                <a:gd name="T13" fmla="*/ 489 h 682"/>
                <a:gd name="T14" fmla="*/ 5 w 1305"/>
                <a:gd name="T15" fmla="*/ 427 h 682"/>
                <a:gd name="T16" fmla="*/ 5 w 1305"/>
                <a:gd name="T17" fmla="*/ 406 h 682"/>
                <a:gd name="T18" fmla="*/ 5 w 1305"/>
                <a:gd name="T19" fmla="*/ 381 h 682"/>
                <a:gd name="T20" fmla="*/ 5 w 1305"/>
                <a:gd name="T21" fmla="*/ 273 h 682"/>
                <a:gd name="T22" fmla="*/ 5 w 1305"/>
                <a:gd name="T23" fmla="*/ 320 h 682"/>
                <a:gd name="T24" fmla="*/ 5 w 1305"/>
                <a:gd name="T25" fmla="*/ 247 h 682"/>
                <a:gd name="T26" fmla="*/ 5 w 1305"/>
                <a:gd name="T27" fmla="*/ 242 h 682"/>
                <a:gd name="T28" fmla="*/ 5 w 1305"/>
                <a:gd name="T29" fmla="*/ 289 h 682"/>
                <a:gd name="T30" fmla="*/ 5 w 1305"/>
                <a:gd name="T31" fmla="*/ 396 h 682"/>
                <a:gd name="T32" fmla="*/ 5 w 1305"/>
                <a:gd name="T33" fmla="*/ 432 h 682"/>
                <a:gd name="T34" fmla="*/ 5 w 1305"/>
                <a:gd name="T35" fmla="*/ 346 h 682"/>
                <a:gd name="T36" fmla="*/ 5 w 1305"/>
                <a:gd name="T37" fmla="*/ 259 h 682"/>
                <a:gd name="T38" fmla="*/ 5 w 1305"/>
                <a:gd name="T39" fmla="*/ 197 h 682"/>
                <a:gd name="T40" fmla="*/ 5 w 1305"/>
                <a:gd name="T41" fmla="*/ 147 h 682"/>
                <a:gd name="T42" fmla="*/ 5 w 1305"/>
                <a:gd name="T43" fmla="*/ 125 h 682"/>
                <a:gd name="T44" fmla="*/ 5 w 1305"/>
                <a:gd name="T45" fmla="*/ 85 h 682"/>
                <a:gd name="T46" fmla="*/ 5 w 1305"/>
                <a:gd name="T47" fmla="*/ 121 h 682"/>
                <a:gd name="T48" fmla="*/ 5 w 1305"/>
                <a:gd name="T49" fmla="*/ 88 h 682"/>
                <a:gd name="T50" fmla="*/ 5 w 1305"/>
                <a:gd name="T51" fmla="*/ 37 h 682"/>
                <a:gd name="T52" fmla="*/ 5 w 1305"/>
                <a:gd name="T53" fmla="*/ 0 h 682"/>
                <a:gd name="T54" fmla="*/ 5 w 1305"/>
                <a:gd name="T55" fmla="*/ 82 h 682"/>
                <a:gd name="T56" fmla="*/ 5 w 1305"/>
                <a:gd name="T57" fmla="*/ 128 h 682"/>
                <a:gd name="T58" fmla="*/ 5 w 1305"/>
                <a:gd name="T59" fmla="*/ 91 h 682"/>
                <a:gd name="T60" fmla="*/ 5 w 1305"/>
                <a:gd name="T61" fmla="*/ 124 h 682"/>
                <a:gd name="T62" fmla="*/ 5 w 1305"/>
                <a:gd name="T63" fmla="*/ 112 h 682"/>
                <a:gd name="T64" fmla="*/ 5 w 1305"/>
                <a:gd name="T65" fmla="*/ 124 h 682"/>
                <a:gd name="T66" fmla="*/ 5 w 1305"/>
                <a:gd name="T67" fmla="*/ 94 h 682"/>
                <a:gd name="T68" fmla="*/ 5 w 1305"/>
                <a:gd name="T69" fmla="*/ 90 h 682"/>
                <a:gd name="T70" fmla="*/ 5 w 1305"/>
                <a:gd name="T71" fmla="*/ 77 h 682"/>
                <a:gd name="T72" fmla="*/ 5 w 1305"/>
                <a:gd name="T73" fmla="*/ 90 h 682"/>
                <a:gd name="T74" fmla="*/ 1 w 1305"/>
                <a:gd name="T75" fmla="*/ 271 h 682"/>
                <a:gd name="T76" fmla="*/ 5 w 1305"/>
                <a:gd name="T77" fmla="*/ 301 h 682"/>
                <a:gd name="T78" fmla="*/ 5 w 1305"/>
                <a:gd name="T79" fmla="*/ 352 h 682"/>
                <a:gd name="T80" fmla="*/ 5 w 1305"/>
                <a:gd name="T81" fmla="*/ 440 h 682"/>
                <a:gd name="T82" fmla="*/ 5 w 1305"/>
                <a:gd name="T83" fmla="*/ 520 h 682"/>
                <a:gd name="T84" fmla="*/ 5 w 1305"/>
                <a:gd name="T85" fmla="*/ 541 h 682"/>
                <a:gd name="T86" fmla="*/ 5 w 1305"/>
                <a:gd name="T87" fmla="*/ 544 h 682"/>
                <a:gd name="T88" fmla="*/ 5 w 1305"/>
                <a:gd name="T89" fmla="*/ 580 h 682"/>
                <a:gd name="T90" fmla="*/ 5 w 1305"/>
                <a:gd name="T91" fmla="*/ 605 h 682"/>
                <a:gd name="T92" fmla="*/ 5 w 1305"/>
                <a:gd name="T93" fmla="*/ 682 h 682"/>
                <a:gd name="T94" fmla="*/ 5 w 1305"/>
                <a:gd name="T95" fmla="*/ 649 h 682"/>
                <a:gd name="T96" fmla="*/ 5 w 1305"/>
                <a:gd name="T97" fmla="*/ 609 h 682"/>
                <a:gd name="T98" fmla="*/ 5 w 1305"/>
                <a:gd name="T99" fmla="*/ 562 h 68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05"/>
                <a:gd name="T151" fmla="*/ 0 h 682"/>
                <a:gd name="T152" fmla="*/ 1305 w 1305"/>
                <a:gd name="T153" fmla="*/ 682 h 68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05" h="682">
                  <a:moveTo>
                    <a:pt x="1037" y="605"/>
                  </a:moveTo>
                  <a:lnTo>
                    <a:pt x="1080" y="594"/>
                  </a:lnTo>
                  <a:lnTo>
                    <a:pt x="1077" y="601"/>
                  </a:lnTo>
                  <a:lnTo>
                    <a:pt x="1089" y="600"/>
                  </a:lnTo>
                  <a:lnTo>
                    <a:pt x="1044" y="629"/>
                  </a:lnTo>
                  <a:lnTo>
                    <a:pt x="1050" y="644"/>
                  </a:lnTo>
                  <a:lnTo>
                    <a:pt x="1083" y="621"/>
                  </a:lnTo>
                  <a:lnTo>
                    <a:pt x="1143" y="605"/>
                  </a:lnTo>
                  <a:lnTo>
                    <a:pt x="1174" y="586"/>
                  </a:lnTo>
                  <a:lnTo>
                    <a:pt x="1164" y="579"/>
                  </a:lnTo>
                  <a:lnTo>
                    <a:pt x="1166" y="563"/>
                  </a:lnTo>
                  <a:lnTo>
                    <a:pt x="1142" y="592"/>
                  </a:lnTo>
                  <a:lnTo>
                    <a:pt x="1109" y="592"/>
                  </a:lnTo>
                  <a:lnTo>
                    <a:pt x="1090" y="580"/>
                  </a:lnTo>
                  <a:lnTo>
                    <a:pt x="1089" y="569"/>
                  </a:lnTo>
                  <a:lnTo>
                    <a:pt x="1098" y="548"/>
                  </a:lnTo>
                  <a:lnTo>
                    <a:pt x="1083" y="551"/>
                  </a:lnTo>
                  <a:lnTo>
                    <a:pt x="1074" y="539"/>
                  </a:lnTo>
                  <a:lnTo>
                    <a:pt x="1115" y="531"/>
                  </a:lnTo>
                  <a:lnTo>
                    <a:pt x="1118" y="523"/>
                  </a:lnTo>
                  <a:lnTo>
                    <a:pt x="1105" y="514"/>
                  </a:lnTo>
                  <a:lnTo>
                    <a:pt x="1037" y="532"/>
                  </a:lnTo>
                  <a:lnTo>
                    <a:pt x="977" y="568"/>
                  </a:lnTo>
                  <a:lnTo>
                    <a:pt x="1027" y="528"/>
                  </a:lnTo>
                  <a:lnTo>
                    <a:pt x="1056" y="512"/>
                  </a:lnTo>
                  <a:lnTo>
                    <a:pt x="1068" y="512"/>
                  </a:lnTo>
                  <a:lnTo>
                    <a:pt x="1085" y="495"/>
                  </a:lnTo>
                  <a:lnTo>
                    <a:pt x="1136" y="489"/>
                  </a:lnTo>
                  <a:lnTo>
                    <a:pt x="1205" y="493"/>
                  </a:lnTo>
                  <a:lnTo>
                    <a:pt x="1238" y="471"/>
                  </a:lnTo>
                  <a:lnTo>
                    <a:pt x="1297" y="451"/>
                  </a:lnTo>
                  <a:lnTo>
                    <a:pt x="1305" y="427"/>
                  </a:lnTo>
                  <a:lnTo>
                    <a:pt x="1297" y="417"/>
                  </a:lnTo>
                  <a:lnTo>
                    <a:pt x="1285" y="417"/>
                  </a:lnTo>
                  <a:lnTo>
                    <a:pt x="1288" y="407"/>
                  </a:lnTo>
                  <a:lnTo>
                    <a:pt x="1271" y="406"/>
                  </a:lnTo>
                  <a:lnTo>
                    <a:pt x="1289" y="398"/>
                  </a:lnTo>
                  <a:lnTo>
                    <a:pt x="1267" y="391"/>
                  </a:lnTo>
                  <a:lnTo>
                    <a:pt x="1266" y="384"/>
                  </a:lnTo>
                  <a:lnTo>
                    <a:pt x="1248" y="381"/>
                  </a:lnTo>
                  <a:lnTo>
                    <a:pt x="1249" y="373"/>
                  </a:lnTo>
                  <a:lnTo>
                    <a:pt x="1234" y="360"/>
                  </a:lnTo>
                  <a:lnTo>
                    <a:pt x="1250" y="343"/>
                  </a:lnTo>
                  <a:lnTo>
                    <a:pt x="1232" y="273"/>
                  </a:lnTo>
                  <a:lnTo>
                    <a:pt x="1210" y="286"/>
                  </a:lnTo>
                  <a:lnTo>
                    <a:pt x="1211" y="293"/>
                  </a:lnTo>
                  <a:lnTo>
                    <a:pt x="1200" y="301"/>
                  </a:lnTo>
                  <a:lnTo>
                    <a:pt x="1156" y="320"/>
                  </a:lnTo>
                  <a:lnTo>
                    <a:pt x="1141" y="296"/>
                  </a:lnTo>
                  <a:lnTo>
                    <a:pt x="1160" y="261"/>
                  </a:lnTo>
                  <a:lnTo>
                    <a:pt x="1129" y="254"/>
                  </a:lnTo>
                  <a:lnTo>
                    <a:pt x="1137" y="247"/>
                  </a:lnTo>
                  <a:lnTo>
                    <a:pt x="1114" y="230"/>
                  </a:lnTo>
                  <a:lnTo>
                    <a:pt x="1056" y="229"/>
                  </a:lnTo>
                  <a:lnTo>
                    <a:pt x="1041" y="233"/>
                  </a:lnTo>
                  <a:lnTo>
                    <a:pt x="1035" y="242"/>
                  </a:lnTo>
                  <a:lnTo>
                    <a:pt x="1041" y="247"/>
                  </a:lnTo>
                  <a:lnTo>
                    <a:pt x="1021" y="265"/>
                  </a:lnTo>
                  <a:lnTo>
                    <a:pt x="1026" y="270"/>
                  </a:lnTo>
                  <a:lnTo>
                    <a:pt x="1016" y="289"/>
                  </a:lnTo>
                  <a:lnTo>
                    <a:pt x="984" y="306"/>
                  </a:lnTo>
                  <a:lnTo>
                    <a:pt x="997" y="317"/>
                  </a:lnTo>
                  <a:lnTo>
                    <a:pt x="980" y="366"/>
                  </a:lnTo>
                  <a:lnTo>
                    <a:pt x="915" y="396"/>
                  </a:lnTo>
                  <a:lnTo>
                    <a:pt x="904" y="449"/>
                  </a:lnTo>
                  <a:lnTo>
                    <a:pt x="870" y="467"/>
                  </a:lnTo>
                  <a:lnTo>
                    <a:pt x="868" y="475"/>
                  </a:lnTo>
                  <a:lnTo>
                    <a:pt x="846" y="432"/>
                  </a:lnTo>
                  <a:lnTo>
                    <a:pt x="875" y="387"/>
                  </a:lnTo>
                  <a:lnTo>
                    <a:pt x="830" y="381"/>
                  </a:lnTo>
                  <a:lnTo>
                    <a:pt x="759" y="339"/>
                  </a:lnTo>
                  <a:lnTo>
                    <a:pt x="732" y="346"/>
                  </a:lnTo>
                  <a:lnTo>
                    <a:pt x="747" y="309"/>
                  </a:lnTo>
                  <a:lnTo>
                    <a:pt x="725" y="309"/>
                  </a:lnTo>
                  <a:lnTo>
                    <a:pt x="726" y="300"/>
                  </a:lnTo>
                  <a:lnTo>
                    <a:pt x="766" y="259"/>
                  </a:lnTo>
                  <a:lnTo>
                    <a:pt x="811" y="237"/>
                  </a:lnTo>
                  <a:lnTo>
                    <a:pt x="818" y="226"/>
                  </a:lnTo>
                  <a:lnTo>
                    <a:pt x="855" y="220"/>
                  </a:lnTo>
                  <a:lnTo>
                    <a:pt x="881" y="197"/>
                  </a:lnTo>
                  <a:lnTo>
                    <a:pt x="904" y="197"/>
                  </a:lnTo>
                  <a:lnTo>
                    <a:pt x="943" y="178"/>
                  </a:lnTo>
                  <a:lnTo>
                    <a:pt x="977" y="153"/>
                  </a:lnTo>
                  <a:lnTo>
                    <a:pt x="971" y="147"/>
                  </a:lnTo>
                  <a:lnTo>
                    <a:pt x="992" y="146"/>
                  </a:lnTo>
                  <a:lnTo>
                    <a:pt x="1011" y="153"/>
                  </a:lnTo>
                  <a:lnTo>
                    <a:pt x="1060" y="138"/>
                  </a:lnTo>
                  <a:lnTo>
                    <a:pt x="1073" y="125"/>
                  </a:lnTo>
                  <a:lnTo>
                    <a:pt x="1057" y="121"/>
                  </a:lnTo>
                  <a:lnTo>
                    <a:pt x="1095" y="94"/>
                  </a:lnTo>
                  <a:lnTo>
                    <a:pt x="1077" y="91"/>
                  </a:lnTo>
                  <a:lnTo>
                    <a:pt x="1079" y="85"/>
                  </a:lnTo>
                  <a:lnTo>
                    <a:pt x="1044" y="82"/>
                  </a:lnTo>
                  <a:lnTo>
                    <a:pt x="1018" y="115"/>
                  </a:lnTo>
                  <a:lnTo>
                    <a:pt x="976" y="133"/>
                  </a:lnTo>
                  <a:lnTo>
                    <a:pt x="972" y="121"/>
                  </a:lnTo>
                  <a:lnTo>
                    <a:pt x="989" y="102"/>
                  </a:lnTo>
                  <a:lnTo>
                    <a:pt x="984" y="93"/>
                  </a:lnTo>
                  <a:lnTo>
                    <a:pt x="959" y="106"/>
                  </a:lnTo>
                  <a:lnTo>
                    <a:pt x="953" y="88"/>
                  </a:lnTo>
                  <a:lnTo>
                    <a:pt x="942" y="83"/>
                  </a:lnTo>
                  <a:lnTo>
                    <a:pt x="965" y="76"/>
                  </a:lnTo>
                  <a:lnTo>
                    <a:pt x="957" y="43"/>
                  </a:lnTo>
                  <a:lnTo>
                    <a:pt x="972" y="37"/>
                  </a:lnTo>
                  <a:lnTo>
                    <a:pt x="972" y="30"/>
                  </a:lnTo>
                  <a:lnTo>
                    <a:pt x="1005" y="27"/>
                  </a:lnTo>
                  <a:lnTo>
                    <a:pt x="1050" y="7"/>
                  </a:lnTo>
                  <a:lnTo>
                    <a:pt x="1015" y="0"/>
                  </a:lnTo>
                  <a:lnTo>
                    <a:pt x="970" y="11"/>
                  </a:lnTo>
                  <a:lnTo>
                    <a:pt x="942" y="45"/>
                  </a:lnTo>
                  <a:lnTo>
                    <a:pt x="891" y="71"/>
                  </a:lnTo>
                  <a:lnTo>
                    <a:pt x="896" y="82"/>
                  </a:lnTo>
                  <a:lnTo>
                    <a:pt x="913" y="90"/>
                  </a:lnTo>
                  <a:lnTo>
                    <a:pt x="896" y="98"/>
                  </a:lnTo>
                  <a:lnTo>
                    <a:pt x="892" y="107"/>
                  </a:lnTo>
                  <a:lnTo>
                    <a:pt x="851" y="128"/>
                  </a:lnTo>
                  <a:lnTo>
                    <a:pt x="843" y="121"/>
                  </a:lnTo>
                  <a:lnTo>
                    <a:pt x="851" y="110"/>
                  </a:lnTo>
                  <a:lnTo>
                    <a:pt x="878" y="102"/>
                  </a:lnTo>
                  <a:lnTo>
                    <a:pt x="875" y="91"/>
                  </a:lnTo>
                  <a:lnTo>
                    <a:pt x="863" y="82"/>
                  </a:lnTo>
                  <a:lnTo>
                    <a:pt x="823" y="98"/>
                  </a:lnTo>
                  <a:lnTo>
                    <a:pt x="839" y="106"/>
                  </a:lnTo>
                  <a:lnTo>
                    <a:pt x="811" y="124"/>
                  </a:lnTo>
                  <a:lnTo>
                    <a:pt x="767" y="123"/>
                  </a:lnTo>
                  <a:lnTo>
                    <a:pt x="737" y="111"/>
                  </a:lnTo>
                  <a:lnTo>
                    <a:pt x="731" y="100"/>
                  </a:lnTo>
                  <a:lnTo>
                    <a:pt x="669" y="112"/>
                  </a:lnTo>
                  <a:lnTo>
                    <a:pt x="681" y="117"/>
                  </a:lnTo>
                  <a:lnTo>
                    <a:pt x="668" y="125"/>
                  </a:lnTo>
                  <a:lnTo>
                    <a:pt x="645" y="117"/>
                  </a:lnTo>
                  <a:lnTo>
                    <a:pt x="598" y="124"/>
                  </a:lnTo>
                  <a:lnTo>
                    <a:pt x="566" y="121"/>
                  </a:lnTo>
                  <a:lnTo>
                    <a:pt x="594" y="112"/>
                  </a:lnTo>
                  <a:lnTo>
                    <a:pt x="595" y="104"/>
                  </a:lnTo>
                  <a:lnTo>
                    <a:pt x="544" y="94"/>
                  </a:lnTo>
                  <a:lnTo>
                    <a:pt x="521" y="82"/>
                  </a:lnTo>
                  <a:lnTo>
                    <a:pt x="497" y="82"/>
                  </a:lnTo>
                  <a:lnTo>
                    <a:pt x="479" y="90"/>
                  </a:lnTo>
                  <a:lnTo>
                    <a:pt x="468" y="90"/>
                  </a:lnTo>
                  <a:lnTo>
                    <a:pt x="480" y="78"/>
                  </a:lnTo>
                  <a:lnTo>
                    <a:pt x="453" y="90"/>
                  </a:lnTo>
                  <a:lnTo>
                    <a:pt x="445" y="87"/>
                  </a:lnTo>
                  <a:lnTo>
                    <a:pt x="450" y="77"/>
                  </a:lnTo>
                  <a:lnTo>
                    <a:pt x="442" y="67"/>
                  </a:lnTo>
                  <a:lnTo>
                    <a:pt x="403" y="82"/>
                  </a:lnTo>
                  <a:lnTo>
                    <a:pt x="407" y="74"/>
                  </a:lnTo>
                  <a:lnTo>
                    <a:pt x="334" y="90"/>
                  </a:lnTo>
                  <a:lnTo>
                    <a:pt x="311" y="88"/>
                  </a:lnTo>
                  <a:lnTo>
                    <a:pt x="280" y="102"/>
                  </a:lnTo>
                  <a:lnTo>
                    <a:pt x="231" y="84"/>
                  </a:lnTo>
                  <a:lnTo>
                    <a:pt x="1" y="271"/>
                  </a:lnTo>
                  <a:lnTo>
                    <a:pt x="0" y="276"/>
                  </a:lnTo>
                  <a:lnTo>
                    <a:pt x="26" y="273"/>
                  </a:lnTo>
                  <a:lnTo>
                    <a:pt x="20" y="279"/>
                  </a:lnTo>
                  <a:lnTo>
                    <a:pt x="28" y="301"/>
                  </a:lnTo>
                  <a:lnTo>
                    <a:pt x="75" y="286"/>
                  </a:lnTo>
                  <a:lnTo>
                    <a:pt x="71" y="304"/>
                  </a:lnTo>
                  <a:lnTo>
                    <a:pt x="77" y="309"/>
                  </a:lnTo>
                  <a:lnTo>
                    <a:pt x="64" y="352"/>
                  </a:lnTo>
                  <a:lnTo>
                    <a:pt x="82" y="368"/>
                  </a:lnTo>
                  <a:lnTo>
                    <a:pt x="62" y="389"/>
                  </a:lnTo>
                  <a:lnTo>
                    <a:pt x="30" y="410"/>
                  </a:lnTo>
                  <a:lnTo>
                    <a:pt x="31" y="440"/>
                  </a:lnTo>
                  <a:lnTo>
                    <a:pt x="40" y="446"/>
                  </a:lnTo>
                  <a:lnTo>
                    <a:pt x="31" y="471"/>
                  </a:lnTo>
                  <a:lnTo>
                    <a:pt x="57" y="488"/>
                  </a:lnTo>
                  <a:lnTo>
                    <a:pt x="82" y="520"/>
                  </a:lnTo>
                  <a:lnTo>
                    <a:pt x="567" y="520"/>
                  </a:lnTo>
                  <a:lnTo>
                    <a:pt x="579" y="510"/>
                  </a:lnTo>
                  <a:lnTo>
                    <a:pt x="583" y="526"/>
                  </a:lnTo>
                  <a:lnTo>
                    <a:pt x="655" y="541"/>
                  </a:lnTo>
                  <a:lnTo>
                    <a:pt x="653" y="543"/>
                  </a:lnTo>
                  <a:lnTo>
                    <a:pt x="697" y="520"/>
                  </a:lnTo>
                  <a:lnTo>
                    <a:pt x="722" y="524"/>
                  </a:lnTo>
                  <a:lnTo>
                    <a:pt x="726" y="544"/>
                  </a:lnTo>
                  <a:lnTo>
                    <a:pt x="741" y="544"/>
                  </a:lnTo>
                  <a:lnTo>
                    <a:pt x="733" y="575"/>
                  </a:lnTo>
                  <a:lnTo>
                    <a:pt x="738" y="580"/>
                  </a:lnTo>
                  <a:lnTo>
                    <a:pt x="737" y="580"/>
                  </a:lnTo>
                  <a:lnTo>
                    <a:pt x="795" y="589"/>
                  </a:lnTo>
                  <a:lnTo>
                    <a:pt x="803" y="613"/>
                  </a:lnTo>
                  <a:lnTo>
                    <a:pt x="793" y="621"/>
                  </a:lnTo>
                  <a:lnTo>
                    <a:pt x="773" y="605"/>
                  </a:lnTo>
                  <a:lnTo>
                    <a:pt x="750" y="648"/>
                  </a:lnTo>
                  <a:lnTo>
                    <a:pt x="736" y="653"/>
                  </a:lnTo>
                  <a:lnTo>
                    <a:pt x="737" y="653"/>
                  </a:lnTo>
                  <a:lnTo>
                    <a:pt x="708" y="682"/>
                  </a:lnTo>
                  <a:lnTo>
                    <a:pt x="748" y="665"/>
                  </a:lnTo>
                  <a:lnTo>
                    <a:pt x="800" y="659"/>
                  </a:lnTo>
                  <a:lnTo>
                    <a:pt x="799" y="648"/>
                  </a:lnTo>
                  <a:lnTo>
                    <a:pt x="787" y="649"/>
                  </a:lnTo>
                  <a:lnTo>
                    <a:pt x="796" y="640"/>
                  </a:lnTo>
                  <a:lnTo>
                    <a:pt x="844" y="635"/>
                  </a:lnTo>
                  <a:lnTo>
                    <a:pt x="864" y="625"/>
                  </a:lnTo>
                  <a:lnTo>
                    <a:pt x="892" y="609"/>
                  </a:lnTo>
                  <a:lnTo>
                    <a:pt x="949" y="609"/>
                  </a:lnTo>
                  <a:lnTo>
                    <a:pt x="972" y="602"/>
                  </a:lnTo>
                  <a:lnTo>
                    <a:pt x="1012" y="555"/>
                  </a:lnTo>
                  <a:lnTo>
                    <a:pt x="1038" y="562"/>
                  </a:lnTo>
                  <a:lnTo>
                    <a:pt x="1029" y="594"/>
                  </a:lnTo>
                  <a:lnTo>
                    <a:pt x="1038" y="605"/>
                  </a:lnTo>
                  <a:lnTo>
                    <a:pt x="1037" y="605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69" name="Freeform 26"/>
            <p:cNvSpPr>
              <a:spLocks noChangeAspect="1"/>
            </p:cNvSpPr>
            <p:nvPr/>
          </p:nvSpPr>
          <p:spPr bwMode="auto">
            <a:xfrm>
              <a:off x="953090" y="1318247"/>
              <a:ext cx="972431" cy="499367"/>
            </a:xfrm>
            <a:custGeom>
              <a:avLst/>
              <a:gdLst>
                <a:gd name="T0" fmla="*/ 5 w 771"/>
                <a:gd name="T1" fmla="*/ 222 h 348"/>
                <a:gd name="T2" fmla="*/ 5 w 771"/>
                <a:gd name="T3" fmla="*/ 225 h 348"/>
                <a:gd name="T4" fmla="*/ 5 w 771"/>
                <a:gd name="T5" fmla="*/ 232 h 348"/>
                <a:gd name="T6" fmla="*/ 5 w 771"/>
                <a:gd name="T7" fmla="*/ 255 h 348"/>
                <a:gd name="T8" fmla="*/ 5 w 771"/>
                <a:gd name="T9" fmla="*/ 314 h 348"/>
                <a:gd name="T10" fmla="*/ 5 w 771"/>
                <a:gd name="T11" fmla="*/ 338 h 348"/>
                <a:gd name="T12" fmla="*/ 5 w 771"/>
                <a:gd name="T13" fmla="*/ 316 h 348"/>
                <a:gd name="T14" fmla="*/ 5 w 771"/>
                <a:gd name="T15" fmla="*/ 306 h 348"/>
                <a:gd name="T16" fmla="*/ 5 w 771"/>
                <a:gd name="T17" fmla="*/ 341 h 348"/>
                <a:gd name="T18" fmla="*/ 5 w 771"/>
                <a:gd name="T19" fmla="*/ 304 h 348"/>
                <a:gd name="T20" fmla="*/ 5 w 771"/>
                <a:gd name="T21" fmla="*/ 296 h 348"/>
                <a:gd name="T22" fmla="*/ 5 w 771"/>
                <a:gd name="T23" fmla="*/ 292 h 348"/>
                <a:gd name="T24" fmla="*/ 5 w 771"/>
                <a:gd name="T25" fmla="*/ 290 h 348"/>
                <a:gd name="T26" fmla="*/ 5 w 771"/>
                <a:gd name="T27" fmla="*/ 263 h 348"/>
                <a:gd name="T28" fmla="*/ 5 w 771"/>
                <a:gd name="T29" fmla="*/ 308 h 348"/>
                <a:gd name="T30" fmla="*/ 5 w 771"/>
                <a:gd name="T31" fmla="*/ 239 h 348"/>
                <a:gd name="T32" fmla="*/ 5 w 771"/>
                <a:gd name="T33" fmla="*/ 233 h 348"/>
                <a:gd name="T34" fmla="*/ 5 w 771"/>
                <a:gd name="T35" fmla="*/ 208 h 348"/>
                <a:gd name="T36" fmla="*/ 5 w 771"/>
                <a:gd name="T37" fmla="*/ 228 h 348"/>
                <a:gd name="T38" fmla="*/ 5 w 771"/>
                <a:gd name="T39" fmla="*/ 211 h 348"/>
                <a:gd name="T40" fmla="*/ 5 w 771"/>
                <a:gd name="T41" fmla="*/ 200 h 348"/>
                <a:gd name="T42" fmla="*/ 5 w 771"/>
                <a:gd name="T43" fmla="*/ 246 h 348"/>
                <a:gd name="T44" fmla="*/ 5 w 771"/>
                <a:gd name="T45" fmla="*/ 258 h 348"/>
                <a:gd name="T46" fmla="*/ 5 w 771"/>
                <a:gd name="T47" fmla="*/ 312 h 348"/>
                <a:gd name="T48" fmla="*/ 5 w 771"/>
                <a:gd name="T49" fmla="*/ 278 h 348"/>
                <a:gd name="T50" fmla="*/ 5 w 771"/>
                <a:gd name="T51" fmla="*/ 259 h 348"/>
                <a:gd name="T52" fmla="*/ 5 w 771"/>
                <a:gd name="T53" fmla="*/ 252 h 348"/>
                <a:gd name="T54" fmla="*/ 5 w 771"/>
                <a:gd name="T55" fmla="*/ 233 h 348"/>
                <a:gd name="T56" fmla="*/ 5 w 771"/>
                <a:gd name="T57" fmla="*/ 164 h 348"/>
                <a:gd name="T58" fmla="*/ 5 w 771"/>
                <a:gd name="T59" fmla="*/ 126 h 348"/>
                <a:gd name="T60" fmla="*/ 5 w 771"/>
                <a:gd name="T61" fmla="*/ 133 h 348"/>
                <a:gd name="T62" fmla="*/ 5 w 771"/>
                <a:gd name="T63" fmla="*/ 116 h 348"/>
                <a:gd name="T64" fmla="*/ 5 w 771"/>
                <a:gd name="T65" fmla="*/ 93 h 348"/>
                <a:gd name="T66" fmla="*/ 5 w 771"/>
                <a:gd name="T67" fmla="*/ 102 h 348"/>
                <a:gd name="T68" fmla="*/ 5 w 771"/>
                <a:gd name="T69" fmla="*/ 80 h 348"/>
                <a:gd name="T70" fmla="*/ 5 w 771"/>
                <a:gd name="T71" fmla="*/ 57 h 348"/>
                <a:gd name="T72" fmla="*/ 5 w 771"/>
                <a:gd name="T73" fmla="*/ 42 h 348"/>
                <a:gd name="T74" fmla="*/ 5 w 771"/>
                <a:gd name="T75" fmla="*/ 0 h 348"/>
                <a:gd name="T76" fmla="*/ 5 w 771"/>
                <a:gd name="T77" fmla="*/ 8 h 348"/>
                <a:gd name="T78" fmla="*/ 5 w 771"/>
                <a:gd name="T79" fmla="*/ 16 h 348"/>
                <a:gd name="T80" fmla="*/ 5 w 771"/>
                <a:gd name="T81" fmla="*/ 30 h 34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71"/>
                <a:gd name="T124" fmla="*/ 0 h 348"/>
                <a:gd name="T125" fmla="*/ 771 w 771"/>
                <a:gd name="T126" fmla="*/ 348 h 34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71" h="348">
                  <a:moveTo>
                    <a:pt x="541" y="217"/>
                  </a:moveTo>
                  <a:lnTo>
                    <a:pt x="540" y="222"/>
                  </a:lnTo>
                  <a:lnTo>
                    <a:pt x="566" y="219"/>
                  </a:lnTo>
                  <a:lnTo>
                    <a:pt x="560" y="225"/>
                  </a:lnTo>
                  <a:lnTo>
                    <a:pt x="568" y="247"/>
                  </a:lnTo>
                  <a:lnTo>
                    <a:pt x="615" y="232"/>
                  </a:lnTo>
                  <a:lnTo>
                    <a:pt x="611" y="250"/>
                  </a:lnTo>
                  <a:lnTo>
                    <a:pt x="617" y="255"/>
                  </a:lnTo>
                  <a:lnTo>
                    <a:pt x="604" y="298"/>
                  </a:lnTo>
                  <a:lnTo>
                    <a:pt x="622" y="314"/>
                  </a:lnTo>
                  <a:lnTo>
                    <a:pt x="602" y="335"/>
                  </a:lnTo>
                  <a:lnTo>
                    <a:pt x="587" y="338"/>
                  </a:lnTo>
                  <a:lnTo>
                    <a:pt x="582" y="333"/>
                  </a:lnTo>
                  <a:lnTo>
                    <a:pt x="585" y="316"/>
                  </a:lnTo>
                  <a:lnTo>
                    <a:pt x="593" y="310"/>
                  </a:lnTo>
                  <a:lnTo>
                    <a:pt x="580" y="306"/>
                  </a:lnTo>
                  <a:lnTo>
                    <a:pt x="575" y="327"/>
                  </a:lnTo>
                  <a:lnTo>
                    <a:pt x="563" y="341"/>
                  </a:lnTo>
                  <a:lnTo>
                    <a:pt x="559" y="326"/>
                  </a:lnTo>
                  <a:lnTo>
                    <a:pt x="570" y="304"/>
                  </a:lnTo>
                  <a:lnTo>
                    <a:pt x="560" y="306"/>
                  </a:lnTo>
                  <a:lnTo>
                    <a:pt x="568" y="296"/>
                  </a:lnTo>
                  <a:lnTo>
                    <a:pt x="583" y="289"/>
                  </a:lnTo>
                  <a:lnTo>
                    <a:pt x="593" y="292"/>
                  </a:lnTo>
                  <a:lnTo>
                    <a:pt x="596" y="278"/>
                  </a:lnTo>
                  <a:lnTo>
                    <a:pt x="570" y="290"/>
                  </a:lnTo>
                  <a:lnTo>
                    <a:pt x="598" y="255"/>
                  </a:lnTo>
                  <a:lnTo>
                    <a:pt x="579" y="263"/>
                  </a:lnTo>
                  <a:lnTo>
                    <a:pt x="581" y="270"/>
                  </a:lnTo>
                  <a:lnTo>
                    <a:pt x="548" y="308"/>
                  </a:lnTo>
                  <a:lnTo>
                    <a:pt x="563" y="266"/>
                  </a:lnTo>
                  <a:lnTo>
                    <a:pt x="541" y="239"/>
                  </a:lnTo>
                  <a:lnTo>
                    <a:pt x="551" y="228"/>
                  </a:lnTo>
                  <a:lnTo>
                    <a:pt x="535" y="233"/>
                  </a:lnTo>
                  <a:lnTo>
                    <a:pt x="482" y="227"/>
                  </a:lnTo>
                  <a:lnTo>
                    <a:pt x="458" y="208"/>
                  </a:lnTo>
                  <a:lnTo>
                    <a:pt x="437" y="205"/>
                  </a:lnTo>
                  <a:lnTo>
                    <a:pt x="404" y="228"/>
                  </a:lnTo>
                  <a:lnTo>
                    <a:pt x="334" y="244"/>
                  </a:lnTo>
                  <a:lnTo>
                    <a:pt x="382" y="211"/>
                  </a:lnTo>
                  <a:lnTo>
                    <a:pt x="417" y="200"/>
                  </a:lnTo>
                  <a:lnTo>
                    <a:pt x="405" y="200"/>
                  </a:lnTo>
                  <a:lnTo>
                    <a:pt x="308" y="239"/>
                  </a:lnTo>
                  <a:lnTo>
                    <a:pt x="296" y="246"/>
                  </a:lnTo>
                  <a:lnTo>
                    <a:pt x="303" y="250"/>
                  </a:lnTo>
                  <a:lnTo>
                    <a:pt x="285" y="258"/>
                  </a:lnTo>
                  <a:lnTo>
                    <a:pt x="201" y="290"/>
                  </a:lnTo>
                  <a:lnTo>
                    <a:pt x="142" y="312"/>
                  </a:lnTo>
                  <a:lnTo>
                    <a:pt x="0" y="348"/>
                  </a:lnTo>
                  <a:lnTo>
                    <a:pt x="199" y="278"/>
                  </a:lnTo>
                  <a:lnTo>
                    <a:pt x="233" y="252"/>
                  </a:lnTo>
                  <a:lnTo>
                    <a:pt x="199" y="259"/>
                  </a:lnTo>
                  <a:lnTo>
                    <a:pt x="201" y="250"/>
                  </a:lnTo>
                  <a:lnTo>
                    <a:pt x="164" y="252"/>
                  </a:lnTo>
                  <a:lnTo>
                    <a:pt x="190" y="224"/>
                  </a:lnTo>
                  <a:lnTo>
                    <a:pt x="152" y="233"/>
                  </a:lnTo>
                  <a:lnTo>
                    <a:pt x="166" y="195"/>
                  </a:lnTo>
                  <a:lnTo>
                    <a:pt x="229" y="164"/>
                  </a:lnTo>
                  <a:lnTo>
                    <a:pt x="301" y="154"/>
                  </a:lnTo>
                  <a:lnTo>
                    <a:pt x="337" y="126"/>
                  </a:lnTo>
                  <a:lnTo>
                    <a:pt x="301" y="135"/>
                  </a:lnTo>
                  <a:lnTo>
                    <a:pt x="268" y="133"/>
                  </a:lnTo>
                  <a:lnTo>
                    <a:pt x="251" y="130"/>
                  </a:lnTo>
                  <a:lnTo>
                    <a:pt x="269" y="116"/>
                  </a:lnTo>
                  <a:lnTo>
                    <a:pt x="254" y="111"/>
                  </a:lnTo>
                  <a:lnTo>
                    <a:pt x="329" y="93"/>
                  </a:lnTo>
                  <a:lnTo>
                    <a:pt x="342" y="93"/>
                  </a:lnTo>
                  <a:lnTo>
                    <a:pt x="331" y="102"/>
                  </a:lnTo>
                  <a:lnTo>
                    <a:pt x="371" y="94"/>
                  </a:lnTo>
                  <a:lnTo>
                    <a:pt x="366" y="80"/>
                  </a:lnTo>
                  <a:lnTo>
                    <a:pt x="372" y="70"/>
                  </a:lnTo>
                  <a:lnTo>
                    <a:pt x="360" y="57"/>
                  </a:lnTo>
                  <a:lnTo>
                    <a:pt x="377" y="47"/>
                  </a:lnTo>
                  <a:lnTo>
                    <a:pt x="422" y="42"/>
                  </a:lnTo>
                  <a:lnTo>
                    <a:pt x="488" y="18"/>
                  </a:lnTo>
                  <a:lnTo>
                    <a:pt x="593" y="0"/>
                  </a:lnTo>
                  <a:lnTo>
                    <a:pt x="609" y="4"/>
                  </a:lnTo>
                  <a:lnTo>
                    <a:pt x="608" y="8"/>
                  </a:lnTo>
                  <a:lnTo>
                    <a:pt x="634" y="8"/>
                  </a:lnTo>
                  <a:lnTo>
                    <a:pt x="638" y="16"/>
                  </a:lnTo>
                  <a:lnTo>
                    <a:pt x="753" y="23"/>
                  </a:lnTo>
                  <a:lnTo>
                    <a:pt x="771" y="30"/>
                  </a:lnTo>
                  <a:lnTo>
                    <a:pt x="541" y="217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70" name="Freeform 27"/>
            <p:cNvSpPr>
              <a:spLocks noChangeAspect="1"/>
            </p:cNvSpPr>
            <p:nvPr/>
          </p:nvSpPr>
          <p:spPr bwMode="auto">
            <a:xfrm>
              <a:off x="1609760" y="2520745"/>
              <a:ext cx="663656" cy="595509"/>
            </a:xfrm>
            <a:custGeom>
              <a:avLst/>
              <a:gdLst>
                <a:gd name="T0" fmla="*/ 2 w 527"/>
                <a:gd name="T1" fmla="*/ 68 h 415"/>
                <a:gd name="T2" fmla="*/ 5 w 527"/>
                <a:gd name="T3" fmla="*/ 113 h 415"/>
                <a:gd name="T4" fmla="*/ 5 w 527"/>
                <a:gd name="T5" fmla="*/ 126 h 415"/>
                <a:gd name="T6" fmla="*/ 5 w 527"/>
                <a:gd name="T7" fmla="*/ 160 h 415"/>
                <a:gd name="T8" fmla="*/ 5 w 527"/>
                <a:gd name="T9" fmla="*/ 210 h 415"/>
                <a:gd name="T10" fmla="*/ 5 w 527"/>
                <a:gd name="T11" fmla="*/ 213 h 415"/>
                <a:gd name="T12" fmla="*/ 5 w 527"/>
                <a:gd name="T13" fmla="*/ 193 h 415"/>
                <a:gd name="T14" fmla="*/ 5 w 527"/>
                <a:gd name="T15" fmla="*/ 57 h 415"/>
                <a:gd name="T16" fmla="*/ 5 w 527"/>
                <a:gd name="T17" fmla="*/ 24 h 415"/>
                <a:gd name="T18" fmla="*/ 5 w 527"/>
                <a:gd name="T19" fmla="*/ 84 h 415"/>
                <a:gd name="T20" fmla="*/ 5 w 527"/>
                <a:gd name="T21" fmla="*/ 109 h 415"/>
                <a:gd name="T22" fmla="*/ 5 w 527"/>
                <a:gd name="T23" fmla="*/ 145 h 415"/>
                <a:gd name="T24" fmla="*/ 5 w 527"/>
                <a:gd name="T25" fmla="*/ 170 h 415"/>
                <a:gd name="T26" fmla="*/ 5 w 527"/>
                <a:gd name="T27" fmla="*/ 256 h 415"/>
                <a:gd name="T28" fmla="*/ 5 w 527"/>
                <a:gd name="T29" fmla="*/ 295 h 415"/>
                <a:gd name="T30" fmla="*/ 5 w 527"/>
                <a:gd name="T31" fmla="*/ 336 h 415"/>
                <a:gd name="T32" fmla="*/ 5 w 527"/>
                <a:gd name="T33" fmla="*/ 381 h 415"/>
                <a:gd name="T34" fmla="*/ 5 w 527"/>
                <a:gd name="T35" fmla="*/ 378 h 415"/>
                <a:gd name="T36" fmla="*/ 5 w 527"/>
                <a:gd name="T37" fmla="*/ 415 h 415"/>
                <a:gd name="T38" fmla="*/ 5 w 527"/>
                <a:gd name="T39" fmla="*/ 373 h 415"/>
                <a:gd name="T40" fmla="*/ 5 w 527"/>
                <a:gd name="T41" fmla="*/ 339 h 415"/>
                <a:gd name="T42" fmla="*/ 5 w 527"/>
                <a:gd name="T43" fmla="*/ 326 h 415"/>
                <a:gd name="T44" fmla="*/ 5 w 527"/>
                <a:gd name="T45" fmla="*/ 338 h 415"/>
                <a:gd name="T46" fmla="*/ 5 w 527"/>
                <a:gd name="T47" fmla="*/ 259 h 415"/>
                <a:gd name="T48" fmla="*/ 5 w 527"/>
                <a:gd name="T49" fmla="*/ 263 h 415"/>
                <a:gd name="T50" fmla="*/ 5 w 527"/>
                <a:gd name="T51" fmla="*/ 308 h 415"/>
                <a:gd name="T52" fmla="*/ 5 w 527"/>
                <a:gd name="T53" fmla="*/ 322 h 415"/>
                <a:gd name="T54" fmla="*/ 5 w 527"/>
                <a:gd name="T55" fmla="*/ 321 h 415"/>
                <a:gd name="T56" fmla="*/ 5 w 527"/>
                <a:gd name="T57" fmla="*/ 308 h 415"/>
                <a:gd name="T58" fmla="*/ 5 w 527"/>
                <a:gd name="T59" fmla="*/ 190 h 415"/>
                <a:gd name="T60" fmla="*/ 5 w 527"/>
                <a:gd name="T61" fmla="*/ 143 h 415"/>
                <a:gd name="T62" fmla="*/ 5 w 527"/>
                <a:gd name="T63" fmla="*/ 65 h 415"/>
                <a:gd name="T64" fmla="*/ 5 w 527"/>
                <a:gd name="T65" fmla="*/ 81 h 415"/>
                <a:gd name="T66" fmla="*/ 5 w 527"/>
                <a:gd name="T67" fmla="*/ 46 h 415"/>
                <a:gd name="T68" fmla="*/ 5 w 527"/>
                <a:gd name="T69" fmla="*/ 31 h 415"/>
                <a:gd name="T70" fmla="*/ 0 w 527"/>
                <a:gd name="T71" fmla="*/ 5 h 41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27"/>
                <a:gd name="T109" fmla="*/ 0 h 415"/>
                <a:gd name="T110" fmla="*/ 527 w 527"/>
                <a:gd name="T111" fmla="*/ 415 h 41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27" h="415">
                  <a:moveTo>
                    <a:pt x="0" y="5"/>
                  </a:moveTo>
                  <a:lnTo>
                    <a:pt x="2" y="68"/>
                  </a:lnTo>
                  <a:lnTo>
                    <a:pt x="25" y="97"/>
                  </a:lnTo>
                  <a:lnTo>
                    <a:pt x="13" y="113"/>
                  </a:lnTo>
                  <a:lnTo>
                    <a:pt x="2" y="110"/>
                  </a:lnTo>
                  <a:lnTo>
                    <a:pt x="10" y="126"/>
                  </a:lnTo>
                  <a:lnTo>
                    <a:pt x="43" y="149"/>
                  </a:lnTo>
                  <a:lnTo>
                    <a:pt x="46" y="160"/>
                  </a:lnTo>
                  <a:lnTo>
                    <a:pt x="36" y="179"/>
                  </a:lnTo>
                  <a:lnTo>
                    <a:pt x="69" y="210"/>
                  </a:lnTo>
                  <a:lnTo>
                    <a:pt x="72" y="225"/>
                  </a:lnTo>
                  <a:lnTo>
                    <a:pt x="87" y="213"/>
                  </a:lnTo>
                  <a:lnTo>
                    <a:pt x="76" y="193"/>
                  </a:lnTo>
                  <a:lnTo>
                    <a:pt x="67" y="193"/>
                  </a:lnTo>
                  <a:lnTo>
                    <a:pt x="61" y="141"/>
                  </a:lnTo>
                  <a:lnTo>
                    <a:pt x="25" y="57"/>
                  </a:lnTo>
                  <a:lnTo>
                    <a:pt x="36" y="20"/>
                  </a:lnTo>
                  <a:lnTo>
                    <a:pt x="53" y="24"/>
                  </a:lnTo>
                  <a:lnTo>
                    <a:pt x="64" y="34"/>
                  </a:lnTo>
                  <a:lnTo>
                    <a:pt x="65" y="84"/>
                  </a:lnTo>
                  <a:lnTo>
                    <a:pt x="78" y="107"/>
                  </a:lnTo>
                  <a:lnTo>
                    <a:pt x="88" y="109"/>
                  </a:lnTo>
                  <a:lnTo>
                    <a:pt x="86" y="120"/>
                  </a:lnTo>
                  <a:lnTo>
                    <a:pt x="105" y="145"/>
                  </a:lnTo>
                  <a:lnTo>
                    <a:pt x="98" y="159"/>
                  </a:lnTo>
                  <a:lnTo>
                    <a:pt x="117" y="170"/>
                  </a:lnTo>
                  <a:lnTo>
                    <a:pt x="156" y="235"/>
                  </a:lnTo>
                  <a:lnTo>
                    <a:pt x="162" y="256"/>
                  </a:lnTo>
                  <a:lnTo>
                    <a:pt x="148" y="282"/>
                  </a:lnTo>
                  <a:lnTo>
                    <a:pt x="152" y="295"/>
                  </a:lnTo>
                  <a:lnTo>
                    <a:pt x="183" y="329"/>
                  </a:lnTo>
                  <a:lnTo>
                    <a:pt x="212" y="336"/>
                  </a:lnTo>
                  <a:lnTo>
                    <a:pt x="229" y="354"/>
                  </a:lnTo>
                  <a:lnTo>
                    <a:pt x="286" y="381"/>
                  </a:lnTo>
                  <a:lnTo>
                    <a:pt x="320" y="390"/>
                  </a:lnTo>
                  <a:lnTo>
                    <a:pt x="344" y="378"/>
                  </a:lnTo>
                  <a:lnTo>
                    <a:pt x="361" y="381"/>
                  </a:lnTo>
                  <a:lnTo>
                    <a:pt x="397" y="415"/>
                  </a:lnTo>
                  <a:lnTo>
                    <a:pt x="418" y="379"/>
                  </a:lnTo>
                  <a:lnTo>
                    <a:pt x="437" y="373"/>
                  </a:lnTo>
                  <a:lnTo>
                    <a:pt x="425" y="350"/>
                  </a:lnTo>
                  <a:lnTo>
                    <a:pt x="438" y="339"/>
                  </a:lnTo>
                  <a:lnTo>
                    <a:pt x="468" y="338"/>
                  </a:lnTo>
                  <a:lnTo>
                    <a:pt x="486" y="326"/>
                  </a:lnTo>
                  <a:lnTo>
                    <a:pt x="487" y="325"/>
                  </a:lnTo>
                  <a:lnTo>
                    <a:pt x="494" y="338"/>
                  </a:lnTo>
                  <a:lnTo>
                    <a:pt x="500" y="326"/>
                  </a:lnTo>
                  <a:lnTo>
                    <a:pt x="527" y="259"/>
                  </a:lnTo>
                  <a:lnTo>
                    <a:pt x="505" y="255"/>
                  </a:lnTo>
                  <a:lnTo>
                    <a:pt x="464" y="263"/>
                  </a:lnTo>
                  <a:lnTo>
                    <a:pt x="457" y="267"/>
                  </a:lnTo>
                  <a:lnTo>
                    <a:pt x="443" y="308"/>
                  </a:lnTo>
                  <a:lnTo>
                    <a:pt x="429" y="318"/>
                  </a:lnTo>
                  <a:lnTo>
                    <a:pt x="430" y="322"/>
                  </a:lnTo>
                  <a:lnTo>
                    <a:pt x="418" y="326"/>
                  </a:lnTo>
                  <a:lnTo>
                    <a:pt x="407" y="321"/>
                  </a:lnTo>
                  <a:lnTo>
                    <a:pt x="363" y="332"/>
                  </a:lnTo>
                  <a:lnTo>
                    <a:pt x="334" y="308"/>
                  </a:lnTo>
                  <a:lnTo>
                    <a:pt x="311" y="235"/>
                  </a:lnTo>
                  <a:lnTo>
                    <a:pt x="322" y="190"/>
                  </a:lnTo>
                  <a:lnTo>
                    <a:pt x="343" y="155"/>
                  </a:lnTo>
                  <a:lnTo>
                    <a:pt x="307" y="143"/>
                  </a:lnTo>
                  <a:lnTo>
                    <a:pt x="281" y="67"/>
                  </a:lnTo>
                  <a:lnTo>
                    <a:pt x="258" y="65"/>
                  </a:lnTo>
                  <a:lnTo>
                    <a:pt x="241" y="82"/>
                  </a:lnTo>
                  <a:lnTo>
                    <a:pt x="230" y="81"/>
                  </a:lnTo>
                  <a:lnTo>
                    <a:pt x="217" y="65"/>
                  </a:lnTo>
                  <a:lnTo>
                    <a:pt x="217" y="46"/>
                  </a:lnTo>
                  <a:lnTo>
                    <a:pt x="198" y="22"/>
                  </a:lnTo>
                  <a:lnTo>
                    <a:pt x="105" y="31"/>
                  </a:lnTo>
                  <a:lnTo>
                    <a:pt x="41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71" name="Freeform 28"/>
            <p:cNvSpPr>
              <a:spLocks noChangeAspect="1"/>
            </p:cNvSpPr>
            <p:nvPr/>
          </p:nvSpPr>
          <p:spPr bwMode="auto">
            <a:xfrm>
              <a:off x="2111345" y="3005762"/>
              <a:ext cx="100596" cy="137756"/>
            </a:xfrm>
            <a:custGeom>
              <a:avLst/>
              <a:gdLst>
                <a:gd name="T0" fmla="*/ 4 w 81"/>
                <a:gd name="T1" fmla="*/ 79 h 96"/>
                <a:gd name="T2" fmla="*/ 4 w 81"/>
                <a:gd name="T3" fmla="*/ 95 h 96"/>
                <a:gd name="T4" fmla="*/ 4 w 81"/>
                <a:gd name="T5" fmla="*/ 96 h 96"/>
                <a:gd name="T6" fmla="*/ 4 w 81"/>
                <a:gd name="T7" fmla="*/ 83 h 96"/>
                <a:gd name="T8" fmla="*/ 0 w 81"/>
                <a:gd name="T9" fmla="*/ 77 h 96"/>
                <a:gd name="T10" fmla="*/ 4 w 81"/>
                <a:gd name="T11" fmla="*/ 41 h 96"/>
                <a:gd name="T12" fmla="*/ 4 w 81"/>
                <a:gd name="T13" fmla="*/ 35 h 96"/>
                <a:gd name="T14" fmla="*/ 4 w 81"/>
                <a:gd name="T15" fmla="*/ 12 h 96"/>
                <a:gd name="T16" fmla="*/ 4 w 81"/>
                <a:gd name="T17" fmla="*/ 1 h 96"/>
                <a:gd name="T18" fmla="*/ 4 w 81"/>
                <a:gd name="T19" fmla="*/ 0 h 96"/>
                <a:gd name="T20" fmla="*/ 4 w 81"/>
                <a:gd name="T21" fmla="*/ 39 h 96"/>
                <a:gd name="T22" fmla="*/ 4 w 81"/>
                <a:gd name="T23" fmla="*/ 44 h 96"/>
                <a:gd name="T24" fmla="*/ 4 w 81"/>
                <a:gd name="T25" fmla="*/ 50 h 96"/>
                <a:gd name="T26" fmla="*/ 4 w 81"/>
                <a:gd name="T27" fmla="*/ 79 h 9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1"/>
                <a:gd name="T43" fmla="*/ 0 h 96"/>
                <a:gd name="T44" fmla="*/ 81 w 81"/>
                <a:gd name="T45" fmla="*/ 96 h 9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1" h="96">
                  <a:moveTo>
                    <a:pt x="56" y="79"/>
                  </a:moveTo>
                  <a:lnTo>
                    <a:pt x="43" y="95"/>
                  </a:lnTo>
                  <a:lnTo>
                    <a:pt x="43" y="96"/>
                  </a:lnTo>
                  <a:lnTo>
                    <a:pt x="5" y="83"/>
                  </a:lnTo>
                  <a:lnTo>
                    <a:pt x="0" y="77"/>
                  </a:lnTo>
                  <a:lnTo>
                    <a:pt x="21" y="41"/>
                  </a:lnTo>
                  <a:lnTo>
                    <a:pt x="40" y="35"/>
                  </a:lnTo>
                  <a:lnTo>
                    <a:pt x="28" y="12"/>
                  </a:lnTo>
                  <a:lnTo>
                    <a:pt x="41" y="1"/>
                  </a:lnTo>
                  <a:lnTo>
                    <a:pt x="71" y="0"/>
                  </a:lnTo>
                  <a:lnTo>
                    <a:pt x="64" y="39"/>
                  </a:lnTo>
                  <a:lnTo>
                    <a:pt x="69" y="44"/>
                  </a:lnTo>
                  <a:lnTo>
                    <a:pt x="81" y="50"/>
                  </a:lnTo>
                  <a:lnTo>
                    <a:pt x="56" y="7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72" name="Freeform 29"/>
            <p:cNvSpPr>
              <a:spLocks noChangeAspect="1"/>
            </p:cNvSpPr>
            <p:nvPr/>
          </p:nvSpPr>
          <p:spPr bwMode="auto">
            <a:xfrm>
              <a:off x="2163040" y="3119124"/>
              <a:ext cx="58681" cy="43049"/>
            </a:xfrm>
            <a:custGeom>
              <a:avLst/>
              <a:gdLst>
                <a:gd name="T0" fmla="*/ 7 w 45"/>
                <a:gd name="T1" fmla="*/ 16 h 30"/>
                <a:gd name="T2" fmla="*/ 7 w 45"/>
                <a:gd name="T3" fmla="*/ 0 h 30"/>
                <a:gd name="T4" fmla="*/ 0 w 45"/>
                <a:gd name="T5" fmla="*/ 16 h 30"/>
                <a:gd name="T6" fmla="*/ 0 w 45"/>
                <a:gd name="T7" fmla="*/ 17 h 30"/>
                <a:gd name="T8" fmla="*/ 5 w 45"/>
                <a:gd name="T9" fmla="*/ 24 h 30"/>
                <a:gd name="T10" fmla="*/ 7 w 45"/>
                <a:gd name="T11" fmla="*/ 30 h 30"/>
                <a:gd name="T12" fmla="*/ 7 w 45"/>
                <a:gd name="T13" fmla="*/ 24 h 30"/>
                <a:gd name="T14" fmla="*/ 7 w 45"/>
                <a:gd name="T15" fmla="*/ 16 h 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5"/>
                <a:gd name="T25" fmla="*/ 0 h 30"/>
                <a:gd name="T26" fmla="*/ 45 w 45"/>
                <a:gd name="T27" fmla="*/ 30 h 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5" h="30">
                  <a:moveTo>
                    <a:pt x="45" y="16"/>
                  </a:moveTo>
                  <a:lnTo>
                    <a:pt x="13" y="0"/>
                  </a:lnTo>
                  <a:lnTo>
                    <a:pt x="0" y="16"/>
                  </a:lnTo>
                  <a:lnTo>
                    <a:pt x="0" y="17"/>
                  </a:lnTo>
                  <a:lnTo>
                    <a:pt x="5" y="24"/>
                  </a:lnTo>
                  <a:lnTo>
                    <a:pt x="42" y="30"/>
                  </a:lnTo>
                  <a:lnTo>
                    <a:pt x="45" y="24"/>
                  </a:lnTo>
                  <a:lnTo>
                    <a:pt x="45" y="1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73" name="Freeform 30"/>
            <p:cNvSpPr>
              <a:spLocks noChangeAspect="1"/>
            </p:cNvSpPr>
            <p:nvPr/>
          </p:nvSpPr>
          <p:spPr bwMode="auto">
            <a:xfrm>
              <a:off x="2407545" y="3291320"/>
              <a:ext cx="12575" cy="17220"/>
            </a:xfrm>
            <a:custGeom>
              <a:avLst/>
              <a:gdLst>
                <a:gd name="T0" fmla="*/ 0 w 10"/>
                <a:gd name="T1" fmla="*/ 0 h 12"/>
                <a:gd name="T2" fmla="*/ 3 w 10"/>
                <a:gd name="T3" fmla="*/ 0 h 12"/>
                <a:gd name="T4" fmla="*/ 5 w 10"/>
                <a:gd name="T5" fmla="*/ 9 h 12"/>
                <a:gd name="T6" fmla="*/ 5 w 10"/>
                <a:gd name="T7" fmla="*/ 12 h 12"/>
                <a:gd name="T8" fmla="*/ 0 w 10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2"/>
                <a:gd name="T17" fmla="*/ 10 w 10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2">
                  <a:moveTo>
                    <a:pt x="0" y="0"/>
                  </a:moveTo>
                  <a:lnTo>
                    <a:pt x="3" y="0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74" name="Freeform 31"/>
            <p:cNvSpPr>
              <a:spLocks noChangeAspect="1"/>
            </p:cNvSpPr>
            <p:nvPr/>
          </p:nvSpPr>
          <p:spPr bwMode="auto">
            <a:xfrm>
              <a:off x="2410339" y="3281275"/>
              <a:ext cx="65667" cy="74618"/>
            </a:xfrm>
            <a:custGeom>
              <a:avLst/>
              <a:gdLst>
                <a:gd name="T0" fmla="*/ 5 w 52"/>
                <a:gd name="T1" fmla="*/ 23 h 52"/>
                <a:gd name="T2" fmla="*/ 5 w 52"/>
                <a:gd name="T3" fmla="*/ 5 h 52"/>
                <a:gd name="T4" fmla="*/ 5 w 52"/>
                <a:gd name="T5" fmla="*/ 0 h 52"/>
                <a:gd name="T6" fmla="*/ 0 w 52"/>
                <a:gd name="T7" fmla="*/ 7 h 52"/>
                <a:gd name="T8" fmla="*/ 5 w 52"/>
                <a:gd name="T9" fmla="*/ 16 h 52"/>
                <a:gd name="T10" fmla="*/ 5 w 52"/>
                <a:gd name="T11" fmla="*/ 28 h 52"/>
                <a:gd name="T12" fmla="*/ 5 w 52"/>
                <a:gd name="T13" fmla="*/ 36 h 52"/>
                <a:gd name="T14" fmla="*/ 5 w 52"/>
                <a:gd name="T15" fmla="*/ 52 h 52"/>
                <a:gd name="T16" fmla="*/ 5 w 52"/>
                <a:gd name="T17" fmla="*/ 35 h 52"/>
                <a:gd name="T18" fmla="*/ 5 w 52"/>
                <a:gd name="T19" fmla="*/ 23 h 5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52"/>
                <a:gd name="T32" fmla="*/ 52 w 52"/>
                <a:gd name="T33" fmla="*/ 52 h 5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52">
                  <a:moveTo>
                    <a:pt x="49" y="23"/>
                  </a:moveTo>
                  <a:lnTo>
                    <a:pt x="33" y="5"/>
                  </a:lnTo>
                  <a:lnTo>
                    <a:pt x="16" y="0"/>
                  </a:lnTo>
                  <a:lnTo>
                    <a:pt x="0" y="7"/>
                  </a:lnTo>
                  <a:lnTo>
                    <a:pt x="7" y="16"/>
                  </a:lnTo>
                  <a:lnTo>
                    <a:pt x="33" y="28"/>
                  </a:lnTo>
                  <a:lnTo>
                    <a:pt x="28" y="36"/>
                  </a:lnTo>
                  <a:lnTo>
                    <a:pt x="37" y="52"/>
                  </a:lnTo>
                  <a:lnTo>
                    <a:pt x="52" y="35"/>
                  </a:lnTo>
                  <a:lnTo>
                    <a:pt x="49" y="23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75" name="Freeform 32"/>
            <p:cNvSpPr>
              <a:spLocks noChangeAspect="1"/>
            </p:cNvSpPr>
            <p:nvPr/>
          </p:nvSpPr>
          <p:spPr bwMode="auto">
            <a:xfrm>
              <a:off x="2330701" y="3281275"/>
              <a:ext cx="86625" cy="77488"/>
            </a:xfrm>
            <a:custGeom>
              <a:avLst/>
              <a:gdLst>
                <a:gd name="T0" fmla="*/ 4 w 69"/>
                <a:gd name="T1" fmla="*/ 1 h 54"/>
                <a:gd name="T2" fmla="*/ 4 w 69"/>
                <a:gd name="T3" fmla="*/ 0 h 54"/>
                <a:gd name="T4" fmla="*/ 4 w 69"/>
                <a:gd name="T5" fmla="*/ 13 h 54"/>
                <a:gd name="T6" fmla="*/ 4 w 69"/>
                <a:gd name="T7" fmla="*/ 18 h 54"/>
                <a:gd name="T8" fmla="*/ 4 w 69"/>
                <a:gd name="T9" fmla="*/ 7 h 54"/>
                <a:gd name="T10" fmla="*/ 4 w 69"/>
                <a:gd name="T11" fmla="*/ 19 h 54"/>
                <a:gd name="T12" fmla="*/ 4 w 69"/>
                <a:gd name="T13" fmla="*/ 31 h 54"/>
                <a:gd name="T14" fmla="*/ 4 w 69"/>
                <a:gd name="T15" fmla="*/ 47 h 54"/>
                <a:gd name="T16" fmla="*/ 4 w 69"/>
                <a:gd name="T17" fmla="*/ 54 h 54"/>
                <a:gd name="T18" fmla="*/ 4 w 69"/>
                <a:gd name="T19" fmla="*/ 41 h 54"/>
                <a:gd name="T20" fmla="*/ 0 w 69"/>
                <a:gd name="T21" fmla="*/ 29 h 54"/>
                <a:gd name="T22" fmla="*/ 4 w 69"/>
                <a:gd name="T23" fmla="*/ 1 h 5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54"/>
                <a:gd name="T38" fmla="*/ 69 w 69"/>
                <a:gd name="T39" fmla="*/ 54 h 5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54">
                  <a:moveTo>
                    <a:pt x="4" y="1"/>
                  </a:moveTo>
                  <a:lnTo>
                    <a:pt x="10" y="0"/>
                  </a:lnTo>
                  <a:lnTo>
                    <a:pt x="17" y="13"/>
                  </a:lnTo>
                  <a:lnTo>
                    <a:pt x="31" y="18"/>
                  </a:lnTo>
                  <a:lnTo>
                    <a:pt x="61" y="7"/>
                  </a:lnTo>
                  <a:lnTo>
                    <a:pt x="69" y="19"/>
                  </a:lnTo>
                  <a:lnTo>
                    <a:pt x="50" y="31"/>
                  </a:lnTo>
                  <a:lnTo>
                    <a:pt x="59" y="47"/>
                  </a:lnTo>
                  <a:lnTo>
                    <a:pt x="40" y="54"/>
                  </a:lnTo>
                  <a:lnTo>
                    <a:pt x="39" y="41"/>
                  </a:lnTo>
                  <a:lnTo>
                    <a:pt x="0" y="29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76" name="Freeform 33"/>
            <p:cNvSpPr>
              <a:spLocks noChangeAspect="1"/>
            </p:cNvSpPr>
            <p:nvPr/>
          </p:nvSpPr>
          <p:spPr bwMode="auto">
            <a:xfrm>
              <a:off x="2266431" y="3231051"/>
              <a:ext cx="78242" cy="91838"/>
            </a:xfrm>
            <a:custGeom>
              <a:avLst/>
              <a:gdLst>
                <a:gd name="T0" fmla="*/ 5 w 62"/>
                <a:gd name="T1" fmla="*/ 36 h 64"/>
                <a:gd name="T2" fmla="*/ 5 w 62"/>
                <a:gd name="T3" fmla="*/ 35 h 64"/>
                <a:gd name="T4" fmla="*/ 5 w 62"/>
                <a:gd name="T5" fmla="*/ 25 h 64"/>
                <a:gd name="T6" fmla="*/ 5 w 62"/>
                <a:gd name="T7" fmla="*/ 3 h 64"/>
                <a:gd name="T8" fmla="*/ 1 w 62"/>
                <a:gd name="T9" fmla="*/ 0 h 64"/>
                <a:gd name="T10" fmla="*/ 0 w 62"/>
                <a:gd name="T11" fmla="*/ 26 h 64"/>
                <a:gd name="T12" fmla="*/ 5 w 62"/>
                <a:gd name="T13" fmla="*/ 32 h 64"/>
                <a:gd name="T14" fmla="*/ 5 w 62"/>
                <a:gd name="T15" fmla="*/ 25 h 64"/>
                <a:gd name="T16" fmla="*/ 5 w 62"/>
                <a:gd name="T17" fmla="*/ 48 h 64"/>
                <a:gd name="T18" fmla="*/ 5 w 62"/>
                <a:gd name="T19" fmla="*/ 59 h 64"/>
                <a:gd name="T20" fmla="*/ 5 w 62"/>
                <a:gd name="T21" fmla="*/ 64 h 64"/>
                <a:gd name="T22" fmla="*/ 5 w 62"/>
                <a:gd name="T23" fmla="*/ 36 h 6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2"/>
                <a:gd name="T37" fmla="*/ 0 h 64"/>
                <a:gd name="T38" fmla="*/ 62 w 62"/>
                <a:gd name="T39" fmla="*/ 64 h 6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2" h="64">
                  <a:moveTo>
                    <a:pt x="56" y="36"/>
                  </a:moveTo>
                  <a:lnTo>
                    <a:pt x="62" y="35"/>
                  </a:lnTo>
                  <a:lnTo>
                    <a:pt x="51" y="25"/>
                  </a:lnTo>
                  <a:lnTo>
                    <a:pt x="42" y="3"/>
                  </a:lnTo>
                  <a:lnTo>
                    <a:pt x="1" y="0"/>
                  </a:lnTo>
                  <a:lnTo>
                    <a:pt x="0" y="26"/>
                  </a:lnTo>
                  <a:lnTo>
                    <a:pt x="9" y="32"/>
                  </a:lnTo>
                  <a:lnTo>
                    <a:pt x="17" y="25"/>
                  </a:lnTo>
                  <a:lnTo>
                    <a:pt x="39" y="48"/>
                  </a:lnTo>
                  <a:lnTo>
                    <a:pt x="36" y="59"/>
                  </a:lnTo>
                  <a:lnTo>
                    <a:pt x="52" y="64"/>
                  </a:lnTo>
                  <a:lnTo>
                    <a:pt x="56" y="3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77" name="Freeform 34"/>
            <p:cNvSpPr>
              <a:spLocks noChangeAspect="1"/>
            </p:cNvSpPr>
            <p:nvPr/>
          </p:nvSpPr>
          <p:spPr bwMode="auto">
            <a:xfrm>
              <a:off x="2230104" y="3099035"/>
              <a:ext cx="106185" cy="136321"/>
            </a:xfrm>
            <a:custGeom>
              <a:avLst/>
              <a:gdLst>
                <a:gd name="T0" fmla="*/ 4 w 85"/>
                <a:gd name="T1" fmla="*/ 95 h 95"/>
                <a:gd name="T2" fmla="*/ 4 w 85"/>
                <a:gd name="T3" fmla="*/ 88 h 95"/>
                <a:gd name="T4" fmla="*/ 4 w 85"/>
                <a:gd name="T5" fmla="*/ 19 h 95"/>
                <a:gd name="T6" fmla="*/ 4 w 85"/>
                <a:gd name="T7" fmla="*/ 0 h 95"/>
                <a:gd name="T8" fmla="*/ 4 w 85"/>
                <a:gd name="T9" fmla="*/ 9 h 95"/>
                <a:gd name="T10" fmla="*/ 0 w 85"/>
                <a:gd name="T11" fmla="*/ 47 h 95"/>
                <a:gd name="T12" fmla="*/ 1 w 85"/>
                <a:gd name="T13" fmla="*/ 58 h 95"/>
                <a:gd name="T14" fmla="*/ 4 w 85"/>
                <a:gd name="T15" fmla="*/ 92 h 95"/>
                <a:gd name="T16" fmla="*/ 4 w 85"/>
                <a:gd name="T17" fmla="*/ 95 h 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5"/>
                <a:gd name="T28" fmla="*/ 0 h 95"/>
                <a:gd name="T29" fmla="*/ 85 w 85"/>
                <a:gd name="T30" fmla="*/ 95 h 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5" h="95">
                  <a:moveTo>
                    <a:pt x="70" y="95"/>
                  </a:moveTo>
                  <a:lnTo>
                    <a:pt x="67" y="88"/>
                  </a:lnTo>
                  <a:lnTo>
                    <a:pt x="85" y="19"/>
                  </a:lnTo>
                  <a:lnTo>
                    <a:pt x="84" y="0"/>
                  </a:lnTo>
                  <a:lnTo>
                    <a:pt x="52" y="9"/>
                  </a:lnTo>
                  <a:lnTo>
                    <a:pt x="0" y="47"/>
                  </a:lnTo>
                  <a:lnTo>
                    <a:pt x="1" y="58"/>
                  </a:lnTo>
                  <a:lnTo>
                    <a:pt x="29" y="92"/>
                  </a:lnTo>
                  <a:lnTo>
                    <a:pt x="70" y="9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78" name="Freeform 35"/>
            <p:cNvSpPr>
              <a:spLocks noChangeAspect="1"/>
            </p:cNvSpPr>
            <p:nvPr/>
          </p:nvSpPr>
          <p:spPr bwMode="auto">
            <a:xfrm>
              <a:off x="2179806" y="3071771"/>
              <a:ext cx="155086" cy="94707"/>
            </a:xfrm>
            <a:custGeom>
              <a:avLst/>
              <a:gdLst>
                <a:gd name="T0" fmla="*/ 5 w 123"/>
                <a:gd name="T1" fmla="*/ 4 h 66"/>
                <a:gd name="T2" fmla="*/ 5 w 123"/>
                <a:gd name="T3" fmla="*/ 0 h 66"/>
                <a:gd name="T4" fmla="*/ 5 w 123"/>
                <a:gd name="T5" fmla="*/ 19 h 66"/>
                <a:gd name="T6" fmla="*/ 5 w 123"/>
                <a:gd name="T7" fmla="*/ 28 h 66"/>
                <a:gd name="T8" fmla="*/ 5 w 123"/>
                <a:gd name="T9" fmla="*/ 66 h 66"/>
                <a:gd name="T10" fmla="*/ 5 w 123"/>
                <a:gd name="T11" fmla="*/ 57 h 66"/>
                <a:gd name="T12" fmla="*/ 5 w 123"/>
                <a:gd name="T13" fmla="*/ 49 h 66"/>
                <a:gd name="T14" fmla="*/ 0 w 123"/>
                <a:gd name="T15" fmla="*/ 33 h 66"/>
                <a:gd name="T16" fmla="*/ 5 w 123"/>
                <a:gd name="T17" fmla="*/ 4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3"/>
                <a:gd name="T28" fmla="*/ 0 h 66"/>
                <a:gd name="T29" fmla="*/ 123 w 123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3" h="66">
                  <a:moveTo>
                    <a:pt x="25" y="4"/>
                  </a:moveTo>
                  <a:lnTo>
                    <a:pt x="93" y="0"/>
                  </a:lnTo>
                  <a:lnTo>
                    <a:pt x="123" y="19"/>
                  </a:lnTo>
                  <a:lnTo>
                    <a:pt x="91" y="28"/>
                  </a:lnTo>
                  <a:lnTo>
                    <a:pt x="39" y="66"/>
                  </a:lnTo>
                  <a:lnTo>
                    <a:pt x="32" y="57"/>
                  </a:lnTo>
                  <a:lnTo>
                    <a:pt x="32" y="49"/>
                  </a:lnTo>
                  <a:lnTo>
                    <a:pt x="0" y="33"/>
                  </a:lnTo>
                  <a:lnTo>
                    <a:pt x="25" y="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79" name="Freeform 36"/>
            <p:cNvSpPr>
              <a:spLocks noChangeAspect="1"/>
            </p:cNvSpPr>
            <p:nvPr/>
          </p:nvSpPr>
          <p:spPr bwMode="auto">
            <a:xfrm>
              <a:off x="2638078" y="2944059"/>
              <a:ext cx="88022" cy="73183"/>
            </a:xfrm>
            <a:custGeom>
              <a:avLst/>
              <a:gdLst>
                <a:gd name="T0" fmla="*/ 4 w 71"/>
                <a:gd name="T1" fmla="*/ 0 h 51"/>
                <a:gd name="T2" fmla="*/ 4 w 71"/>
                <a:gd name="T3" fmla="*/ 3 h 51"/>
                <a:gd name="T4" fmla="*/ 4 w 71"/>
                <a:gd name="T5" fmla="*/ 10 h 51"/>
                <a:gd name="T6" fmla="*/ 4 w 71"/>
                <a:gd name="T7" fmla="*/ 10 h 51"/>
                <a:gd name="T8" fmla="*/ 4 w 71"/>
                <a:gd name="T9" fmla="*/ 17 h 51"/>
                <a:gd name="T10" fmla="*/ 4 w 71"/>
                <a:gd name="T11" fmla="*/ 20 h 51"/>
                <a:gd name="T12" fmla="*/ 4 w 71"/>
                <a:gd name="T13" fmla="*/ 30 h 51"/>
                <a:gd name="T14" fmla="*/ 4 w 71"/>
                <a:gd name="T15" fmla="*/ 40 h 51"/>
                <a:gd name="T16" fmla="*/ 4 w 71"/>
                <a:gd name="T17" fmla="*/ 31 h 51"/>
                <a:gd name="T18" fmla="*/ 4 w 71"/>
                <a:gd name="T19" fmla="*/ 37 h 51"/>
                <a:gd name="T20" fmla="*/ 4 w 71"/>
                <a:gd name="T21" fmla="*/ 31 h 51"/>
                <a:gd name="T22" fmla="*/ 4 w 71"/>
                <a:gd name="T23" fmla="*/ 36 h 51"/>
                <a:gd name="T24" fmla="*/ 4 w 71"/>
                <a:gd name="T25" fmla="*/ 51 h 51"/>
                <a:gd name="T26" fmla="*/ 0 w 71"/>
                <a:gd name="T27" fmla="*/ 40 h 51"/>
                <a:gd name="T28" fmla="*/ 4 w 71"/>
                <a:gd name="T29" fmla="*/ 0 h 5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1"/>
                <a:gd name="T46" fmla="*/ 0 h 51"/>
                <a:gd name="T47" fmla="*/ 71 w 71"/>
                <a:gd name="T48" fmla="*/ 51 h 5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1" h="51">
                  <a:moveTo>
                    <a:pt x="6" y="0"/>
                  </a:moveTo>
                  <a:lnTo>
                    <a:pt x="42" y="3"/>
                  </a:lnTo>
                  <a:lnTo>
                    <a:pt x="45" y="10"/>
                  </a:lnTo>
                  <a:lnTo>
                    <a:pt x="57" y="10"/>
                  </a:lnTo>
                  <a:lnTo>
                    <a:pt x="47" y="17"/>
                  </a:lnTo>
                  <a:lnTo>
                    <a:pt x="64" y="20"/>
                  </a:lnTo>
                  <a:lnTo>
                    <a:pt x="71" y="30"/>
                  </a:lnTo>
                  <a:lnTo>
                    <a:pt x="63" y="40"/>
                  </a:lnTo>
                  <a:lnTo>
                    <a:pt x="58" y="31"/>
                  </a:lnTo>
                  <a:lnTo>
                    <a:pt x="25" y="37"/>
                  </a:lnTo>
                  <a:lnTo>
                    <a:pt x="26" y="31"/>
                  </a:lnTo>
                  <a:lnTo>
                    <a:pt x="15" y="36"/>
                  </a:lnTo>
                  <a:lnTo>
                    <a:pt x="7" y="51"/>
                  </a:lnTo>
                  <a:lnTo>
                    <a:pt x="0" y="4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80" name="Freeform 37"/>
            <p:cNvSpPr>
              <a:spLocks noChangeAspect="1"/>
            </p:cNvSpPr>
            <p:nvPr/>
          </p:nvSpPr>
          <p:spPr bwMode="auto">
            <a:xfrm>
              <a:off x="2571014" y="2939754"/>
              <a:ext cx="74050" cy="63138"/>
            </a:xfrm>
            <a:custGeom>
              <a:avLst/>
              <a:gdLst>
                <a:gd name="T0" fmla="*/ 5 w 58"/>
                <a:gd name="T1" fmla="*/ 3 h 44"/>
                <a:gd name="T2" fmla="*/ 5 w 58"/>
                <a:gd name="T3" fmla="*/ 0 h 44"/>
                <a:gd name="T4" fmla="*/ 5 w 58"/>
                <a:gd name="T5" fmla="*/ 6 h 44"/>
                <a:gd name="T6" fmla="*/ 5 w 58"/>
                <a:gd name="T7" fmla="*/ 6 h 44"/>
                <a:gd name="T8" fmla="*/ 5 w 58"/>
                <a:gd name="T9" fmla="*/ 30 h 44"/>
                <a:gd name="T10" fmla="*/ 5 w 58"/>
                <a:gd name="T11" fmla="*/ 37 h 44"/>
                <a:gd name="T12" fmla="*/ 5 w 58"/>
                <a:gd name="T13" fmla="*/ 30 h 44"/>
                <a:gd name="T14" fmla="*/ 0 w 58"/>
                <a:gd name="T15" fmla="*/ 37 h 44"/>
                <a:gd name="T16" fmla="*/ 5 w 58"/>
                <a:gd name="T17" fmla="*/ 44 h 44"/>
                <a:gd name="T18" fmla="*/ 5 w 58"/>
                <a:gd name="T19" fmla="*/ 43 h 44"/>
                <a:gd name="T20" fmla="*/ 5 w 58"/>
                <a:gd name="T21" fmla="*/ 3 h 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8"/>
                <a:gd name="T34" fmla="*/ 0 h 44"/>
                <a:gd name="T35" fmla="*/ 58 w 58"/>
                <a:gd name="T36" fmla="*/ 44 h 4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8" h="44">
                  <a:moveTo>
                    <a:pt x="58" y="3"/>
                  </a:moveTo>
                  <a:lnTo>
                    <a:pt x="31" y="0"/>
                  </a:lnTo>
                  <a:lnTo>
                    <a:pt x="24" y="6"/>
                  </a:lnTo>
                  <a:lnTo>
                    <a:pt x="33" y="6"/>
                  </a:lnTo>
                  <a:lnTo>
                    <a:pt x="43" y="30"/>
                  </a:lnTo>
                  <a:lnTo>
                    <a:pt x="24" y="37"/>
                  </a:lnTo>
                  <a:lnTo>
                    <a:pt x="7" y="30"/>
                  </a:lnTo>
                  <a:lnTo>
                    <a:pt x="0" y="37"/>
                  </a:lnTo>
                  <a:lnTo>
                    <a:pt x="12" y="44"/>
                  </a:lnTo>
                  <a:lnTo>
                    <a:pt x="52" y="43"/>
                  </a:lnTo>
                  <a:lnTo>
                    <a:pt x="58" y="3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81" name="Freeform 38"/>
            <p:cNvSpPr>
              <a:spLocks noChangeAspect="1"/>
            </p:cNvSpPr>
            <p:nvPr/>
          </p:nvSpPr>
          <p:spPr bwMode="auto">
            <a:xfrm>
              <a:off x="2473212" y="2987108"/>
              <a:ext cx="53092" cy="24394"/>
            </a:xfrm>
            <a:custGeom>
              <a:avLst/>
              <a:gdLst>
                <a:gd name="T0" fmla="*/ 0 w 41"/>
                <a:gd name="T1" fmla="*/ 7 h 17"/>
                <a:gd name="T2" fmla="*/ 6 w 41"/>
                <a:gd name="T3" fmla="*/ 17 h 17"/>
                <a:gd name="T4" fmla="*/ 6 w 41"/>
                <a:gd name="T5" fmla="*/ 14 h 17"/>
                <a:gd name="T6" fmla="*/ 6 w 41"/>
                <a:gd name="T7" fmla="*/ 7 h 17"/>
                <a:gd name="T8" fmla="*/ 6 w 41"/>
                <a:gd name="T9" fmla="*/ 0 h 17"/>
                <a:gd name="T10" fmla="*/ 0 w 4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1"/>
                <a:gd name="T19" fmla="*/ 0 h 17"/>
                <a:gd name="T20" fmla="*/ 41 w 41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1" h="17">
                  <a:moveTo>
                    <a:pt x="0" y="7"/>
                  </a:moveTo>
                  <a:lnTo>
                    <a:pt x="21" y="17"/>
                  </a:lnTo>
                  <a:lnTo>
                    <a:pt x="41" y="14"/>
                  </a:lnTo>
                  <a:lnTo>
                    <a:pt x="39" y="7"/>
                  </a:lnTo>
                  <a:lnTo>
                    <a:pt x="11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82" name="Freeform 39"/>
            <p:cNvSpPr>
              <a:spLocks noChangeAspect="1"/>
            </p:cNvSpPr>
            <p:nvPr/>
          </p:nvSpPr>
          <p:spPr bwMode="auto">
            <a:xfrm>
              <a:off x="2325112" y="2833567"/>
              <a:ext cx="262668" cy="110492"/>
            </a:xfrm>
            <a:custGeom>
              <a:avLst/>
              <a:gdLst>
                <a:gd name="T0" fmla="*/ 0 w 208"/>
                <a:gd name="T1" fmla="*/ 30 h 77"/>
                <a:gd name="T2" fmla="*/ 5 w 208"/>
                <a:gd name="T3" fmla="*/ 30 h 77"/>
                <a:gd name="T4" fmla="*/ 5 w 208"/>
                <a:gd name="T5" fmla="*/ 11 h 77"/>
                <a:gd name="T6" fmla="*/ 5 w 208"/>
                <a:gd name="T7" fmla="*/ 15 h 77"/>
                <a:gd name="T8" fmla="*/ 5 w 208"/>
                <a:gd name="T9" fmla="*/ 18 h 77"/>
                <a:gd name="T10" fmla="*/ 5 w 208"/>
                <a:gd name="T11" fmla="*/ 24 h 77"/>
                <a:gd name="T12" fmla="*/ 5 w 208"/>
                <a:gd name="T13" fmla="*/ 37 h 77"/>
                <a:gd name="T14" fmla="*/ 5 w 208"/>
                <a:gd name="T15" fmla="*/ 57 h 77"/>
                <a:gd name="T16" fmla="*/ 5 w 208"/>
                <a:gd name="T17" fmla="*/ 57 h 77"/>
                <a:gd name="T18" fmla="*/ 5 w 208"/>
                <a:gd name="T19" fmla="*/ 64 h 77"/>
                <a:gd name="T20" fmla="*/ 5 w 208"/>
                <a:gd name="T21" fmla="*/ 77 h 77"/>
                <a:gd name="T22" fmla="*/ 5 w 208"/>
                <a:gd name="T23" fmla="*/ 71 h 77"/>
                <a:gd name="T24" fmla="*/ 5 w 208"/>
                <a:gd name="T25" fmla="*/ 58 h 77"/>
                <a:gd name="T26" fmla="*/ 5 w 208"/>
                <a:gd name="T27" fmla="*/ 58 h 77"/>
                <a:gd name="T28" fmla="*/ 5 w 208"/>
                <a:gd name="T29" fmla="*/ 49 h 77"/>
                <a:gd name="T30" fmla="*/ 5 w 208"/>
                <a:gd name="T31" fmla="*/ 45 h 77"/>
                <a:gd name="T32" fmla="*/ 5 w 208"/>
                <a:gd name="T33" fmla="*/ 22 h 77"/>
                <a:gd name="T34" fmla="*/ 5 w 208"/>
                <a:gd name="T35" fmla="*/ 0 h 77"/>
                <a:gd name="T36" fmla="*/ 5 w 208"/>
                <a:gd name="T37" fmla="*/ 7 h 77"/>
                <a:gd name="T38" fmla="*/ 0 w 208"/>
                <a:gd name="T39" fmla="*/ 30 h 7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8"/>
                <a:gd name="T61" fmla="*/ 0 h 77"/>
                <a:gd name="T62" fmla="*/ 208 w 208"/>
                <a:gd name="T63" fmla="*/ 77 h 7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8" h="77">
                  <a:moveTo>
                    <a:pt x="0" y="30"/>
                  </a:moveTo>
                  <a:lnTo>
                    <a:pt x="14" y="30"/>
                  </a:lnTo>
                  <a:lnTo>
                    <a:pt x="45" y="11"/>
                  </a:lnTo>
                  <a:lnTo>
                    <a:pt x="68" y="15"/>
                  </a:lnTo>
                  <a:lnTo>
                    <a:pt x="57" y="18"/>
                  </a:lnTo>
                  <a:lnTo>
                    <a:pt x="62" y="24"/>
                  </a:lnTo>
                  <a:lnTo>
                    <a:pt x="120" y="37"/>
                  </a:lnTo>
                  <a:lnTo>
                    <a:pt x="132" y="57"/>
                  </a:lnTo>
                  <a:lnTo>
                    <a:pt x="147" y="57"/>
                  </a:lnTo>
                  <a:lnTo>
                    <a:pt x="149" y="64"/>
                  </a:lnTo>
                  <a:lnTo>
                    <a:pt x="136" y="77"/>
                  </a:lnTo>
                  <a:lnTo>
                    <a:pt x="208" y="71"/>
                  </a:lnTo>
                  <a:lnTo>
                    <a:pt x="196" y="58"/>
                  </a:lnTo>
                  <a:lnTo>
                    <a:pt x="179" y="58"/>
                  </a:lnTo>
                  <a:lnTo>
                    <a:pt x="182" y="49"/>
                  </a:lnTo>
                  <a:lnTo>
                    <a:pt x="164" y="45"/>
                  </a:lnTo>
                  <a:lnTo>
                    <a:pt x="131" y="22"/>
                  </a:lnTo>
                  <a:lnTo>
                    <a:pt x="72" y="0"/>
                  </a:lnTo>
                  <a:lnTo>
                    <a:pt x="31" y="7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83" name="Freeform 40"/>
            <p:cNvSpPr>
              <a:spLocks noChangeAspect="1"/>
            </p:cNvSpPr>
            <p:nvPr/>
          </p:nvSpPr>
          <p:spPr bwMode="auto">
            <a:xfrm>
              <a:off x="2755441" y="2987108"/>
              <a:ext cx="37724" cy="15785"/>
            </a:xfrm>
            <a:custGeom>
              <a:avLst/>
              <a:gdLst>
                <a:gd name="T0" fmla="*/ 0 w 30"/>
                <a:gd name="T1" fmla="*/ 11 h 11"/>
                <a:gd name="T2" fmla="*/ 5 w 30"/>
                <a:gd name="T3" fmla="*/ 11 h 11"/>
                <a:gd name="T4" fmla="*/ 5 w 30"/>
                <a:gd name="T5" fmla="*/ 6 h 11"/>
                <a:gd name="T6" fmla="*/ 5 w 30"/>
                <a:gd name="T7" fmla="*/ 0 h 11"/>
                <a:gd name="T8" fmla="*/ 1 w 30"/>
                <a:gd name="T9" fmla="*/ 0 h 11"/>
                <a:gd name="T10" fmla="*/ 0 w 30"/>
                <a:gd name="T11" fmla="*/ 1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1"/>
                <a:gd name="T20" fmla="*/ 30 w 30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1">
                  <a:moveTo>
                    <a:pt x="0" y="11"/>
                  </a:moveTo>
                  <a:lnTo>
                    <a:pt x="24" y="11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84" name="Freeform 41"/>
            <p:cNvSpPr>
              <a:spLocks noChangeAspect="1"/>
            </p:cNvSpPr>
            <p:nvPr/>
          </p:nvSpPr>
          <p:spPr bwMode="auto">
            <a:xfrm>
              <a:off x="2726100" y="2240928"/>
              <a:ext cx="53092" cy="18655"/>
            </a:xfrm>
            <a:custGeom>
              <a:avLst/>
              <a:gdLst>
                <a:gd name="T0" fmla="*/ 0 w 41"/>
                <a:gd name="T1" fmla="*/ 13 h 13"/>
                <a:gd name="T2" fmla="*/ 6 w 41"/>
                <a:gd name="T3" fmla="*/ 3 h 13"/>
                <a:gd name="T4" fmla="*/ 6 w 41"/>
                <a:gd name="T5" fmla="*/ 0 h 13"/>
                <a:gd name="T6" fmla="*/ 0 w 41"/>
                <a:gd name="T7" fmla="*/ 13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1"/>
                <a:gd name="T13" fmla="*/ 0 h 13"/>
                <a:gd name="T14" fmla="*/ 41 w 41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1" h="13">
                  <a:moveTo>
                    <a:pt x="0" y="13"/>
                  </a:moveTo>
                  <a:lnTo>
                    <a:pt x="41" y="3"/>
                  </a:lnTo>
                  <a:lnTo>
                    <a:pt x="37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85" name="Freeform 42"/>
            <p:cNvSpPr>
              <a:spLocks noChangeAspect="1"/>
            </p:cNvSpPr>
            <p:nvPr/>
          </p:nvSpPr>
          <p:spPr bwMode="auto">
            <a:xfrm>
              <a:off x="3142457" y="1902277"/>
              <a:ext cx="146703" cy="159281"/>
            </a:xfrm>
            <a:custGeom>
              <a:avLst/>
              <a:gdLst>
                <a:gd name="T0" fmla="*/ 0 w 118"/>
                <a:gd name="T1" fmla="*/ 83 h 111"/>
                <a:gd name="T2" fmla="*/ 0 w 118"/>
                <a:gd name="T3" fmla="*/ 91 h 111"/>
                <a:gd name="T4" fmla="*/ 4 w 118"/>
                <a:gd name="T5" fmla="*/ 91 h 111"/>
                <a:gd name="T6" fmla="*/ 4 w 118"/>
                <a:gd name="T7" fmla="*/ 105 h 111"/>
                <a:gd name="T8" fmla="*/ 4 w 118"/>
                <a:gd name="T9" fmla="*/ 107 h 111"/>
                <a:gd name="T10" fmla="*/ 4 w 118"/>
                <a:gd name="T11" fmla="*/ 95 h 111"/>
                <a:gd name="T12" fmla="*/ 4 w 118"/>
                <a:gd name="T13" fmla="*/ 95 h 111"/>
                <a:gd name="T14" fmla="*/ 4 w 118"/>
                <a:gd name="T15" fmla="*/ 107 h 111"/>
                <a:gd name="T16" fmla="*/ 4 w 118"/>
                <a:gd name="T17" fmla="*/ 101 h 111"/>
                <a:gd name="T18" fmla="*/ 4 w 118"/>
                <a:gd name="T19" fmla="*/ 111 h 111"/>
                <a:gd name="T20" fmla="*/ 4 w 118"/>
                <a:gd name="T21" fmla="*/ 111 h 111"/>
                <a:gd name="T22" fmla="*/ 4 w 118"/>
                <a:gd name="T23" fmla="*/ 88 h 111"/>
                <a:gd name="T24" fmla="*/ 4 w 118"/>
                <a:gd name="T25" fmla="*/ 90 h 111"/>
                <a:gd name="T26" fmla="*/ 4 w 118"/>
                <a:gd name="T27" fmla="*/ 78 h 111"/>
                <a:gd name="T28" fmla="*/ 4 w 118"/>
                <a:gd name="T29" fmla="*/ 90 h 111"/>
                <a:gd name="T30" fmla="*/ 4 w 118"/>
                <a:gd name="T31" fmla="*/ 87 h 111"/>
                <a:gd name="T32" fmla="*/ 4 w 118"/>
                <a:gd name="T33" fmla="*/ 67 h 111"/>
                <a:gd name="T34" fmla="*/ 4 w 118"/>
                <a:gd name="T35" fmla="*/ 70 h 111"/>
                <a:gd name="T36" fmla="*/ 4 w 118"/>
                <a:gd name="T37" fmla="*/ 62 h 111"/>
                <a:gd name="T38" fmla="*/ 4 w 118"/>
                <a:gd name="T39" fmla="*/ 53 h 111"/>
                <a:gd name="T40" fmla="*/ 4 w 118"/>
                <a:gd name="T41" fmla="*/ 51 h 111"/>
                <a:gd name="T42" fmla="*/ 4 w 118"/>
                <a:gd name="T43" fmla="*/ 43 h 111"/>
                <a:gd name="T44" fmla="*/ 4 w 118"/>
                <a:gd name="T45" fmla="*/ 38 h 111"/>
                <a:gd name="T46" fmla="*/ 4 w 118"/>
                <a:gd name="T47" fmla="*/ 34 h 111"/>
                <a:gd name="T48" fmla="*/ 4 w 118"/>
                <a:gd name="T49" fmla="*/ 42 h 111"/>
                <a:gd name="T50" fmla="*/ 4 w 118"/>
                <a:gd name="T51" fmla="*/ 0 h 111"/>
                <a:gd name="T52" fmla="*/ 4 w 118"/>
                <a:gd name="T53" fmla="*/ 6 h 111"/>
                <a:gd name="T54" fmla="*/ 4 w 118"/>
                <a:gd name="T55" fmla="*/ 67 h 111"/>
                <a:gd name="T56" fmla="*/ 4 w 118"/>
                <a:gd name="T57" fmla="*/ 70 h 111"/>
                <a:gd name="T58" fmla="*/ 0 w 118"/>
                <a:gd name="T59" fmla="*/ 83 h 11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8"/>
                <a:gd name="T91" fmla="*/ 0 h 111"/>
                <a:gd name="T92" fmla="*/ 118 w 118"/>
                <a:gd name="T93" fmla="*/ 111 h 11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8" h="111">
                  <a:moveTo>
                    <a:pt x="0" y="83"/>
                  </a:moveTo>
                  <a:lnTo>
                    <a:pt x="0" y="91"/>
                  </a:lnTo>
                  <a:lnTo>
                    <a:pt x="67" y="91"/>
                  </a:lnTo>
                  <a:lnTo>
                    <a:pt x="53" y="105"/>
                  </a:lnTo>
                  <a:lnTo>
                    <a:pt x="63" y="107"/>
                  </a:lnTo>
                  <a:lnTo>
                    <a:pt x="76" y="95"/>
                  </a:lnTo>
                  <a:lnTo>
                    <a:pt x="92" y="95"/>
                  </a:lnTo>
                  <a:lnTo>
                    <a:pt x="84" y="107"/>
                  </a:lnTo>
                  <a:lnTo>
                    <a:pt x="95" y="101"/>
                  </a:lnTo>
                  <a:lnTo>
                    <a:pt x="92" y="111"/>
                  </a:lnTo>
                  <a:lnTo>
                    <a:pt x="103" y="111"/>
                  </a:lnTo>
                  <a:lnTo>
                    <a:pt x="115" y="88"/>
                  </a:lnTo>
                  <a:lnTo>
                    <a:pt x="107" y="90"/>
                  </a:lnTo>
                  <a:lnTo>
                    <a:pt x="114" y="78"/>
                  </a:lnTo>
                  <a:lnTo>
                    <a:pt x="98" y="90"/>
                  </a:lnTo>
                  <a:lnTo>
                    <a:pt x="96" y="87"/>
                  </a:lnTo>
                  <a:lnTo>
                    <a:pt x="118" y="67"/>
                  </a:lnTo>
                  <a:lnTo>
                    <a:pt x="104" y="70"/>
                  </a:lnTo>
                  <a:lnTo>
                    <a:pt x="102" y="62"/>
                  </a:lnTo>
                  <a:lnTo>
                    <a:pt x="114" y="53"/>
                  </a:lnTo>
                  <a:lnTo>
                    <a:pt x="82" y="51"/>
                  </a:lnTo>
                  <a:lnTo>
                    <a:pt x="75" y="43"/>
                  </a:lnTo>
                  <a:lnTo>
                    <a:pt x="84" y="38"/>
                  </a:lnTo>
                  <a:lnTo>
                    <a:pt x="75" y="34"/>
                  </a:lnTo>
                  <a:lnTo>
                    <a:pt x="59" y="42"/>
                  </a:lnTo>
                  <a:lnTo>
                    <a:pt x="98" y="0"/>
                  </a:lnTo>
                  <a:lnTo>
                    <a:pt x="76" y="6"/>
                  </a:lnTo>
                  <a:lnTo>
                    <a:pt x="16" y="67"/>
                  </a:lnTo>
                  <a:lnTo>
                    <a:pt x="21" y="70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86" name="Freeform 43"/>
            <p:cNvSpPr>
              <a:spLocks noChangeAspect="1"/>
            </p:cNvSpPr>
            <p:nvPr/>
          </p:nvSpPr>
          <p:spPr bwMode="auto">
            <a:xfrm>
              <a:off x="2791767" y="1464614"/>
              <a:ext cx="139717" cy="83228"/>
            </a:xfrm>
            <a:custGeom>
              <a:avLst/>
              <a:gdLst>
                <a:gd name="T0" fmla="*/ 0 w 111"/>
                <a:gd name="T1" fmla="*/ 48 h 58"/>
                <a:gd name="T2" fmla="*/ 5 w 111"/>
                <a:gd name="T3" fmla="*/ 48 h 58"/>
                <a:gd name="T4" fmla="*/ 5 w 111"/>
                <a:gd name="T5" fmla="*/ 58 h 58"/>
                <a:gd name="T6" fmla="*/ 5 w 111"/>
                <a:gd name="T7" fmla="*/ 41 h 58"/>
                <a:gd name="T8" fmla="*/ 5 w 111"/>
                <a:gd name="T9" fmla="*/ 41 h 58"/>
                <a:gd name="T10" fmla="*/ 5 w 111"/>
                <a:gd name="T11" fmla="*/ 53 h 58"/>
                <a:gd name="T12" fmla="*/ 5 w 111"/>
                <a:gd name="T13" fmla="*/ 45 h 58"/>
                <a:gd name="T14" fmla="*/ 5 w 111"/>
                <a:gd name="T15" fmla="*/ 9 h 58"/>
                <a:gd name="T16" fmla="*/ 5 w 111"/>
                <a:gd name="T17" fmla="*/ 0 h 58"/>
                <a:gd name="T18" fmla="*/ 5 w 111"/>
                <a:gd name="T19" fmla="*/ 17 h 58"/>
                <a:gd name="T20" fmla="*/ 5 w 111"/>
                <a:gd name="T21" fmla="*/ 40 h 58"/>
                <a:gd name="T22" fmla="*/ 0 w 111"/>
                <a:gd name="T23" fmla="*/ 48 h 5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1"/>
                <a:gd name="T37" fmla="*/ 0 h 58"/>
                <a:gd name="T38" fmla="*/ 111 w 111"/>
                <a:gd name="T39" fmla="*/ 58 h 5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1" h="58">
                  <a:moveTo>
                    <a:pt x="0" y="48"/>
                  </a:moveTo>
                  <a:lnTo>
                    <a:pt x="21" y="48"/>
                  </a:lnTo>
                  <a:lnTo>
                    <a:pt x="15" y="58"/>
                  </a:lnTo>
                  <a:lnTo>
                    <a:pt x="61" y="41"/>
                  </a:lnTo>
                  <a:lnTo>
                    <a:pt x="73" y="41"/>
                  </a:lnTo>
                  <a:lnTo>
                    <a:pt x="90" y="53"/>
                  </a:lnTo>
                  <a:lnTo>
                    <a:pt x="111" y="45"/>
                  </a:lnTo>
                  <a:lnTo>
                    <a:pt x="68" y="9"/>
                  </a:lnTo>
                  <a:lnTo>
                    <a:pt x="72" y="0"/>
                  </a:lnTo>
                  <a:lnTo>
                    <a:pt x="39" y="17"/>
                  </a:lnTo>
                  <a:lnTo>
                    <a:pt x="22" y="40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87" name="Freeform 44"/>
            <p:cNvSpPr>
              <a:spLocks noChangeAspect="1"/>
            </p:cNvSpPr>
            <p:nvPr/>
          </p:nvSpPr>
          <p:spPr bwMode="auto">
            <a:xfrm>
              <a:off x="2907732" y="1250804"/>
              <a:ext cx="434520" cy="335781"/>
            </a:xfrm>
            <a:custGeom>
              <a:avLst/>
              <a:gdLst>
                <a:gd name="T0" fmla="*/ 0 w 345"/>
                <a:gd name="T1" fmla="*/ 38 h 234"/>
                <a:gd name="T2" fmla="*/ 5 w 345"/>
                <a:gd name="T3" fmla="*/ 64 h 234"/>
                <a:gd name="T4" fmla="*/ 5 w 345"/>
                <a:gd name="T5" fmla="*/ 70 h 234"/>
                <a:gd name="T6" fmla="*/ 5 w 345"/>
                <a:gd name="T7" fmla="*/ 71 h 234"/>
                <a:gd name="T8" fmla="*/ 5 w 345"/>
                <a:gd name="T9" fmla="*/ 80 h 234"/>
                <a:gd name="T10" fmla="*/ 5 w 345"/>
                <a:gd name="T11" fmla="*/ 67 h 234"/>
                <a:gd name="T12" fmla="*/ 5 w 345"/>
                <a:gd name="T13" fmla="*/ 75 h 234"/>
                <a:gd name="T14" fmla="*/ 5 w 345"/>
                <a:gd name="T15" fmla="*/ 84 h 234"/>
                <a:gd name="T16" fmla="*/ 5 w 345"/>
                <a:gd name="T17" fmla="*/ 98 h 234"/>
                <a:gd name="T18" fmla="*/ 5 w 345"/>
                <a:gd name="T19" fmla="*/ 91 h 234"/>
                <a:gd name="T20" fmla="*/ 5 w 345"/>
                <a:gd name="T21" fmla="*/ 100 h 234"/>
                <a:gd name="T22" fmla="*/ 5 w 345"/>
                <a:gd name="T23" fmla="*/ 108 h 234"/>
                <a:gd name="T24" fmla="*/ 5 w 345"/>
                <a:gd name="T25" fmla="*/ 126 h 234"/>
                <a:gd name="T26" fmla="*/ 5 w 345"/>
                <a:gd name="T27" fmla="*/ 146 h 234"/>
                <a:gd name="T28" fmla="*/ 5 w 345"/>
                <a:gd name="T29" fmla="*/ 157 h 234"/>
                <a:gd name="T30" fmla="*/ 5 w 345"/>
                <a:gd name="T31" fmla="*/ 163 h 234"/>
                <a:gd name="T32" fmla="*/ 5 w 345"/>
                <a:gd name="T33" fmla="*/ 160 h 234"/>
                <a:gd name="T34" fmla="*/ 5 w 345"/>
                <a:gd name="T35" fmla="*/ 177 h 234"/>
                <a:gd name="T36" fmla="*/ 5 w 345"/>
                <a:gd name="T37" fmla="*/ 185 h 234"/>
                <a:gd name="T38" fmla="*/ 5 w 345"/>
                <a:gd name="T39" fmla="*/ 180 h 234"/>
                <a:gd name="T40" fmla="*/ 5 w 345"/>
                <a:gd name="T41" fmla="*/ 190 h 234"/>
                <a:gd name="T42" fmla="*/ 5 w 345"/>
                <a:gd name="T43" fmla="*/ 196 h 234"/>
                <a:gd name="T44" fmla="*/ 5 w 345"/>
                <a:gd name="T45" fmla="*/ 205 h 234"/>
                <a:gd name="T46" fmla="*/ 5 w 345"/>
                <a:gd name="T47" fmla="*/ 211 h 234"/>
                <a:gd name="T48" fmla="*/ 5 w 345"/>
                <a:gd name="T49" fmla="*/ 229 h 234"/>
                <a:gd name="T50" fmla="*/ 5 w 345"/>
                <a:gd name="T51" fmla="*/ 234 h 234"/>
                <a:gd name="T52" fmla="*/ 5 w 345"/>
                <a:gd name="T53" fmla="*/ 225 h 234"/>
                <a:gd name="T54" fmla="*/ 5 w 345"/>
                <a:gd name="T55" fmla="*/ 202 h 234"/>
                <a:gd name="T56" fmla="*/ 5 w 345"/>
                <a:gd name="T57" fmla="*/ 194 h 234"/>
                <a:gd name="T58" fmla="*/ 5 w 345"/>
                <a:gd name="T59" fmla="*/ 213 h 234"/>
                <a:gd name="T60" fmla="*/ 5 w 345"/>
                <a:gd name="T61" fmla="*/ 213 h 234"/>
                <a:gd name="T62" fmla="*/ 5 w 345"/>
                <a:gd name="T63" fmla="*/ 198 h 234"/>
                <a:gd name="T64" fmla="*/ 5 w 345"/>
                <a:gd name="T65" fmla="*/ 190 h 234"/>
                <a:gd name="T66" fmla="*/ 5 w 345"/>
                <a:gd name="T67" fmla="*/ 180 h 234"/>
                <a:gd name="T68" fmla="*/ 5 w 345"/>
                <a:gd name="T69" fmla="*/ 155 h 234"/>
                <a:gd name="T70" fmla="*/ 5 w 345"/>
                <a:gd name="T71" fmla="*/ 141 h 234"/>
                <a:gd name="T72" fmla="*/ 5 w 345"/>
                <a:gd name="T73" fmla="*/ 152 h 234"/>
                <a:gd name="T74" fmla="*/ 5 w 345"/>
                <a:gd name="T75" fmla="*/ 163 h 234"/>
                <a:gd name="T76" fmla="*/ 5 w 345"/>
                <a:gd name="T77" fmla="*/ 171 h 234"/>
                <a:gd name="T78" fmla="*/ 5 w 345"/>
                <a:gd name="T79" fmla="*/ 137 h 234"/>
                <a:gd name="T80" fmla="*/ 5 w 345"/>
                <a:gd name="T81" fmla="*/ 109 h 234"/>
                <a:gd name="T82" fmla="*/ 5 w 345"/>
                <a:gd name="T83" fmla="*/ 109 h 234"/>
                <a:gd name="T84" fmla="*/ 5 w 345"/>
                <a:gd name="T85" fmla="*/ 100 h 234"/>
                <a:gd name="T86" fmla="*/ 5 w 345"/>
                <a:gd name="T87" fmla="*/ 91 h 234"/>
                <a:gd name="T88" fmla="*/ 5 w 345"/>
                <a:gd name="T89" fmla="*/ 88 h 234"/>
                <a:gd name="T90" fmla="*/ 5 w 345"/>
                <a:gd name="T91" fmla="*/ 80 h 234"/>
                <a:gd name="T92" fmla="*/ 5 w 345"/>
                <a:gd name="T93" fmla="*/ 71 h 234"/>
                <a:gd name="T94" fmla="*/ 5 w 345"/>
                <a:gd name="T95" fmla="*/ 44 h 234"/>
                <a:gd name="T96" fmla="*/ 5 w 345"/>
                <a:gd name="T97" fmla="*/ 38 h 234"/>
                <a:gd name="T98" fmla="*/ 5 w 345"/>
                <a:gd name="T99" fmla="*/ 23 h 234"/>
                <a:gd name="T100" fmla="*/ 5 w 345"/>
                <a:gd name="T101" fmla="*/ 19 h 234"/>
                <a:gd name="T102" fmla="*/ 5 w 345"/>
                <a:gd name="T103" fmla="*/ 31 h 234"/>
                <a:gd name="T104" fmla="*/ 5 w 345"/>
                <a:gd name="T105" fmla="*/ 4 h 234"/>
                <a:gd name="T106" fmla="*/ 5 w 345"/>
                <a:gd name="T107" fmla="*/ 2 h 234"/>
                <a:gd name="T108" fmla="*/ 5 w 345"/>
                <a:gd name="T109" fmla="*/ 15 h 234"/>
                <a:gd name="T110" fmla="*/ 5 w 345"/>
                <a:gd name="T111" fmla="*/ 40 h 234"/>
                <a:gd name="T112" fmla="*/ 5 w 345"/>
                <a:gd name="T113" fmla="*/ 34 h 234"/>
                <a:gd name="T114" fmla="*/ 5 w 345"/>
                <a:gd name="T115" fmla="*/ 19 h 234"/>
                <a:gd name="T116" fmla="*/ 5 w 345"/>
                <a:gd name="T117" fmla="*/ 1 h 234"/>
                <a:gd name="T118" fmla="*/ 5 w 345"/>
                <a:gd name="T119" fmla="*/ 0 h 234"/>
                <a:gd name="T120" fmla="*/ 5 w 345"/>
                <a:gd name="T121" fmla="*/ 13 h 234"/>
                <a:gd name="T122" fmla="*/ 0 w 345"/>
                <a:gd name="T123" fmla="*/ 38 h 2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45"/>
                <a:gd name="T187" fmla="*/ 0 h 234"/>
                <a:gd name="T188" fmla="*/ 345 w 345"/>
                <a:gd name="T189" fmla="*/ 234 h 2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45" h="234">
                  <a:moveTo>
                    <a:pt x="0" y="38"/>
                  </a:moveTo>
                  <a:lnTo>
                    <a:pt x="15" y="64"/>
                  </a:lnTo>
                  <a:lnTo>
                    <a:pt x="33" y="70"/>
                  </a:lnTo>
                  <a:lnTo>
                    <a:pt x="96" y="71"/>
                  </a:lnTo>
                  <a:lnTo>
                    <a:pt x="111" y="80"/>
                  </a:lnTo>
                  <a:lnTo>
                    <a:pt x="147" y="67"/>
                  </a:lnTo>
                  <a:lnTo>
                    <a:pt x="150" y="75"/>
                  </a:lnTo>
                  <a:lnTo>
                    <a:pt x="167" y="84"/>
                  </a:lnTo>
                  <a:lnTo>
                    <a:pt x="151" y="98"/>
                  </a:lnTo>
                  <a:lnTo>
                    <a:pt x="174" y="91"/>
                  </a:lnTo>
                  <a:lnTo>
                    <a:pt x="177" y="100"/>
                  </a:lnTo>
                  <a:lnTo>
                    <a:pt x="191" y="108"/>
                  </a:lnTo>
                  <a:lnTo>
                    <a:pt x="188" y="126"/>
                  </a:lnTo>
                  <a:lnTo>
                    <a:pt x="139" y="146"/>
                  </a:lnTo>
                  <a:lnTo>
                    <a:pt x="146" y="157"/>
                  </a:lnTo>
                  <a:lnTo>
                    <a:pt x="127" y="163"/>
                  </a:lnTo>
                  <a:lnTo>
                    <a:pt x="85" y="160"/>
                  </a:lnTo>
                  <a:lnTo>
                    <a:pt x="56" y="177"/>
                  </a:lnTo>
                  <a:lnTo>
                    <a:pt x="60" y="185"/>
                  </a:lnTo>
                  <a:lnTo>
                    <a:pt x="97" y="180"/>
                  </a:lnTo>
                  <a:lnTo>
                    <a:pt x="137" y="190"/>
                  </a:lnTo>
                  <a:lnTo>
                    <a:pt x="147" y="196"/>
                  </a:lnTo>
                  <a:lnTo>
                    <a:pt x="141" y="205"/>
                  </a:lnTo>
                  <a:lnTo>
                    <a:pt x="151" y="211"/>
                  </a:lnTo>
                  <a:lnTo>
                    <a:pt x="187" y="229"/>
                  </a:lnTo>
                  <a:lnTo>
                    <a:pt x="214" y="234"/>
                  </a:lnTo>
                  <a:lnTo>
                    <a:pt x="220" y="225"/>
                  </a:lnTo>
                  <a:lnTo>
                    <a:pt x="196" y="202"/>
                  </a:lnTo>
                  <a:lnTo>
                    <a:pt x="194" y="194"/>
                  </a:lnTo>
                  <a:lnTo>
                    <a:pt x="233" y="213"/>
                  </a:lnTo>
                  <a:lnTo>
                    <a:pt x="253" y="213"/>
                  </a:lnTo>
                  <a:lnTo>
                    <a:pt x="265" y="198"/>
                  </a:lnTo>
                  <a:lnTo>
                    <a:pt x="258" y="190"/>
                  </a:lnTo>
                  <a:lnTo>
                    <a:pt x="262" y="180"/>
                  </a:lnTo>
                  <a:lnTo>
                    <a:pt x="243" y="155"/>
                  </a:lnTo>
                  <a:lnTo>
                    <a:pt x="255" y="141"/>
                  </a:lnTo>
                  <a:lnTo>
                    <a:pt x="275" y="152"/>
                  </a:lnTo>
                  <a:lnTo>
                    <a:pt x="275" y="163"/>
                  </a:lnTo>
                  <a:lnTo>
                    <a:pt x="289" y="171"/>
                  </a:lnTo>
                  <a:lnTo>
                    <a:pt x="345" y="137"/>
                  </a:lnTo>
                  <a:lnTo>
                    <a:pt x="306" y="109"/>
                  </a:lnTo>
                  <a:lnTo>
                    <a:pt x="283" y="109"/>
                  </a:lnTo>
                  <a:lnTo>
                    <a:pt x="268" y="100"/>
                  </a:lnTo>
                  <a:lnTo>
                    <a:pt x="276" y="91"/>
                  </a:lnTo>
                  <a:lnTo>
                    <a:pt x="298" y="88"/>
                  </a:lnTo>
                  <a:lnTo>
                    <a:pt x="285" y="80"/>
                  </a:lnTo>
                  <a:lnTo>
                    <a:pt x="298" y="71"/>
                  </a:lnTo>
                  <a:lnTo>
                    <a:pt x="264" y="44"/>
                  </a:lnTo>
                  <a:lnTo>
                    <a:pt x="230" y="38"/>
                  </a:lnTo>
                  <a:lnTo>
                    <a:pt x="237" y="23"/>
                  </a:lnTo>
                  <a:lnTo>
                    <a:pt x="192" y="19"/>
                  </a:lnTo>
                  <a:lnTo>
                    <a:pt x="134" y="31"/>
                  </a:lnTo>
                  <a:lnTo>
                    <a:pt x="158" y="4"/>
                  </a:lnTo>
                  <a:lnTo>
                    <a:pt x="136" y="2"/>
                  </a:lnTo>
                  <a:lnTo>
                    <a:pt x="88" y="15"/>
                  </a:lnTo>
                  <a:lnTo>
                    <a:pt x="66" y="40"/>
                  </a:lnTo>
                  <a:lnTo>
                    <a:pt x="57" y="34"/>
                  </a:lnTo>
                  <a:lnTo>
                    <a:pt x="71" y="19"/>
                  </a:lnTo>
                  <a:lnTo>
                    <a:pt x="123" y="1"/>
                  </a:lnTo>
                  <a:lnTo>
                    <a:pt x="82" y="0"/>
                  </a:lnTo>
                  <a:lnTo>
                    <a:pt x="40" y="13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88" name="Freeform 45"/>
            <p:cNvSpPr>
              <a:spLocks noChangeAspect="1"/>
            </p:cNvSpPr>
            <p:nvPr/>
          </p:nvSpPr>
          <p:spPr bwMode="auto">
            <a:xfrm>
              <a:off x="3106131" y="1253674"/>
              <a:ext cx="78242" cy="24394"/>
            </a:xfrm>
            <a:custGeom>
              <a:avLst/>
              <a:gdLst>
                <a:gd name="T0" fmla="*/ 4 w 63"/>
                <a:gd name="T1" fmla="*/ 0 h 17"/>
                <a:gd name="T2" fmla="*/ 0 w 63"/>
                <a:gd name="T3" fmla="*/ 13 h 17"/>
                <a:gd name="T4" fmla="*/ 4 w 63"/>
                <a:gd name="T5" fmla="*/ 17 h 17"/>
                <a:gd name="T6" fmla="*/ 4 w 63"/>
                <a:gd name="T7" fmla="*/ 16 h 17"/>
                <a:gd name="T8" fmla="*/ 4 w 63"/>
                <a:gd name="T9" fmla="*/ 2 h 17"/>
                <a:gd name="T10" fmla="*/ 4 w 63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3"/>
                <a:gd name="T19" fmla="*/ 0 h 17"/>
                <a:gd name="T20" fmla="*/ 63 w 63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3" h="17">
                  <a:moveTo>
                    <a:pt x="13" y="0"/>
                  </a:moveTo>
                  <a:lnTo>
                    <a:pt x="0" y="13"/>
                  </a:lnTo>
                  <a:lnTo>
                    <a:pt x="17" y="17"/>
                  </a:lnTo>
                  <a:lnTo>
                    <a:pt x="53" y="16"/>
                  </a:lnTo>
                  <a:lnTo>
                    <a:pt x="63" y="2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89" name="Freeform 46"/>
            <p:cNvSpPr>
              <a:spLocks noChangeAspect="1"/>
            </p:cNvSpPr>
            <p:nvPr/>
          </p:nvSpPr>
          <p:spPr bwMode="auto">
            <a:xfrm>
              <a:off x="2925895" y="1170446"/>
              <a:ext cx="245902" cy="66008"/>
            </a:xfrm>
            <a:custGeom>
              <a:avLst/>
              <a:gdLst>
                <a:gd name="T0" fmla="*/ 4 w 196"/>
                <a:gd name="T1" fmla="*/ 0 h 46"/>
                <a:gd name="T2" fmla="*/ 0 w 196"/>
                <a:gd name="T3" fmla="*/ 6 h 46"/>
                <a:gd name="T4" fmla="*/ 4 w 196"/>
                <a:gd name="T5" fmla="*/ 13 h 46"/>
                <a:gd name="T6" fmla="*/ 4 w 196"/>
                <a:gd name="T7" fmla="*/ 16 h 46"/>
                <a:gd name="T8" fmla="*/ 4 w 196"/>
                <a:gd name="T9" fmla="*/ 40 h 46"/>
                <a:gd name="T10" fmla="*/ 4 w 196"/>
                <a:gd name="T11" fmla="*/ 43 h 46"/>
                <a:gd name="T12" fmla="*/ 4 w 196"/>
                <a:gd name="T13" fmla="*/ 46 h 46"/>
                <a:gd name="T14" fmla="*/ 4 w 196"/>
                <a:gd name="T15" fmla="*/ 40 h 46"/>
                <a:gd name="T16" fmla="*/ 4 w 196"/>
                <a:gd name="T17" fmla="*/ 43 h 46"/>
                <a:gd name="T18" fmla="*/ 4 w 196"/>
                <a:gd name="T19" fmla="*/ 41 h 46"/>
                <a:gd name="T20" fmla="*/ 4 w 196"/>
                <a:gd name="T21" fmla="*/ 26 h 46"/>
                <a:gd name="T22" fmla="*/ 4 w 196"/>
                <a:gd name="T23" fmla="*/ 23 h 46"/>
                <a:gd name="T24" fmla="*/ 4 w 196"/>
                <a:gd name="T25" fmla="*/ 18 h 46"/>
                <a:gd name="T26" fmla="*/ 4 w 196"/>
                <a:gd name="T27" fmla="*/ 14 h 46"/>
                <a:gd name="T28" fmla="*/ 4 w 196"/>
                <a:gd name="T29" fmla="*/ 6 h 46"/>
                <a:gd name="T30" fmla="*/ 4 w 196"/>
                <a:gd name="T31" fmla="*/ 0 h 4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6"/>
                <a:gd name="T49" fmla="*/ 0 h 46"/>
                <a:gd name="T50" fmla="*/ 196 w 196"/>
                <a:gd name="T51" fmla="*/ 46 h 4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6" h="46">
                  <a:moveTo>
                    <a:pt x="8" y="0"/>
                  </a:moveTo>
                  <a:lnTo>
                    <a:pt x="0" y="6"/>
                  </a:lnTo>
                  <a:lnTo>
                    <a:pt x="6" y="13"/>
                  </a:lnTo>
                  <a:lnTo>
                    <a:pt x="41" y="16"/>
                  </a:lnTo>
                  <a:lnTo>
                    <a:pt x="17" y="40"/>
                  </a:lnTo>
                  <a:lnTo>
                    <a:pt x="40" y="43"/>
                  </a:lnTo>
                  <a:lnTo>
                    <a:pt x="109" y="46"/>
                  </a:lnTo>
                  <a:lnTo>
                    <a:pt x="131" y="40"/>
                  </a:lnTo>
                  <a:lnTo>
                    <a:pt x="146" y="43"/>
                  </a:lnTo>
                  <a:lnTo>
                    <a:pt x="173" y="41"/>
                  </a:lnTo>
                  <a:lnTo>
                    <a:pt x="196" y="26"/>
                  </a:lnTo>
                  <a:lnTo>
                    <a:pt x="80" y="23"/>
                  </a:lnTo>
                  <a:lnTo>
                    <a:pt x="66" y="18"/>
                  </a:lnTo>
                  <a:lnTo>
                    <a:pt x="76" y="14"/>
                  </a:lnTo>
                  <a:lnTo>
                    <a:pt x="65" y="6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90" name="Freeform 47"/>
            <p:cNvSpPr>
              <a:spLocks noChangeAspect="1"/>
            </p:cNvSpPr>
            <p:nvPr/>
          </p:nvSpPr>
          <p:spPr bwMode="auto">
            <a:xfrm>
              <a:off x="3023697" y="1072869"/>
              <a:ext cx="150894" cy="68878"/>
            </a:xfrm>
            <a:custGeom>
              <a:avLst/>
              <a:gdLst>
                <a:gd name="T0" fmla="*/ 5 w 120"/>
                <a:gd name="T1" fmla="*/ 18 h 48"/>
                <a:gd name="T2" fmla="*/ 5 w 120"/>
                <a:gd name="T3" fmla="*/ 29 h 48"/>
                <a:gd name="T4" fmla="*/ 0 w 120"/>
                <a:gd name="T5" fmla="*/ 42 h 48"/>
                <a:gd name="T6" fmla="*/ 5 w 120"/>
                <a:gd name="T7" fmla="*/ 48 h 48"/>
                <a:gd name="T8" fmla="*/ 5 w 120"/>
                <a:gd name="T9" fmla="*/ 48 h 48"/>
                <a:gd name="T10" fmla="*/ 5 w 120"/>
                <a:gd name="T11" fmla="*/ 24 h 48"/>
                <a:gd name="T12" fmla="*/ 5 w 120"/>
                <a:gd name="T13" fmla="*/ 22 h 48"/>
                <a:gd name="T14" fmla="*/ 5 w 120"/>
                <a:gd name="T15" fmla="*/ 16 h 48"/>
                <a:gd name="T16" fmla="*/ 5 w 120"/>
                <a:gd name="T17" fmla="*/ 11 h 48"/>
                <a:gd name="T18" fmla="*/ 5 w 120"/>
                <a:gd name="T19" fmla="*/ 0 h 48"/>
                <a:gd name="T20" fmla="*/ 5 w 120"/>
                <a:gd name="T21" fmla="*/ 0 h 48"/>
                <a:gd name="T22" fmla="*/ 5 w 120"/>
                <a:gd name="T23" fmla="*/ 18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0"/>
                <a:gd name="T37" fmla="*/ 0 h 48"/>
                <a:gd name="T38" fmla="*/ 120 w 120"/>
                <a:gd name="T39" fmla="*/ 48 h 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0" h="48">
                  <a:moveTo>
                    <a:pt x="13" y="18"/>
                  </a:moveTo>
                  <a:lnTo>
                    <a:pt x="20" y="29"/>
                  </a:lnTo>
                  <a:lnTo>
                    <a:pt x="0" y="42"/>
                  </a:lnTo>
                  <a:lnTo>
                    <a:pt x="9" y="48"/>
                  </a:lnTo>
                  <a:lnTo>
                    <a:pt x="46" y="48"/>
                  </a:lnTo>
                  <a:lnTo>
                    <a:pt x="120" y="24"/>
                  </a:lnTo>
                  <a:lnTo>
                    <a:pt x="99" y="22"/>
                  </a:lnTo>
                  <a:lnTo>
                    <a:pt x="115" y="16"/>
                  </a:lnTo>
                  <a:lnTo>
                    <a:pt x="83" y="11"/>
                  </a:lnTo>
                  <a:lnTo>
                    <a:pt x="77" y="0"/>
                  </a:lnTo>
                  <a:lnTo>
                    <a:pt x="58" y="0"/>
                  </a:lnTo>
                  <a:lnTo>
                    <a:pt x="13" y="1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91" name="Freeform 48"/>
            <p:cNvSpPr>
              <a:spLocks noChangeAspect="1"/>
            </p:cNvSpPr>
            <p:nvPr/>
          </p:nvSpPr>
          <p:spPr bwMode="auto">
            <a:xfrm>
              <a:off x="3029286" y="1035560"/>
              <a:ext cx="592401" cy="154976"/>
            </a:xfrm>
            <a:custGeom>
              <a:avLst/>
              <a:gdLst>
                <a:gd name="T0" fmla="*/ 5 w 470"/>
                <a:gd name="T1" fmla="*/ 22 h 108"/>
                <a:gd name="T2" fmla="*/ 5 w 470"/>
                <a:gd name="T3" fmla="*/ 29 h 108"/>
                <a:gd name="T4" fmla="*/ 5 w 470"/>
                <a:gd name="T5" fmla="*/ 34 h 108"/>
                <a:gd name="T6" fmla="*/ 5 w 470"/>
                <a:gd name="T7" fmla="*/ 38 h 108"/>
                <a:gd name="T8" fmla="*/ 5 w 470"/>
                <a:gd name="T9" fmla="*/ 46 h 108"/>
                <a:gd name="T10" fmla="*/ 5 w 470"/>
                <a:gd name="T11" fmla="*/ 49 h 108"/>
                <a:gd name="T12" fmla="*/ 5 w 470"/>
                <a:gd name="T13" fmla="*/ 62 h 108"/>
                <a:gd name="T14" fmla="*/ 5 w 470"/>
                <a:gd name="T15" fmla="*/ 74 h 108"/>
                <a:gd name="T16" fmla="*/ 5 w 470"/>
                <a:gd name="T17" fmla="*/ 78 h 108"/>
                <a:gd name="T18" fmla="*/ 5 w 470"/>
                <a:gd name="T19" fmla="*/ 80 h 108"/>
                <a:gd name="T20" fmla="*/ 5 w 470"/>
                <a:gd name="T21" fmla="*/ 86 h 108"/>
                <a:gd name="T22" fmla="*/ 5 w 470"/>
                <a:gd name="T23" fmla="*/ 90 h 108"/>
                <a:gd name="T24" fmla="*/ 5 w 470"/>
                <a:gd name="T25" fmla="*/ 97 h 108"/>
                <a:gd name="T26" fmla="*/ 0 w 470"/>
                <a:gd name="T27" fmla="*/ 105 h 108"/>
                <a:gd name="T28" fmla="*/ 5 w 470"/>
                <a:gd name="T29" fmla="*/ 102 h 108"/>
                <a:gd name="T30" fmla="*/ 5 w 470"/>
                <a:gd name="T31" fmla="*/ 108 h 108"/>
                <a:gd name="T32" fmla="*/ 5 w 470"/>
                <a:gd name="T33" fmla="*/ 97 h 108"/>
                <a:gd name="T34" fmla="*/ 5 w 470"/>
                <a:gd name="T35" fmla="*/ 90 h 108"/>
                <a:gd name="T36" fmla="*/ 5 w 470"/>
                <a:gd name="T37" fmla="*/ 84 h 108"/>
                <a:gd name="T38" fmla="*/ 5 w 470"/>
                <a:gd name="T39" fmla="*/ 78 h 108"/>
                <a:gd name="T40" fmla="*/ 5 w 470"/>
                <a:gd name="T41" fmla="*/ 77 h 108"/>
                <a:gd name="T42" fmla="*/ 5 w 470"/>
                <a:gd name="T43" fmla="*/ 53 h 108"/>
                <a:gd name="T44" fmla="*/ 5 w 470"/>
                <a:gd name="T45" fmla="*/ 9 h 108"/>
                <a:gd name="T46" fmla="*/ 5 w 470"/>
                <a:gd name="T47" fmla="*/ 0 h 108"/>
                <a:gd name="T48" fmla="*/ 5 w 470"/>
                <a:gd name="T49" fmla="*/ 0 h 108"/>
                <a:gd name="T50" fmla="*/ 5 w 470"/>
                <a:gd name="T51" fmla="*/ 22 h 10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70"/>
                <a:gd name="T79" fmla="*/ 0 h 108"/>
                <a:gd name="T80" fmla="*/ 470 w 470"/>
                <a:gd name="T81" fmla="*/ 108 h 10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70" h="108">
                  <a:moveTo>
                    <a:pt x="96" y="22"/>
                  </a:moveTo>
                  <a:lnTo>
                    <a:pt x="93" y="29"/>
                  </a:lnTo>
                  <a:lnTo>
                    <a:pt x="107" y="34"/>
                  </a:lnTo>
                  <a:lnTo>
                    <a:pt x="133" y="38"/>
                  </a:lnTo>
                  <a:lnTo>
                    <a:pt x="111" y="46"/>
                  </a:lnTo>
                  <a:lnTo>
                    <a:pt x="127" y="49"/>
                  </a:lnTo>
                  <a:lnTo>
                    <a:pt x="116" y="62"/>
                  </a:lnTo>
                  <a:lnTo>
                    <a:pt x="62" y="74"/>
                  </a:lnTo>
                  <a:lnTo>
                    <a:pt x="83" y="78"/>
                  </a:lnTo>
                  <a:lnTo>
                    <a:pt x="50" y="80"/>
                  </a:lnTo>
                  <a:lnTo>
                    <a:pt x="42" y="86"/>
                  </a:lnTo>
                  <a:lnTo>
                    <a:pt x="51" y="90"/>
                  </a:lnTo>
                  <a:lnTo>
                    <a:pt x="10" y="97"/>
                  </a:lnTo>
                  <a:lnTo>
                    <a:pt x="0" y="105"/>
                  </a:lnTo>
                  <a:lnTo>
                    <a:pt x="108" y="102"/>
                  </a:lnTo>
                  <a:lnTo>
                    <a:pt x="110" y="108"/>
                  </a:lnTo>
                  <a:lnTo>
                    <a:pt x="165" y="97"/>
                  </a:lnTo>
                  <a:lnTo>
                    <a:pt x="153" y="90"/>
                  </a:lnTo>
                  <a:lnTo>
                    <a:pt x="181" y="84"/>
                  </a:lnTo>
                  <a:lnTo>
                    <a:pt x="182" y="78"/>
                  </a:lnTo>
                  <a:lnTo>
                    <a:pt x="213" y="77"/>
                  </a:lnTo>
                  <a:lnTo>
                    <a:pt x="264" y="53"/>
                  </a:lnTo>
                  <a:lnTo>
                    <a:pt x="470" y="9"/>
                  </a:lnTo>
                  <a:lnTo>
                    <a:pt x="376" y="0"/>
                  </a:lnTo>
                  <a:lnTo>
                    <a:pt x="292" y="0"/>
                  </a:lnTo>
                  <a:lnTo>
                    <a:pt x="96" y="2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92" name="Freeform 49"/>
            <p:cNvSpPr>
              <a:spLocks noChangeAspect="1"/>
            </p:cNvSpPr>
            <p:nvPr/>
          </p:nvSpPr>
          <p:spPr bwMode="auto">
            <a:xfrm>
              <a:off x="2833682" y="1117353"/>
              <a:ext cx="150894" cy="35874"/>
            </a:xfrm>
            <a:custGeom>
              <a:avLst/>
              <a:gdLst>
                <a:gd name="T0" fmla="*/ 0 w 119"/>
                <a:gd name="T1" fmla="*/ 0 h 25"/>
                <a:gd name="T2" fmla="*/ 5 w 119"/>
                <a:gd name="T3" fmla="*/ 6 h 25"/>
                <a:gd name="T4" fmla="*/ 0 w 119"/>
                <a:gd name="T5" fmla="*/ 11 h 25"/>
                <a:gd name="T6" fmla="*/ 5 w 119"/>
                <a:gd name="T7" fmla="*/ 15 h 25"/>
                <a:gd name="T8" fmla="*/ 5 w 119"/>
                <a:gd name="T9" fmla="*/ 17 h 25"/>
                <a:gd name="T10" fmla="*/ 5 w 119"/>
                <a:gd name="T11" fmla="*/ 25 h 25"/>
                <a:gd name="T12" fmla="*/ 5 w 119"/>
                <a:gd name="T13" fmla="*/ 15 h 25"/>
                <a:gd name="T14" fmla="*/ 5 w 119"/>
                <a:gd name="T15" fmla="*/ 5 h 25"/>
                <a:gd name="T16" fmla="*/ 5 w 119"/>
                <a:gd name="T17" fmla="*/ 19 h 25"/>
                <a:gd name="T18" fmla="*/ 5 w 119"/>
                <a:gd name="T19" fmla="*/ 17 h 25"/>
                <a:gd name="T20" fmla="*/ 5 w 119"/>
                <a:gd name="T21" fmla="*/ 5 h 25"/>
                <a:gd name="T22" fmla="*/ 5 w 119"/>
                <a:gd name="T23" fmla="*/ 0 h 25"/>
                <a:gd name="T24" fmla="*/ 0 w 119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9"/>
                <a:gd name="T40" fmla="*/ 0 h 25"/>
                <a:gd name="T41" fmla="*/ 119 w 119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9" h="25">
                  <a:moveTo>
                    <a:pt x="0" y="0"/>
                  </a:moveTo>
                  <a:lnTo>
                    <a:pt x="18" y="6"/>
                  </a:lnTo>
                  <a:lnTo>
                    <a:pt x="0" y="11"/>
                  </a:lnTo>
                  <a:lnTo>
                    <a:pt x="5" y="15"/>
                  </a:lnTo>
                  <a:lnTo>
                    <a:pt x="45" y="17"/>
                  </a:lnTo>
                  <a:lnTo>
                    <a:pt x="46" y="25"/>
                  </a:lnTo>
                  <a:lnTo>
                    <a:pt x="119" y="15"/>
                  </a:lnTo>
                  <a:lnTo>
                    <a:pt x="100" y="5"/>
                  </a:lnTo>
                  <a:lnTo>
                    <a:pt x="73" y="19"/>
                  </a:lnTo>
                  <a:lnTo>
                    <a:pt x="61" y="17"/>
                  </a:lnTo>
                  <a:lnTo>
                    <a:pt x="73" y="5"/>
                  </a:lnTo>
                  <a:lnTo>
                    <a:pt x="6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93" name="Freeform 50"/>
            <p:cNvSpPr>
              <a:spLocks noChangeAspect="1"/>
            </p:cNvSpPr>
            <p:nvPr/>
          </p:nvSpPr>
          <p:spPr bwMode="auto">
            <a:xfrm>
              <a:off x="2775001" y="1177621"/>
              <a:ext cx="110377" cy="41614"/>
            </a:xfrm>
            <a:custGeom>
              <a:avLst/>
              <a:gdLst>
                <a:gd name="T0" fmla="*/ 0 w 88"/>
                <a:gd name="T1" fmla="*/ 2 h 29"/>
                <a:gd name="T2" fmla="*/ 0 w 88"/>
                <a:gd name="T3" fmla="*/ 23 h 29"/>
                <a:gd name="T4" fmla="*/ 4 w 88"/>
                <a:gd name="T5" fmla="*/ 19 h 29"/>
                <a:gd name="T6" fmla="*/ 4 w 88"/>
                <a:gd name="T7" fmla="*/ 29 h 29"/>
                <a:gd name="T8" fmla="*/ 4 w 88"/>
                <a:gd name="T9" fmla="*/ 29 h 29"/>
                <a:gd name="T10" fmla="*/ 4 w 88"/>
                <a:gd name="T11" fmla="*/ 6 h 29"/>
                <a:gd name="T12" fmla="*/ 4 w 88"/>
                <a:gd name="T13" fmla="*/ 0 h 29"/>
                <a:gd name="T14" fmla="*/ 4 w 88"/>
                <a:gd name="T15" fmla="*/ 12 h 29"/>
                <a:gd name="T16" fmla="*/ 4 w 88"/>
                <a:gd name="T17" fmla="*/ 1 h 29"/>
                <a:gd name="T18" fmla="*/ 0 w 88"/>
                <a:gd name="T19" fmla="*/ 2 h 2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8"/>
                <a:gd name="T31" fmla="*/ 0 h 29"/>
                <a:gd name="T32" fmla="*/ 88 w 88"/>
                <a:gd name="T33" fmla="*/ 29 h 2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8" h="29">
                  <a:moveTo>
                    <a:pt x="0" y="2"/>
                  </a:moveTo>
                  <a:lnTo>
                    <a:pt x="0" y="23"/>
                  </a:lnTo>
                  <a:lnTo>
                    <a:pt x="24" y="19"/>
                  </a:lnTo>
                  <a:lnTo>
                    <a:pt x="24" y="29"/>
                  </a:lnTo>
                  <a:lnTo>
                    <a:pt x="56" y="29"/>
                  </a:lnTo>
                  <a:lnTo>
                    <a:pt x="88" y="6"/>
                  </a:lnTo>
                  <a:lnTo>
                    <a:pt x="52" y="0"/>
                  </a:lnTo>
                  <a:lnTo>
                    <a:pt x="27" y="12"/>
                  </a:lnTo>
                  <a:lnTo>
                    <a:pt x="14" y="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94" name="Freeform 51"/>
            <p:cNvSpPr>
              <a:spLocks noChangeAspect="1"/>
            </p:cNvSpPr>
            <p:nvPr/>
          </p:nvSpPr>
          <p:spPr bwMode="auto">
            <a:xfrm>
              <a:off x="2706540" y="1243629"/>
              <a:ext cx="124348" cy="74618"/>
            </a:xfrm>
            <a:custGeom>
              <a:avLst/>
              <a:gdLst>
                <a:gd name="T0" fmla="*/ 1 w 99"/>
                <a:gd name="T1" fmla="*/ 22 h 52"/>
                <a:gd name="T2" fmla="*/ 0 w 99"/>
                <a:gd name="T3" fmla="*/ 35 h 52"/>
                <a:gd name="T4" fmla="*/ 4 w 99"/>
                <a:gd name="T5" fmla="*/ 35 h 52"/>
                <a:gd name="T6" fmla="*/ 4 w 99"/>
                <a:gd name="T7" fmla="*/ 52 h 52"/>
                <a:gd name="T8" fmla="*/ 4 w 99"/>
                <a:gd name="T9" fmla="*/ 42 h 52"/>
                <a:gd name="T10" fmla="*/ 4 w 99"/>
                <a:gd name="T11" fmla="*/ 20 h 52"/>
                <a:gd name="T12" fmla="*/ 4 w 99"/>
                <a:gd name="T13" fmla="*/ 18 h 52"/>
                <a:gd name="T14" fmla="*/ 4 w 99"/>
                <a:gd name="T15" fmla="*/ 8 h 52"/>
                <a:gd name="T16" fmla="*/ 4 w 99"/>
                <a:gd name="T17" fmla="*/ 0 h 52"/>
                <a:gd name="T18" fmla="*/ 4 w 99"/>
                <a:gd name="T19" fmla="*/ 5 h 52"/>
                <a:gd name="T20" fmla="*/ 4 w 99"/>
                <a:gd name="T21" fmla="*/ 11 h 52"/>
                <a:gd name="T22" fmla="*/ 4 w 99"/>
                <a:gd name="T23" fmla="*/ 20 h 52"/>
                <a:gd name="T24" fmla="*/ 1 w 99"/>
                <a:gd name="T25" fmla="*/ 22 h 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9"/>
                <a:gd name="T40" fmla="*/ 0 h 52"/>
                <a:gd name="T41" fmla="*/ 99 w 99"/>
                <a:gd name="T42" fmla="*/ 52 h 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9" h="52">
                  <a:moveTo>
                    <a:pt x="1" y="22"/>
                  </a:moveTo>
                  <a:lnTo>
                    <a:pt x="0" y="35"/>
                  </a:lnTo>
                  <a:lnTo>
                    <a:pt x="16" y="35"/>
                  </a:lnTo>
                  <a:lnTo>
                    <a:pt x="25" y="52"/>
                  </a:lnTo>
                  <a:lnTo>
                    <a:pt x="71" y="42"/>
                  </a:lnTo>
                  <a:lnTo>
                    <a:pt x="90" y="20"/>
                  </a:lnTo>
                  <a:lnTo>
                    <a:pt x="74" y="18"/>
                  </a:lnTo>
                  <a:lnTo>
                    <a:pt x="97" y="8"/>
                  </a:lnTo>
                  <a:lnTo>
                    <a:pt x="99" y="0"/>
                  </a:lnTo>
                  <a:lnTo>
                    <a:pt x="44" y="5"/>
                  </a:lnTo>
                  <a:lnTo>
                    <a:pt x="34" y="11"/>
                  </a:lnTo>
                  <a:lnTo>
                    <a:pt x="38" y="20"/>
                  </a:lnTo>
                  <a:lnTo>
                    <a:pt x="1" y="2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95" name="Freeform 52"/>
            <p:cNvSpPr>
              <a:spLocks noChangeAspect="1"/>
            </p:cNvSpPr>
            <p:nvPr/>
          </p:nvSpPr>
          <p:spPr bwMode="auto">
            <a:xfrm>
              <a:off x="2642270" y="1144617"/>
              <a:ext cx="27943" cy="8610"/>
            </a:xfrm>
            <a:custGeom>
              <a:avLst/>
              <a:gdLst>
                <a:gd name="T0" fmla="*/ 0 w 22"/>
                <a:gd name="T1" fmla="*/ 2 h 6"/>
                <a:gd name="T2" fmla="*/ 5 w 22"/>
                <a:gd name="T3" fmla="*/ 6 h 6"/>
                <a:gd name="T4" fmla="*/ 5 w 22"/>
                <a:gd name="T5" fmla="*/ 0 h 6"/>
                <a:gd name="T6" fmla="*/ 0 w 22"/>
                <a:gd name="T7" fmla="*/ 2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6"/>
                <a:gd name="T14" fmla="*/ 22 w 2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6">
                  <a:moveTo>
                    <a:pt x="0" y="2"/>
                  </a:moveTo>
                  <a:lnTo>
                    <a:pt x="15" y="6"/>
                  </a:lnTo>
                  <a:lnTo>
                    <a:pt x="22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96" name="Freeform 53"/>
            <p:cNvSpPr>
              <a:spLocks noChangeAspect="1"/>
            </p:cNvSpPr>
            <p:nvPr/>
          </p:nvSpPr>
          <p:spPr bwMode="auto">
            <a:xfrm>
              <a:off x="2496964" y="1193406"/>
              <a:ext cx="48901" cy="14350"/>
            </a:xfrm>
            <a:custGeom>
              <a:avLst/>
              <a:gdLst>
                <a:gd name="T0" fmla="*/ 0 w 38"/>
                <a:gd name="T1" fmla="*/ 9 h 10"/>
                <a:gd name="T2" fmla="*/ 6 w 38"/>
                <a:gd name="T3" fmla="*/ 10 h 10"/>
                <a:gd name="T4" fmla="*/ 6 w 38"/>
                <a:gd name="T5" fmla="*/ 0 h 10"/>
                <a:gd name="T6" fmla="*/ 0 w 38"/>
                <a:gd name="T7" fmla="*/ 9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8"/>
                <a:gd name="T13" fmla="*/ 0 h 10"/>
                <a:gd name="T14" fmla="*/ 38 w 38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" h="10">
                  <a:moveTo>
                    <a:pt x="0" y="9"/>
                  </a:moveTo>
                  <a:lnTo>
                    <a:pt x="11" y="10"/>
                  </a:lnTo>
                  <a:lnTo>
                    <a:pt x="38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97" name="Freeform 54"/>
            <p:cNvSpPr>
              <a:spLocks noChangeAspect="1"/>
            </p:cNvSpPr>
            <p:nvPr/>
          </p:nvSpPr>
          <p:spPr bwMode="auto">
            <a:xfrm>
              <a:off x="2442474" y="1161837"/>
              <a:ext cx="181632" cy="37309"/>
            </a:xfrm>
            <a:custGeom>
              <a:avLst/>
              <a:gdLst>
                <a:gd name="T0" fmla="*/ 0 w 145"/>
                <a:gd name="T1" fmla="*/ 19 h 26"/>
                <a:gd name="T2" fmla="*/ 4 w 145"/>
                <a:gd name="T3" fmla="*/ 25 h 26"/>
                <a:gd name="T4" fmla="*/ 4 w 145"/>
                <a:gd name="T5" fmla="*/ 26 h 26"/>
                <a:gd name="T6" fmla="*/ 4 w 145"/>
                <a:gd name="T7" fmla="*/ 14 h 26"/>
                <a:gd name="T8" fmla="*/ 4 w 145"/>
                <a:gd name="T9" fmla="*/ 18 h 26"/>
                <a:gd name="T10" fmla="*/ 4 w 145"/>
                <a:gd name="T11" fmla="*/ 0 h 26"/>
                <a:gd name="T12" fmla="*/ 4 w 145"/>
                <a:gd name="T13" fmla="*/ 0 h 26"/>
                <a:gd name="T14" fmla="*/ 0 w 145"/>
                <a:gd name="T15" fmla="*/ 19 h 2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5"/>
                <a:gd name="T25" fmla="*/ 0 h 26"/>
                <a:gd name="T26" fmla="*/ 145 w 145"/>
                <a:gd name="T27" fmla="*/ 26 h 2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5" h="26">
                  <a:moveTo>
                    <a:pt x="0" y="19"/>
                  </a:moveTo>
                  <a:lnTo>
                    <a:pt x="4" y="25"/>
                  </a:lnTo>
                  <a:lnTo>
                    <a:pt x="37" y="26"/>
                  </a:lnTo>
                  <a:lnTo>
                    <a:pt x="77" y="14"/>
                  </a:lnTo>
                  <a:lnTo>
                    <a:pt x="90" y="18"/>
                  </a:lnTo>
                  <a:lnTo>
                    <a:pt x="145" y="0"/>
                  </a:lnTo>
                  <a:lnTo>
                    <a:pt x="94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98" name="Freeform 55"/>
            <p:cNvSpPr>
              <a:spLocks noChangeAspect="1"/>
            </p:cNvSpPr>
            <p:nvPr/>
          </p:nvSpPr>
          <p:spPr bwMode="auto">
            <a:xfrm>
              <a:off x="2517922" y="1174751"/>
              <a:ext cx="224945" cy="61703"/>
            </a:xfrm>
            <a:custGeom>
              <a:avLst/>
              <a:gdLst>
                <a:gd name="T0" fmla="*/ 0 w 178"/>
                <a:gd name="T1" fmla="*/ 27 h 43"/>
                <a:gd name="T2" fmla="*/ 5 w 178"/>
                <a:gd name="T3" fmla="*/ 32 h 43"/>
                <a:gd name="T4" fmla="*/ 5 w 178"/>
                <a:gd name="T5" fmla="*/ 27 h 43"/>
                <a:gd name="T6" fmla="*/ 5 w 178"/>
                <a:gd name="T7" fmla="*/ 33 h 43"/>
                <a:gd name="T8" fmla="*/ 5 w 178"/>
                <a:gd name="T9" fmla="*/ 37 h 43"/>
                <a:gd name="T10" fmla="*/ 5 w 178"/>
                <a:gd name="T11" fmla="*/ 43 h 43"/>
                <a:gd name="T12" fmla="*/ 5 w 178"/>
                <a:gd name="T13" fmla="*/ 32 h 43"/>
                <a:gd name="T14" fmla="*/ 5 w 178"/>
                <a:gd name="T15" fmla="*/ 16 h 43"/>
                <a:gd name="T16" fmla="*/ 5 w 178"/>
                <a:gd name="T17" fmla="*/ 9 h 43"/>
                <a:gd name="T18" fmla="*/ 5 w 178"/>
                <a:gd name="T19" fmla="*/ 0 h 43"/>
                <a:gd name="T20" fmla="*/ 5 w 178"/>
                <a:gd name="T21" fmla="*/ 10 h 43"/>
                <a:gd name="T22" fmla="*/ 5 w 178"/>
                <a:gd name="T23" fmla="*/ 13 h 43"/>
                <a:gd name="T24" fmla="*/ 5 w 178"/>
                <a:gd name="T25" fmla="*/ 17 h 43"/>
                <a:gd name="T26" fmla="*/ 5 w 178"/>
                <a:gd name="T27" fmla="*/ 23 h 43"/>
                <a:gd name="T28" fmla="*/ 5 w 178"/>
                <a:gd name="T29" fmla="*/ 22 h 43"/>
                <a:gd name="T30" fmla="*/ 5 w 178"/>
                <a:gd name="T31" fmla="*/ 11 h 43"/>
                <a:gd name="T32" fmla="*/ 5 w 178"/>
                <a:gd name="T33" fmla="*/ 6 h 43"/>
                <a:gd name="T34" fmla="*/ 0 w 178"/>
                <a:gd name="T35" fmla="*/ 2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8"/>
                <a:gd name="T55" fmla="*/ 0 h 43"/>
                <a:gd name="T56" fmla="*/ 178 w 178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8" h="43">
                  <a:moveTo>
                    <a:pt x="0" y="27"/>
                  </a:moveTo>
                  <a:lnTo>
                    <a:pt x="27" y="32"/>
                  </a:lnTo>
                  <a:lnTo>
                    <a:pt x="47" y="27"/>
                  </a:lnTo>
                  <a:lnTo>
                    <a:pt x="53" y="33"/>
                  </a:lnTo>
                  <a:lnTo>
                    <a:pt x="31" y="37"/>
                  </a:lnTo>
                  <a:lnTo>
                    <a:pt x="48" y="43"/>
                  </a:lnTo>
                  <a:lnTo>
                    <a:pt x="153" y="32"/>
                  </a:lnTo>
                  <a:lnTo>
                    <a:pt x="178" y="16"/>
                  </a:lnTo>
                  <a:lnTo>
                    <a:pt x="150" y="9"/>
                  </a:lnTo>
                  <a:lnTo>
                    <a:pt x="154" y="0"/>
                  </a:lnTo>
                  <a:lnTo>
                    <a:pt x="120" y="10"/>
                  </a:lnTo>
                  <a:lnTo>
                    <a:pt x="128" y="13"/>
                  </a:lnTo>
                  <a:lnTo>
                    <a:pt x="119" y="17"/>
                  </a:lnTo>
                  <a:lnTo>
                    <a:pt x="119" y="23"/>
                  </a:lnTo>
                  <a:lnTo>
                    <a:pt x="93" y="22"/>
                  </a:lnTo>
                  <a:lnTo>
                    <a:pt x="91" y="11"/>
                  </a:lnTo>
                  <a:lnTo>
                    <a:pt x="58" y="6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499" name="Freeform 56"/>
            <p:cNvSpPr>
              <a:spLocks noChangeAspect="1"/>
            </p:cNvSpPr>
            <p:nvPr/>
          </p:nvSpPr>
          <p:spPr bwMode="auto">
            <a:xfrm>
              <a:off x="2369821" y="1255109"/>
              <a:ext cx="328335" cy="137756"/>
            </a:xfrm>
            <a:custGeom>
              <a:avLst/>
              <a:gdLst>
                <a:gd name="T0" fmla="*/ 5 w 261"/>
                <a:gd name="T1" fmla="*/ 39 h 96"/>
                <a:gd name="T2" fmla="*/ 5 w 261"/>
                <a:gd name="T3" fmla="*/ 43 h 96"/>
                <a:gd name="T4" fmla="*/ 5 w 261"/>
                <a:gd name="T5" fmla="*/ 49 h 96"/>
                <a:gd name="T6" fmla="*/ 5 w 261"/>
                <a:gd name="T7" fmla="*/ 55 h 96"/>
                <a:gd name="T8" fmla="*/ 5 w 261"/>
                <a:gd name="T9" fmla="*/ 61 h 96"/>
                <a:gd name="T10" fmla="*/ 5 w 261"/>
                <a:gd name="T11" fmla="*/ 67 h 96"/>
                <a:gd name="T12" fmla="*/ 0 w 261"/>
                <a:gd name="T13" fmla="*/ 78 h 96"/>
                <a:gd name="T14" fmla="*/ 5 w 261"/>
                <a:gd name="T15" fmla="*/ 83 h 96"/>
                <a:gd name="T16" fmla="*/ 5 w 261"/>
                <a:gd name="T17" fmla="*/ 96 h 96"/>
                <a:gd name="T18" fmla="*/ 5 w 261"/>
                <a:gd name="T19" fmla="*/ 78 h 96"/>
                <a:gd name="T20" fmla="*/ 5 w 261"/>
                <a:gd name="T21" fmla="*/ 90 h 96"/>
                <a:gd name="T22" fmla="*/ 5 w 261"/>
                <a:gd name="T23" fmla="*/ 88 h 96"/>
                <a:gd name="T24" fmla="*/ 5 w 261"/>
                <a:gd name="T25" fmla="*/ 64 h 96"/>
                <a:gd name="T26" fmla="*/ 5 w 261"/>
                <a:gd name="T27" fmla="*/ 56 h 96"/>
                <a:gd name="T28" fmla="*/ 5 w 261"/>
                <a:gd name="T29" fmla="*/ 49 h 96"/>
                <a:gd name="T30" fmla="*/ 5 w 261"/>
                <a:gd name="T31" fmla="*/ 38 h 96"/>
                <a:gd name="T32" fmla="*/ 5 w 261"/>
                <a:gd name="T33" fmla="*/ 20 h 96"/>
                <a:gd name="T34" fmla="*/ 5 w 261"/>
                <a:gd name="T35" fmla="*/ 5 h 96"/>
                <a:gd name="T36" fmla="*/ 5 w 261"/>
                <a:gd name="T37" fmla="*/ 0 h 96"/>
                <a:gd name="T38" fmla="*/ 5 w 261"/>
                <a:gd name="T39" fmla="*/ 18 h 96"/>
                <a:gd name="T40" fmla="*/ 5 w 261"/>
                <a:gd name="T41" fmla="*/ 11 h 96"/>
                <a:gd name="T42" fmla="*/ 5 w 261"/>
                <a:gd name="T43" fmla="*/ 17 h 96"/>
                <a:gd name="T44" fmla="*/ 5 w 261"/>
                <a:gd name="T45" fmla="*/ 6 h 96"/>
                <a:gd name="T46" fmla="*/ 5 w 261"/>
                <a:gd name="T47" fmla="*/ 6 h 96"/>
                <a:gd name="T48" fmla="*/ 5 w 261"/>
                <a:gd name="T49" fmla="*/ 20 h 96"/>
                <a:gd name="T50" fmla="*/ 5 w 261"/>
                <a:gd name="T51" fmla="*/ 39 h 9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61"/>
                <a:gd name="T79" fmla="*/ 0 h 96"/>
                <a:gd name="T80" fmla="*/ 261 w 261"/>
                <a:gd name="T81" fmla="*/ 96 h 9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61" h="96">
                  <a:moveTo>
                    <a:pt x="11" y="39"/>
                  </a:moveTo>
                  <a:lnTo>
                    <a:pt x="23" y="43"/>
                  </a:lnTo>
                  <a:lnTo>
                    <a:pt x="11" y="49"/>
                  </a:lnTo>
                  <a:lnTo>
                    <a:pt x="19" y="55"/>
                  </a:lnTo>
                  <a:lnTo>
                    <a:pt x="76" y="61"/>
                  </a:lnTo>
                  <a:lnTo>
                    <a:pt x="9" y="67"/>
                  </a:lnTo>
                  <a:lnTo>
                    <a:pt x="0" y="78"/>
                  </a:lnTo>
                  <a:lnTo>
                    <a:pt x="34" y="83"/>
                  </a:lnTo>
                  <a:lnTo>
                    <a:pt x="31" y="96"/>
                  </a:lnTo>
                  <a:lnTo>
                    <a:pt x="153" y="78"/>
                  </a:lnTo>
                  <a:lnTo>
                    <a:pt x="173" y="90"/>
                  </a:lnTo>
                  <a:lnTo>
                    <a:pt x="193" y="88"/>
                  </a:lnTo>
                  <a:lnTo>
                    <a:pt x="245" y="64"/>
                  </a:lnTo>
                  <a:lnTo>
                    <a:pt x="209" y="56"/>
                  </a:lnTo>
                  <a:lnTo>
                    <a:pt x="203" y="49"/>
                  </a:lnTo>
                  <a:lnTo>
                    <a:pt x="218" y="38"/>
                  </a:lnTo>
                  <a:lnTo>
                    <a:pt x="225" y="20"/>
                  </a:lnTo>
                  <a:lnTo>
                    <a:pt x="261" y="5"/>
                  </a:lnTo>
                  <a:lnTo>
                    <a:pt x="233" y="0"/>
                  </a:lnTo>
                  <a:lnTo>
                    <a:pt x="191" y="18"/>
                  </a:lnTo>
                  <a:lnTo>
                    <a:pt x="146" y="11"/>
                  </a:lnTo>
                  <a:lnTo>
                    <a:pt x="118" y="17"/>
                  </a:lnTo>
                  <a:lnTo>
                    <a:pt x="127" y="6"/>
                  </a:lnTo>
                  <a:lnTo>
                    <a:pt x="110" y="6"/>
                  </a:lnTo>
                  <a:lnTo>
                    <a:pt x="49" y="20"/>
                  </a:lnTo>
                  <a:lnTo>
                    <a:pt x="11" y="3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00" name="Freeform 57"/>
            <p:cNvSpPr>
              <a:spLocks noChangeAspect="1"/>
            </p:cNvSpPr>
            <p:nvPr/>
          </p:nvSpPr>
          <p:spPr bwMode="auto">
            <a:xfrm>
              <a:off x="2285991" y="1232150"/>
              <a:ext cx="223547" cy="93273"/>
            </a:xfrm>
            <a:custGeom>
              <a:avLst/>
              <a:gdLst>
                <a:gd name="T0" fmla="*/ 0 w 177"/>
                <a:gd name="T1" fmla="*/ 45 h 65"/>
                <a:gd name="T2" fmla="*/ 5 w 177"/>
                <a:gd name="T3" fmla="*/ 53 h 65"/>
                <a:gd name="T4" fmla="*/ 5 w 177"/>
                <a:gd name="T5" fmla="*/ 65 h 65"/>
                <a:gd name="T6" fmla="*/ 5 w 177"/>
                <a:gd name="T7" fmla="*/ 57 h 65"/>
                <a:gd name="T8" fmla="*/ 5 w 177"/>
                <a:gd name="T9" fmla="*/ 36 h 65"/>
                <a:gd name="T10" fmla="*/ 5 w 177"/>
                <a:gd name="T11" fmla="*/ 19 h 65"/>
                <a:gd name="T12" fmla="*/ 5 w 177"/>
                <a:gd name="T13" fmla="*/ 5 h 65"/>
                <a:gd name="T14" fmla="*/ 5 w 177"/>
                <a:gd name="T15" fmla="*/ 0 h 65"/>
                <a:gd name="T16" fmla="*/ 5 w 177"/>
                <a:gd name="T17" fmla="*/ 9 h 65"/>
                <a:gd name="T18" fmla="*/ 5 w 177"/>
                <a:gd name="T19" fmla="*/ 19 h 65"/>
                <a:gd name="T20" fmla="*/ 0 w 177"/>
                <a:gd name="T21" fmla="*/ 45 h 6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7"/>
                <a:gd name="T34" fmla="*/ 0 h 65"/>
                <a:gd name="T35" fmla="*/ 177 w 177"/>
                <a:gd name="T36" fmla="*/ 65 h 6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7" h="65">
                  <a:moveTo>
                    <a:pt x="0" y="45"/>
                  </a:moveTo>
                  <a:lnTo>
                    <a:pt x="9" y="53"/>
                  </a:lnTo>
                  <a:lnTo>
                    <a:pt x="6" y="65"/>
                  </a:lnTo>
                  <a:lnTo>
                    <a:pt x="49" y="57"/>
                  </a:lnTo>
                  <a:lnTo>
                    <a:pt x="97" y="36"/>
                  </a:lnTo>
                  <a:lnTo>
                    <a:pt x="177" y="19"/>
                  </a:lnTo>
                  <a:lnTo>
                    <a:pt x="161" y="5"/>
                  </a:lnTo>
                  <a:lnTo>
                    <a:pt x="117" y="0"/>
                  </a:lnTo>
                  <a:lnTo>
                    <a:pt x="62" y="9"/>
                  </a:lnTo>
                  <a:lnTo>
                    <a:pt x="57" y="19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01" name="Freeform 58"/>
            <p:cNvSpPr>
              <a:spLocks noChangeAspect="1"/>
            </p:cNvSpPr>
            <p:nvPr/>
          </p:nvSpPr>
          <p:spPr bwMode="auto">
            <a:xfrm>
              <a:off x="1611158" y="1823354"/>
              <a:ext cx="44709" cy="67443"/>
            </a:xfrm>
            <a:custGeom>
              <a:avLst/>
              <a:gdLst>
                <a:gd name="T0" fmla="*/ 5 w 35"/>
                <a:gd name="T1" fmla="*/ 0 h 47"/>
                <a:gd name="T2" fmla="*/ 2 w 35"/>
                <a:gd name="T3" fmla="*/ 12 h 47"/>
                <a:gd name="T4" fmla="*/ 0 w 35"/>
                <a:gd name="T5" fmla="*/ 37 h 47"/>
                <a:gd name="T6" fmla="*/ 5 w 35"/>
                <a:gd name="T7" fmla="*/ 47 h 47"/>
                <a:gd name="T8" fmla="*/ 5 w 35"/>
                <a:gd name="T9" fmla="*/ 30 h 47"/>
                <a:gd name="T10" fmla="*/ 5 w 35"/>
                <a:gd name="T11" fmla="*/ 1 h 47"/>
                <a:gd name="T12" fmla="*/ 5 w 35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7"/>
                <a:gd name="T23" fmla="*/ 35 w 35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7">
                  <a:moveTo>
                    <a:pt x="12" y="0"/>
                  </a:moveTo>
                  <a:lnTo>
                    <a:pt x="2" y="12"/>
                  </a:lnTo>
                  <a:lnTo>
                    <a:pt x="0" y="37"/>
                  </a:lnTo>
                  <a:lnTo>
                    <a:pt x="6" y="47"/>
                  </a:lnTo>
                  <a:lnTo>
                    <a:pt x="6" y="30"/>
                  </a:lnTo>
                  <a:lnTo>
                    <a:pt x="35" y="1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02" name="Freeform 59"/>
            <p:cNvSpPr>
              <a:spLocks noChangeAspect="1"/>
            </p:cNvSpPr>
            <p:nvPr/>
          </p:nvSpPr>
          <p:spPr bwMode="auto">
            <a:xfrm>
              <a:off x="1647484" y="1926671"/>
              <a:ext cx="68461" cy="80358"/>
            </a:xfrm>
            <a:custGeom>
              <a:avLst/>
              <a:gdLst>
                <a:gd name="T0" fmla="*/ 0 w 54"/>
                <a:gd name="T1" fmla="*/ 4 h 56"/>
                <a:gd name="T2" fmla="*/ 1 w 54"/>
                <a:gd name="T3" fmla="*/ 15 h 56"/>
                <a:gd name="T4" fmla="*/ 5 w 54"/>
                <a:gd name="T5" fmla="*/ 26 h 56"/>
                <a:gd name="T6" fmla="*/ 5 w 54"/>
                <a:gd name="T7" fmla="*/ 32 h 56"/>
                <a:gd name="T8" fmla="*/ 5 w 54"/>
                <a:gd name="T9" fmla="*/ 42 h 56"/>
                <a:gd name="T10" fmla="*/ 5 w 54"/>
                <a:gd name="T11" fmla="*/ 46 h 56"/>
                <a:gd name="T12" fmla="*/ 5 w 54"/>
                <a:gd name="T13" fmla="*/ 56 h 56"/>
                <a:gd name="T14" fmla="*/ 5 w 54"/>
                <a:gd name="T15" fmla="*/ 53 h 56"/>
                <a:gd name="T16" fmla="*/ 5 w 54"/>
                <a:gd name="T17" fmla="*/ 14 h 56"/>
                <a:gd name="T18" fmla="*/ 5 w 54"/>
                <a:gd name="T19" fmla="*/ 0 h 56"/>
                <a:gd name="T20" fmla="*/ 0 w 54"/>
                <a:gd name="T21" fmla="*/ 4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4"/>
                <a:gd name="T34" fmla="*/ 0 h 56"/>
                <a:gd name="T35" fmla="*/ 54 w 54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4" h="56">
                  <a:moveTo>
                    <a:pt x="0" y="4"/>
                  </a:moveTo>
                  <a:lnTo>
                    <a:pt x="1" y="15"/>
                  </a:lnTo>
                  <a:lnTo>
                    <a:pt x="16" y="26"/>
                  </a:lnTo>
                  <a:lnTo>
                    <a:pt x="11" y="32"/>
                  </a:lnTo>
                  <a:lnTo>
                    <a:pt x="30" y="42"/>
                  </a:lnTo>
                  <a:lnTo>
                    <a:pt x="27" y="46"/>
                  </a:lnTo>
                  <a:lnTo>
                    <a:pt x="44" y="56"/>
                  </a:lnTo>
                  <a:lnTo>
                    <a:pt x="54" y="53"/>
                  </a:lnTo>
                  <a:lnTo>
                    <a:pt x="42" y="14"/>
                  </a:lnTo>
                  <a:lnTo>
                    <a:pt x="10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03" name="Freeform 60"/>
            <p:cNvSpPr>
              <a:spLocks noChangeAspect="1"/>
            </p:cNvSpPr>
            <p:nvPr/>
          </p:nvSpPr>
          <p:spPr bwMode="auto">
            <a:xfrm>
              <a:off x="3272394" y="1057084"/>
              <a:ext cx="821537" cy="621338"/>
            </a:xfrm>
            <a:custGeom>
              <a:avLst/>
              <a:gdLst>
                <a:gd name="T0" fmla="*/ 1 w 812"/>
                <a:gd name="T1" fmla="*/ 84 h 433"/>
                <a:gd name="T2" fmla="*/ 1 w 812"/>
                <a:gd name="T3" fmla="*/ 94 h 433"/>
                <a:gd name="T4" fmla="*/ 1 w 812"/>
                <a:gd name="T5" fmla="*/ 107 h 433"/>
                <a:gd name="T6" fmla="*/ 1 w 812"/>
                <a:gd name="T7" fmla="*/ 116 h 433"/>
                <a:gd name="T8" fmla="*/ 1 w 812"/>
                <a:gd name="T9" fmla="*/ 123 h 433"/>
                <a:gd name="T10" fmla="*/ 1 w 812"/>
                <a:gd name="T11" fmla="*/ 143 h 433"/>
                <a:gd name="T12" fmla="*/ 1 w 812"/>
                <a:gd name="T13" fmla="*/ 160 h 433"/>
                <a:gd name="T14" fmla="*/ 1 w 812"/>
                <a:gd name="T15" fmla="*/ 187 h 433"/>
                <a:gd name="T16" fmla="*/ 1 w 812"/>
                <a:gd name="T17" fmla="*/ 200 h 433"/>
                <a:gd name="T18" fmla="*/ 1 w 812"/>
                <a:gd name="T19" fmla="*/ 205 h 433"/>
                <a:gd name="T20" fmla="*/ 1 w 812"/>
                <a:gd name="T21" fmla="*/ 219 h 433"/>
                <a:gd name="T22" fmla="*/ 1 w 812"/>
                <a:gd name="T23" fmla="*/ 234 h 433"/>
                <a:gd name="T24" fmla="*/ 1 w 812"/>
                <a:gd name="T25" fmla="*/ 230 h 433"/>
                <a:gd name="T26" fmla="*/ 1 w 812"/>
                <a:gd name="T27" fmla="*/ 255 h 433"/>
                <a:gd name="T28" fmla="*/ 1 w 812"/>
                <a:gd name="T29" fmla="*/ 264 h 433"/>
                <a:gd name="T30" fmla="*/ 1 w 812"/>
                <a:gd name="T31" fmla="*/ 316 h 433"/>
                <a:gd name="T32" fmla="*/ 1 w 812"/>
                <a:gd name="T33" fmla="*/ 346 h 433"/>
                <a:gd name="T34" fmla="*/ 1 w 812"/>
                <a:gd name="T35" fmla="*/ 399 h 433"/>
                <a:gd name="T36" fmla="*/ 1 w 812"/>
                <a:gd name="T37" fmla="*/ 418 h 433"/>
                <a:gd name="T38" fmla="*/ 1 w 812"/>
                <a:gd name="T39" fmla="*/ 430 h 433"/>
                <a:gd name="T40" fmla="*/ 1 w 812"/>
                <a:gd name="T41" fmla="*/ 374 h 433"/>
                <a:gd name="T42" fmla="*/ 1 w 812"/>
                <a:gd name="T43" fmla="*/ 336 h 433"/>
                <a:gd name="T44" fmla="*/ 1 w 812"/>
                <a:gd name="T45" fmla="*/ 324 h 433"/>
                <a:gd name="T46" fmla="*/ 1 w 812"/>
                <a:gd name="T47" fmla="*/ 306 h 433"/>
                <a:gd name="T48" fmla="*/ 1 w 812"/>
                <a:gd name="T49" fmla="*/ 250 h 433"/>
                <a:gd name="T50" fmla="*/ 1 w 812"/>
                <a:gd name="T51" fmla="*/ 226 h 433"/>
                <a:gd name="T52" fmla="*/ 1 w 812"/>
                <a:gd name="T53" fmla="*/ 225 h 433"/>
                <a:gd name="T54" fmla="*/ 1 w 812"/>
                <a:gd name="T55" fmla="*/ 205 h 433"/>
                <a:gd name="T56" fmla="*/ 1 w 812"/>
                <a:gd name="T57" fmla="*/ 216 h 433"/>
                <a:gd name="T58" fmla="*/ 1 w 812"/>
                <a:gd name="T59" fmla="*/ 200 h 433"/>
                <a:gd name="T60" fmla="*/ 1 w 812"/>
                <a:gd name="T61" fmla="*/ 188 h 433"/>
                <a:gd name="T62" fmla="*/ 1 w 812"/>
                <a:gd name="T63" fmla="*/ 170 h 433"/>
                <a:gd name="T64" fmla="*/ 1 w 812"/>
                <a:gd name="T65" fmla="*/ 156 h 433"/>
                <a:gd name="T66" fmla="*/ 1 w 812"/>
                <a:gd name="T67" fmla="*/ 148 h 433"/>
                <a:gd name="T68" fmla="*/ 1 w 812"/>
                <a:gd name="T69" fmla="*/ 141 h 433"/>
                <a:gd name="T70" fmla="*/ 1 w 812"/>
                <a:gd name="T71" fmla="*/ 114 h 433"/>
                <a:gd name="T72" fmla="*/ 1 w 812"/>
                <a:gd name="T73" fmla="*/ 106 h 433"/>
                <a:gd name="T74" fmla="*/ 1 w 812"/>
                <a:gd name="T75" fmla="*/ 99 h 433"/>
                <a:gd name="T76" fmla="*/ 1 w 812"/>
                <a:gd name="T77" fmla="*/ 77 h 433"/>
                <a:gd name="T78" fmla="*/ 1 w 812"/>
                <a:gd name="T79" fmla="*/ 44 h 433"/>
                <a:gd name="T80" fmla="*/ 1 w 812"/>
                <a:gd name="T81" fmla="*/ 23 h 433"/>
                <a:gd name="T82" fmla="*/ 1 w 812"/>
                <a:gd name="T83" fmla="*/ 23 h 433"/>
                <a:gd name="T84" fmla="*/ 1 w 812"/>
                <a:gd name="T85" fmla="*/ 26 h 433"/>
                <a:gd name="T86" fmla="*/ 1 w 812"/>
                <a:gd name="T87" fmla="*/ 14 h 433"/>
                <a:gd name="T88" fmla="*/ 1 w 812"/>
                <a:gd name="T89" fmla="*/ 5 h 433"/>
                <a:gd name="T90" fmla="*/ 1 w 812"/>
                <a:gd name="T91" fmla="*/ 16 h 433"/>
                <a:gd name="T92" fmla="*/ 1 w 812"/>
                <a:gd name="T93" fmla="*/ 29 h 433"/>
                <a:gd name="T94" fmla="*/ 1 w 812"/>
                <a:gd name="T95" fmla="*/ 33 h 433"/>
                <a:gd name="T96" fmla="*/ 1 w 812"/>
                <a:gd name="T97" fmla="*/ 49 h 433"/>
                <a:gd name="T98" fmla="*/ 1 w 812"/>
                <a:gd name="T99" fmla="*/ 63 h 433"/>
                <a:gd name="T100" fmla="*/ 0 w 812"/>
                <a:gd name="T101" fmla="*/ 80 h 43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12"/>
                <a:gd name="T154" fmla="*/ 0 h 433"/>
                <a:gd name="T155" fmla="*/ 812 w 812"/>
                <a:gd name="T156" fmla="*/ 433 h 43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12" h="433">
                  <a:moveTo>
                    <a:pt x="0" y="80"/>
                  </a:moveTo>
                  <a:lnTo>
                    <a:pt x="30" y="84"/>
                  </a:lnTo>
                  <a:lnTo>
                    <a:pt x="29" y="90"/>
                  </a:lnTo>
                  <a:lnTo>
                    <a:pt x="45" y="94"/>
                  </a:lnTo>
                  <a:lnTo>
                    <a:pt x="3" y="100"/>
                  </a:lnTo>
                  <a:lnTo>
                    <a:pt x="29" y="107"/>
                  </a:lnTo>
                  <a:lnTo>
                    <a:pt x="14" y="111"/>
                  </a:lnTo>
                  <a:lnTo>
                    <a:pt x="24" y="116"/>
                  </a:lnTo>
                  <a:lnTo>
                    <a:pt x="116" y="114"/>
                  </a:lnTo>
                  <a:lnTo>
                    <a:pt x="154" y="123"/>
                  </a:lnTo>
                  <a:lnTo>
                    <a:pt x="149" y="129"/>
                  </a:lnTo>
                  <a:lnTo>
                    <a:pt x="163" y="143"/>
                  </a:lnTo>
                  <a:lnTo>
                    <a:pt x="157" y="153"/>
                  </a:lnTo>
                  <a:lnTo>
                    <a:pt x="163" y="160"/>
                  </a:lnTo>
                  <a:lnTo>
                    <a:pt x="149" y="179"/>
                  </a:lnTo>
                  <a:lnTo>
                    <a:pt x="150" y="187"/>
                  </a:lnTo>
                  <a:lnTo>
                    <a:pt x="138" y="196"/>
                  </a:lnTo>
                  <a:lnTo>
                    <a:pt x="161" y="200"/>
                  </a:lnTo>
                  <a:lnTo>
                    <a:pt x="174" y="194"/>
                  </a:lnTo>
                  <a:lnTo>
                    <a:pt x="176" y="205"/>
                  </a:lnTo>
                  <a:lnTo>
                    <a:pt x="190" y="209"/>
                  </a:lnTo>
                  <a:lnTo>
                    <a:pt x="190" y="219"/>
                  </a:lnTo>
                  <a:lnTo>
                    <a:pt x="150" y="211"/>
                  </a:lnTo>
                  <a:lnTo>
                    <a:pt x="128" y="234"/>
                  </a:lnTo>
                  <a:lnTo>
                    <a:pt x="142" y="242"/>
                  </a:lnTo>
                  <a:lnTo>
                    <a:pt x="183" y="230"/>
                  </a:lnTo>
                  <a:lnTo>
                    <a:pt x="184" y="240"/>
                  </a:lnTo>
                  <a:lnTo>
                    <a:pt x="173" y="255"/>
                  </a:lnTo>
                  <a:lnTo>
                    <a:pt x="149" y="255"/>
                  </a:lnTo>
                  <a:lnTo>
                    <a:pt x="134" y="264"/>
                  </a:lnTo>
                  <a:lnTo>
                    <a:pt x="108" y="306"/>
                  </a:lnTo>
                  <a:lnTo>
                    <a:pt x="120" y="316"/>
                  </a:lnTo>
                  <a:lnTo>
                    <a:pt x="114" y="340"/>
                  </a:lnTo>
                  <a:lnTo>
                    <a:pt x="121" y="346"/>
                  </a:lnTo>
                  <a:lnTo>
                    <a:pt x="119" y="354"/>
                  </a:lnTo>
                  <a:lnTo>
                    <a:pt x="133" y="399"/>
                  </a:lnTo>
                  <a:lnTo>
                    <a:pt x="143" y="411"/>
                  </a:lnTo>
                  <a:lnTo>
                    <a:pt x="177" y="418"/>
                  </a:lnTo>
                  <a:lnTo>
                    <a:pt x="201" y="433"/>
                  </a:lnTo>
                  <a:lnTo>
                    <a:pt x="213" y="430"/>
                  </a:lnTo>
                  <a:lnTo>
                    <a:pt x="250" y="387"/>
                  </a:lnTo>
                  <a:lnTo>
                    <a:pt x="248" y="374"/>
                  </a:lnTo>
                  <a:lnTo>
                    <a:pt x="281" y="357"/>
                  </a:lnTo>
                  <a:lnTo>
                    <a:pt x="296" y="336"/>
                  </a:lnTo>
                  <a:lnTo>
                    <a:pt x="292" y="323"/>
                  </a:lnTo>
                  <a:lnTo>
                    <a:pt x="307" y="324"/>
                  </a:lnTo>
                  <a:lnTo>
                    <a:pt x="315" y="316"/>
                  </a:lnTo>
                  <a:lnTo>
                    <a:pt x="381" y="306"/>
                  </a:lnTo>
                  <a:lnTo>
                    <a:pt x="448" y="268"/>
                  </a:lnTo>
                  <a:lnTo>
                    <a:pt x="542" y="250"/>
                  </a:lnTo>
                  <a:lnTo>
                    <a:pt x="593" y="232"/>
                  </a:lnTo>
                  <a:lnTo>
                    <a:pt x="605" y="226"/>
                  </a:lnTo>
                  <a:lnTo>
                    <a:pt x="570" y="220"/>
                  </a:lnTo>
                  <a:lnTo>
                    <a:pt x="549" y="225"/>
                  </a:lnTo>
                  <a:lnTo>
                    <a:pt x="568" y="215"/>
                  </a:lnTo>
                  <a:lnTo>
                    <a:pt x="568" y="205"/>
                  </a:lnTo>
                  <a:lnTo>
                    <a:pt x="583" y="203"/>
                  </a:lnTo>
                  <a:lnTo>
                    <a:pt x="585" y="216"/>
                  </a:lnTo>
                  <a:lnTo>
                    <a:pt x="617" y="219"/>
                  </a:lnTo>
                  <a:lnTo>
                    <a:pt x="623" y="200"/>
                  </a:lnTo>
                  <a:lnTo>
                    <a:pt x="590" y="181"/>
                  </a:lnTo>
                  <a:lnTo>
                    <a:pt x="624" y="188"/>
                  </a:lnTo>
                  <a:lnTo>
                    <a:pt x="629" y="173"/>
                  </a:lnTo>
                  <a:lnTo>
                    <a:pt x="616" y="170"/>
                  </a:lnTo>
                  <a:lnTo>
                    <a:pt x="656" y="163"/>
                  </a:lnTo>
                  <a:lnTo>
                    <a:pt x="658" y="156"/>
                  </a:lnTo>
                  <a:lnTo>
                    <a:pt x="642" y="153"/>
                  </a:lnTo>
                  <a:lnTo>
                    <a:pt x="675" y="148"/>
                  </a:lnTo>
                  <a:lnTo>
                    <a:pt x="684" y="141"/>
                  </a:lnTo>
                  <a:lnTo>
                    <a:pt x="665" y="141"/>
                  </a:lnTo>
                  <a:lnTo>
                    <a:pt x="681" y="123"/>
                  </a:lnTo>
                  <a:lnTo>
                    <a:pt x="676" y="114"/>
                  </a:lnTo>
                  <a:lnTo>
                    <a:pt x="657" y="112"/>
                  </a:lnTo>
                  <a:lnTo>
                    <a:pt x="661" y="106"/>
                  </a:lnTo>
                  <a:lnTo>
                    <a:pt x="702" y="105"/>
                  </a:lnTo>
                  <a:lnTo>
                    <a:pt x="707" y="99"/>
                  </a:lnTo>
                  <a:lnTo>
                    <a:pt x="692" y="84"/>
                  </a:lnTo>
                  <a:lnTo>
                    <a:pt x="702" y="77"/>
                  </a:lnTo>
                  <a:lnTo>
                    <a:pt x="701" y="69"/>
                  </a:lnTo>
                  <a:lnTo>
                    <a:pt x="756" y="44"/>
                  </a:lnTo>
                  <a:lnTo>
                    <a:pt x="812" y="31"/>
                  </a:lnTo>
                  <a:lnTo>
                    <a:pt x="758" y="23"/>
                  </a:lnTo>
                  <a:lnTo>
                    <a:pt x="647" y="37"/>
                  </a:lnTo>
                  <a:lnTo>
                    <a:pt x="697" y="23"/>
                  </a:lnTo>
                  <a:lnTo>
                    <a:pt x="695" y="20"/>
                  </a:lnTo>
                  <a:lnTo>
                    <a:pt x="647" y="26"/>
                  </a:lnTo>
                  <a:lnTo>
                    <a:pt x="650" y="20"/>
                  </a:lnTo>
                  <a:lnTo>
                    <a:pt x="718" y="14"/>
                  </a:lnTo>
                  <a:lnTo>
                    <a:pt x="636" y="0"/>
                  </a:lnTo>
                  <a:lnTo>
                    <a:pt x="435" y="5"/>
                  </a:lnTo>
                  <a:lnTo>
                    <a:pt x="332" y="21"/>
                  </a:lnTo>
                  <a:lnTo>
                    <a:pt x="297" y="16"/>
                  </a:lnTo>
                  <a:lnTo>
                    <a:pt x="197" y="25"/>
                  </a:lnTo>
                  <a:lnTo>
                    <a:pt x="202" y="29"/>
                  </a:lnTo>
                  <a:lnTo>
                    <a:pt x="190" y="33"/>
                  </a:lnTo>
                  <a:lnTo>
                    <a:pt x="167" y="33"/>
                  </a:lnTo>
                  <a:lnTo>
                    <a:pt x="102" y="49"/>
                  </a:lnTo>
                  <a:lnTo>
                    <a:pt x="136" y="49"/>
                  </a:lnTo>
                  <a:lnTo>
                    <a:pt x="136" y="54"/>
                  </a:lnTo>
                  <a:lnTo>
                    <a:pt x="111" y="63"/>
                  </a:lnTo>
                  <a:lnTo>
                    <a:pt x="15" y="73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04" name="Freeform 61"/>
            <p:cNvSpPr>
              <a:spLocks noChangeAspect="1"/>
            </p:cNvSpPr>
            <p:nvPr/>
          </p:nvSpPr>
          <p:spPr bwMode="auto">
            <a:xfrm>
              <a:off x="2628298" y="2423168"/>
              <a:ext cx="16766" cy="17220"/>
            </a:xfrm>
            <a:custGeom>
              <a:avLst/>
              <a:gdLst>
                <a:gd name="T0" fmla="*/ 0 w 15"/>
                <a:gd name="T1" fmla="*/ 12 h 12"/>
                <a:gd name="T2" fmla="*/ 2 w 15"/>
                <a:gd name="T3" fmla="*/ 0 h 12"/>
                <a:gd name="T4" fmla="*/ 0 w 15"/>
                <a:gd name="T5" fmla="*/ 12 h 12"/>
                <a:gd name="T6" fmla="*/ 0 60000 65536"/>
                <a:gd name="T7" fmla="*/ 0 60000 65536"/>
                <a:gd name="T8" fmla="*/ 0 60000 65536"/>
                <a:gd name="T9" fmla="*/ 0 w 15"/>
                <a:gd name="T10" fmla="*/ 0 h 12"/>
                <a:gd name="T11" fmla="*/ 15 w 15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2">
                  <a:moveTo>
                    <a:pt x="0" y="12"/>
                  </a:moveTo>
                  <a:lnTo>
                    <a:pt x="15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05" name="Freeform 62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1534313" y="1972590"/>
              <a:ext cx="1408348" cy="796404"/>
            </a:xfrm>
            <a:custGeom>
              <a:avLst/>
              <a:gdLst>
                <a:gd name="T0" fmla="*/ 5 w 1116"/>
                <a:gd name="T1" fmla="*/ 450 h 555"/>
                <a:gd name="T2" fmla="*/ 5 w 1116"/>
                <a:gd name="T3" fmla="*/ 449 h 555"/>
                <a:gd name="T4" fmla="*/ 5 w 1116"/>
                <a:gd name="T5" fmla="*/ 462 h 555"/>
                <a:gd name="T6" fmla="*/ 5 w 1116"/>
                <a:gd name="T7" fmla="*/ 462 h 555"/>
                <a:gd name="T8" fmla="*/ 5 w 1116"/>
                <a:gd name="T9" fmla="*/ 441 h 555"/>
                <a:gd name="T10" fmla="*/ 5 w 1116"/>
                <a:gd name="T11" fmla="*/ 428 h 555"/>
                <a:gd name="T12" fmla="*/ 5 w 1116"/>
                <a:gd name="T13" fmla="*/ 441 h 555"/>
                <a:gd name="T14" fmla="*/ 5 w 1116"/>
                <a:gd name="T15" fmla="*/ 464 h 555"/>
                <a:gd name="T16" fmla="*/ 5 w 1116"/>
                <a:gd name="T17" fmla="*/ 554 h 555"/>
                <a:gd name="T18" fmla="*/ 5 w 1116"/>
                <a:gd name="T19" fmla="*/ 419 h 555"/>
                <a:gd name="T20" fmla="*/ 5 w 1116"/>
                <a:gd name="T21" fmla="*/ 307 h 555"/>
                <a:gd name="T22" fmla="*/ 5 w 1116"/>
                <a:gd name="T23" fmla="*/ 310 h 555"/>
                <a:gd name="T24" fmla="*/ 5 w 1116"/>
                <a:gd name="T25" fmla="*/ 253 h 555"/>
                <a:gd name="T26" fmla="*/ 5 w 1116"/>
                <a:gd name="T27" fmla="*/ 225 h 555"/>
                <a:gd name="T28" fmla="*/ 5 w 1116"/>
                <a:gd name="T29" fmla="*/ 259 h 555"/>
                <a:gd name="T30" fmla="*/ 5 w 1116"/>
                <a:gd name="T31" fmla="*/ 250 h 555"/>
                <a:gd name="T32" fmla="*/ 5 w 1116"/>
                <a:gd name="T33" fmla="*/ 229 h 555"/>
                <a:gd name="T34" fmla="*/ 5 w 1116"/>
                <a:gd name="T35" fmla="*/ 173 h 555"/>
                <a:gd name="T36" fmla="*/ 5 w 1116"/>
                <a:gd name="T37" fmla="*/ 168 h 555"/>
                <a:gd name="T38" fmla="*/ 5 w 1116"/>
                <a:gd name="T39" fmla="*/ 130 h 555"/>
                <a:gd name="T40" fmla="*/ 5 w 1116"/>
                <a:gd name="T41" fmla="*/ 95 h 555"/>
                <a:gd name="T42" fmla="*/ 5 w 1116"/>
                <a:gd name="T43" fmla="*/ 52 h 555"/>
                <a:gd name="T44" fmla="*/ 5 w 1116"/>
                <a:gd name="T45" fmla="*/ 99 h 555"/>
                <a:gd name="T46" fmla="*/ 5 w 1116"/>
                <a:gd name="T47" fmla="*/ 134 h 555"/>
                <a:gd name="T48" fmla="*/ 5 w 1116"/>
                <a:gd name="T49" fmla="*/ 178 h 555"/>
                <a:gd name="T50" fmla="*/ 5 w 1116"/>
                <a:gd name="T51" fmla="*/ 172 h 555"/>
                <a:gd name="T52" fmla="*/ 5 w 1116"/>
                <a:gd name="T53" fmla="*/ 121 h 555"/>
                <a:gd name="T54" fmla="*/ 5 w 1116"/>
                <a:gd name="T55" fmla="*/ 91 h 555"/>
                <a:gd name="T56" fmla="*/ 5 w 1116"/>
                <a:gd name="T57" fmla="*/ 121 h 555"/>
                <a:gd name="T58" fmla="*/ 5 w 1116"/>
                <a:gd name="T59" fmla="*/ 176 h 555"/>
                <a:gd name="T60" fmla="*/ 5 w 1116"/>
                <a:gd name="T61" fmla="*/ 101 h 555"/>
                <a:gd name="T62" fmla="*/ 5 w 1116"/>
                <a:gd name="T63" fmla="*/ 79 h 555"/>
                <a:gd name="T64" fmla="*/ 5 w 1116"/>
                <a:gd name="T65" fmla="*/ 65 h 555"/>
                <a:gd name="T66" fmla="*/ 5 w 1116"/>
                <a:gd name="T67" fmla="*/ 67 h 555"/>
                <a:gd name="T68" fmla="*/ 5 w 1116"/>
                <a:gd name="T69" fmla="*/ 45 h 555"/>
                <a:gd name="T70" fmla="*/ 5 w 1116"/>
                <a:gd name="T71" fmla="*/ 62 h 555"/>
                <a:gd name="T72" fmla="*/ 5 w 1116"/>
                <a:gd name="T73" fmla="*/ 16 h 555"/>
                <a:gd name="T74" fmla="*/ 5 w 1116"/>
                <a:gd name="T75" fmla="*/ 10 h 555"/>
                <a:gd name="T76" fmla="*/ 5 w 1116"/>
                <a:gd name="T77" fmla="*/ 42 h 555"/>
                <a:gd name="T78" fmla="*/ 5 w 1116"/>
                <a:gd name="T79" fmla="*/ 22 h 555"/>
                <a:gd name="T80" fmla="*/ 5 w 1116"/>
                <a:gd name="T81" fmla="*/ 149 h 555"/>
                <a:gd name="T82" fmla="*/ 5 w 1116"/>
                <a:gd name="T83" fmla="*/ 222 h 555"/>
                <a:gd name="T84" fmla="*/ 1 w 1116"/>
                <a:gd name="T85" fmla="*/ 259 h 555"/>
                <a:gd name="T86" fmla="*/ 5 w 1116"/>
                <a:gd name="T87" fmla="*/ 282 h 555"/>
                <a:gd name="T88" fmla="*/ 5 w 1116"/>
                <a:gd name="T89" fmla="*/ 326 h 555"/>
                <a:gd name="T90" fmla="*/ 5 w 1116"/>
                <a:gd name="T91" fmla="*/ 356 h 555"/>
                <a:gd name="T92" fmla="*/ 5 w 1116"/>
                <a:gd name="T93" fmla="*/ 382 h 555"/>
                <a:gd name="T94" fmla="*/ 5 w 1116"/>
                <a:gd name="T95" fmla="*/ 428 h 555"/>
                <a:gd name="T96" fmla="*/ 5 w 1116"/>
                <a:gd name="T97" fmla="*/ 464 h 555"/>
                <a:gd name="T98" fmla="*/ 5 w 1116"/>
                <a:gd name="T99" fmla="*/ 525 h 55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116"/>
                <a:gd name="T151" fmla="*/ 0 h 555"/>
                <a:gd name="T152" fmla="*/ 1116 w 1116"/>
                <a:gd name="T153" fmla="*/ 555 h 55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116" h="555">
                  <a:moveTo>
                    <a:pt x="407" y="496"/>
                  </a:moveTo>
                  <a:lnTo>
                    <a:pt x="466" y="459"/>
                  </a:lnTo>
                  <a:lnTo>
                    <a:pt x="464" y="450"/>
                  </a:lnTo>
                  <a:lnTo>
                    <a:pt x="472" y="446"/>
                  </a:lnTo>
                  <a:lnTo>
                    <a:pt x="469" y="456"/>
                  </a:lnTo>
                  <a:lnTo>
                    <a:pt x="489" y="449"/>
                  </a:lnTo>
                  <a:lnTo>
                    <a:pt x="519" y="452"/>
                  </a:lnTo>
                  <a:lnTo>
                    <a:pt x="529" y="446"/>
                  </a:lnTo>
                  <a:lnTo>
                    <a:pt x="536" y="462"/>
                  </a:lnTo>
                  <a:lnTo>
                    <a:pt x="564" y="458"/>
                  </a:lnTo>
                  <a:lnTo>
                    <a:pt x="574" y="466"/>
                  </a:lnTo>
                  <a:lnTo>
                    <a:pt x="579" y="462"/>
                  </a:lnTo>
                  <a:lnTo>
                    <a:pt x="570" y="455"/>
                  </a:lnTo>
                  <a:lnTo>
                    <a:pt x="580" y="441"/>
                  </a:lnTo>
                  <a:lnTo>
                    <a:pt x="558" y="441"/>
                  </a:lnTo>
                  <a:lnTo>
                    <a:pt x="565" y="432"/>
                  </a:lnTo>
                  <a:lnTo>
                    <a:pt x="574" y="436"/>
                  </a:lnTo>
                  <a:lnTo>
                    <a:pt x="608" y="428"/>
                  </a:lnTo>
                  <a:lnTo>
                    <a:pt x="609" y="435"/>
                  </a:lnTo>
                  <a:lnTo>
                    <a:pt x="639" y="432"/>
                  </a:lnTo>
                  <a:lnTo>
                    <a:pt x="654" y="441"/>
                  </a:lnTo>
                  <a:lnTo>
                    <a:pt x="654" y="450"/>
                  </a:lnTo>
                  <a:lnTo>
                    <a:pt x="684" y="441"/>
                  </a:lnTo>
                  <a:lnTo>
                    <a:pt x="700" y="464"/>
                  </a:lnTo>
                  <a:lnTo>
                    <a:pt x="696" y="509"/>
                  </a:lnTo>
                  <a:lnTo>
                    <a:pt x="714" y="555"/>
                  </a:lnTo>
                  <a:lnTo>
                    <a:pt x="723" y="554"/>
                  </a:lnTo>
                  <a:lnTo>
                    <a:pt x="736" y="538"/>
                  </a:lnTo>
                  <a:lnTo>
                    <a:pt x="743" y="512"/>
                  </a:lnTo>
                  <a:lnTo>
                    <a:pt x="736" y="419"/>
                  </a:lnTo>
                  <a:lnTo>
                    <a:pt x="764" y="387"/>
                  </a:lnTo>
                  <a:lnTo>
                    <a:pt x="871" y="320"/>
                  </a:lnTo>
                  <a:lnTo>
                    <a:pt x="878" y="307"/>
                  </a:lnTo>
                  <a:lnTo>
                    <a:pt x="860" y="307"/>
                  </a:lnTo>
                  <a:lnTo>
                    <a:pt x="876" y="302"/>
                  </a:lnTo>
                  <a:lnTo>
                    <a:pt x="883" y="310"/>
                  </a:lnTo>
                  <a:lnTo>
                    <a:pt x="876" y="279"/>
                  </a:lnTo>
                  <a:lnTo>
                    <a:pt x="883" y="261"/>
                  </a:lnTo>
                  <a:lnTo>
                    <a:pt x="874" y="253"/>
                  </a:lnTo>
                  <a:lnTo>
                    <a:pt x="883" y="256"/>
                  </a:lnTo>
                  <a:lnTo>
                    <a:pt x="893" y="229"/>
                  </a:lnTo>
                  <a:lnTo>
                    <a:pt x="901" y="225"/>
                  </a:lnTo>
                  <a:lnTo>
                    <a:pt x="887" y="250"/>
                  </a:lnTo>
                  <a:lnTo>
                    <a:pt x="893" y="253"/>
                  </a:lnTo>
                  <a:lnTo>
                    <a:pt x="890" y="259"/>
                  </a:lnTo>
                  <a:lnTo>
                    <a:pt x="896" y="259"/>
                  </a:lnTo>
                  <a:lnTo>
                    <a:pt x="889" y="276"/>
                  </a:lnTo>
                  <a:lnTo>
                    <a:pt x="912" y="250"/>
                  </a:lnTo>
                  <a:lnTo>
                    <a:pt x="910" y="225"/>
                  </a:lnTo>
                  <a:lnTo>
                    <a:pt x="916" y="236"/>
                  </a:lnTo>
                  <a:lnTo>
                    <a:pt x="928" y="229"/>
                  </a:lnTo>
                  <a:lnTo>
                    <a:pt x="950" y="195"/>
                  </a:lnTo>
                  <a:lnTo>
                    <a:pt x="1001" y="182"/>
                  </a:lnTo>
                  <a:lnTo>
                    <a:pt x="1007" y="173"/>
                  </a:lnTo>
                  <a:lnTo>
                    <a:pt x="1009" y="179"/>
                  </a:lnTo>
                  <a:lnTo>
                    <a:pt x="1031" y="176"/>
                  </a:lnTo>
                  <a:lnTo>
                    <a:pt x="1033" y="168"/>
                  </a:lnTo>
                  <a:lnTo>
                    <a:pt x="1022" y="173"/>
                  </a:lnTo>
                  <a:lnTo>
                    <a:pt x="1018" y="160"/>
                  </a:lnTo>
                  <a:lnTo>
                    <a:pt x="1043" y="130"/>
                  </a:lnTo>
                  <a:lnTo>
                    <a:pt x="1076" y="113"/>
                  </a:lnTo>
                  <a:lnTo>
                    <a:pt x="1101" y="109"/>
                  </a:lnTo>
                  <a:lnTo>
                    <a:pt x="1115" y="95"/>
                  </a:lnTo>
                  <a:lnTo>
                    <a:pt x="1116" y="95"/>
                  </a:lnTo>
                  <a:lnTo>
                    <a:pt x="1107" y="84"/>
                  </a:lnTo>
                  <a:lnTo>
                    <a:pt x="1116" y="52"/>
                  </a:lnTo>
                  <a:lnTo>
                    <a:pt x="1090" y="45"/>
                  </a:lnTo>
                  <a:lnTo>
                    <a:pt x="1050" y="92"/>
                  </a:lnTo>
                  <a:lnTo>
                    <a:pt x="1027" y="99"/>
                  </a:lnTo>
                  <a:lnTo>
                    <a:pt x="970" y="99"/>
                  </a:lnTo>
                  <a:lnTo>
                    <a:pt x="942" y="115"/>
                  </a:lnTo>
                  <a:lnTo>
                    <a:pt x="933" y="134"/>
                  </a:lnTo>
                  <a:lnTo>
                    <a:pt x="877" y="138"/>
                  </a:lnTo>
                  <a:lnTo>
                    <a:pt x="878" y="149"/>
                  </a:lnTo>
                  <a:lnTo>
                    <a:pt x="814" y="178"/>
                  </a:lnTo>
                  <a:lnTo>
                    <a:pt x="791" y="179"/>
                  </a:lnTo>
                  <a:lnTo>
                    <a:pt x="781" y="173"/>
                  </a:lnTo>
                  <a:lnTo>
                    <a:pt x="786" y="172"/>
                  </a:lnTo>
                  <a:lnTo>
                    <a:pt x="815" y="143"/>
                  </a:lnTo>
                  <a:lnTo>
                    <a:pt x="814" y="143"/>
                  </a:lnTo>
                  <a:lnTo>
                    <a:pt x="815" y="121"/>
                  </a:lnTo>
                  <a:lnTo>
                    <a:pt x="793" y="132"/>
                  </a:lnTo>
                  <a:lnTo>
                    <a:pt x="811" y="113"/>
                  </a:lnTo>
                  <a:lnTo>
                    <a:pt x="816" y="91"/>
                  </a:lnTo>
                  <a:lnTo>
                    <a:pt x="793" y="84"/>
                  </a:lnTo>
                  <a:lnTo>
                    <a:pt x="767" y="101"/>
                  </a:lnTo>
                  <a:lnTo>
                    <a:pt x="750" y="121"/>
                  </a:lnTo>
                  <a:lnTo>
                    <a:pt x="731" y="165"/>
                  </a:lnTo>
                  <a:lnTo>
                    <a:pt x="714" y="176"/>
                  </a:lnTo>
                  <a:lnTo>
                    <a:pt x="706" y="176"/>
                  </a:lnTo>
                  <a:lnTo>
                    <a:pt x="705" y="165"/>
                  </a:lnTo>
                  <a:lnTo>
                    <a:pt x="714" y="142"/>
                  </a:lnTo>
                  <a:lnTo>
                    <a:pt x="745" y="101"/>
                  </a:lnTo>
                  <a:lnTo>
                    <a:pt x="728" y="109"/>
                  </a:lnTo>
                  <a:lnTo>
                    <a:pt x="758" y="82"/>
                  </a:lnTo>
                  <a:lnTo>
                    <a:pt x="814" y="79"/>
                  </a:lnTo>
                  <a:lnTo>
                    <a:pt x="815" y="70"/>
                  </a:lnTo>
                  <a:lnTo>
                    <a:pt x="816" y="70"/>
                  </a:lnTo>
                  <a:lnTo>
                    <a:pt x="811" y="65"/>
                  </a:lnTo>
                  <a:lnTo>
                    <a:pt x="803" y="65"/>
                  </a:lnTo>
                  <a:lnTo>
                    <a:pt x="805" y="59"/>
                  </a:lnTo>
                  <a:lnTo>
                    <a:pt x="759" y="67"/>
                  </a:lnTo>
                  <a:lnTo>
                    <a:pt x="757" y="58"/>
                  </a:lnTo>
                  <a:lnTo>
                    <a:pt x="743" y="59"/>
                  </a:lnTo>
                  <a:lnTo>
                    <a:pt x="763" y="45"/>
                  </a:lnTo>
                  <a:lnTo>
                    <a:pt x="703" y="65"/>
                  </a:lnTo>
                  <a:lnTo>
                    <a:pt x="701" y="56"/>
                  </a:lnTo>
                  <a:lnTo>
                    <a:pt x="677" y="62"/>
                  </a:lnTo>
                  <a:lnTo>
                    <a:pt x="731" y="33"/>
                  </a:lnTo>
                  <a:lnTo>
                    <a:pt x="733" y="31"/>
                  </a:lnTo>
                  <a:lnTo>
                    <a:pt x="661" y="16"/>
                  </a:lnTo>
                  <a:lnTo>
                    <a:pt x="657" y="0"/>
                  </a:lnTo>
                  <a:lnTo>
                    <a:pt x="645" y="10"/>
                  </a:lnTo>
                  <a:lnTo>
                    <a:pt x="160" y="10"/>
                  </a:lnTo>
                  <a:lnTo>
                    <a:pt x="160" y="18"/>
                  </a:lnTo>
                  <a:lnTo>
                    <a:pt x="141" y="42"/>
                  </a:lnTo>
                  <a:lnTo>
                    <a:pt x="132" y="42"/>
                  </a:lnTo>
                  <a:lnTo>
                    <a:pt x="146" y="34"/>
                  </a:lnTo>
                  <a:lnTo>
                    <a:pt x="140" y="28"/>
                  </a:lnTo>
                  <a:lnTo>
                    <a:pt x="117" y="22"/>
                  </a:lnTo>
                  <a:lnTo>
                    <a:pt x="112" y="28"/>
                  </a:lnTo>
                  <a:lnTo>
                    <a:pt x="96" y="73"/>
                  </a:lnTo>
                  <a:lnTo>
                    <a:pt x="37" y="149"/>
                  </a:lnTo>
                  <a:lnTo>
                    <a:pt x="27" y="179"/>
                  </a:lnTo>
                  <a:lnTo>
                    <a:pt x="4" y="207"/>
                  </a:lnTo>
                  <a:lnTo>
                    <a:pt x="7" y="222"/>
                  </a:lnTo>
                  <a:lnTo>
                    <a:pt x="0" y="239"/>
                  </a:lnTo>
                  <a:lnTo>
                    <a:pt x="7" y="252"/>
                  </a:lnTo>
                  <a:lnTo>
                    <a:pt x="1" y="259"/>
                  </a:lnTo>
                  <a:lnTo>
                    <a:pt x="18" y="257"/>
                  </a:lnTo>
                  <a:lnTo>
                    <a:pt x="5" y="275"/>
                  </a:lnTo>
                  <a:lnTo>
                    <a:pt x="6" y="282"/>
                  </a:lnTo>
                  <a:lnTo>
                    <a:pt x="12" y="282"/>
                  </a:lnTo>
                  <a:lnTo>
                    <a:pt x="4" y="297"/>
                  </a:lnTo>
                  <a:lnTo>
                    <a:pt x="16" y="326"/>
                  </a:lnTo>
                  <a:lnTo>
                    <a:pt x="10" y="337"/>
                  </a:lnTo>
                  <a:lnTo>
                    <a:pt x="47" y="349"/>
                  </a:lnTo>
                  <a:lnTo>
                    <a:pt x="45" y="356"/>
                  </a:lnTo>
                  <a:lnTo>
                    <a:pt x="58" y="365"/>
                  </a:lnTo>
                  <a:lnTo>
                    <a:pt x="60" y="387"/>
                  </a:lnTo>
                  <a:lnTo>
                    <a:pt x="101" y="382"/>
                  </a:lnTo>
                  <a:lnTo>
                    <a:pt x="165" y="413"/>
                  </a:lnTo>
                  <a:lnTo>
                    <a:pt x="258" y="404"/>
                  </a:lnTo>
                  <a:lnTo>
                    <a:pt x="277" y="428"/>
                  </a:lnTo>
                  <a:lnTo>
                    <a:pt x="277" y="447"/>
                  </a:lnTo>
                  <a:lnTo>
                    <a:pt x="290" y="463"/>
                  </a:lnTo>
                  <a:lnTo>
                    <a:pt x="301" y="464"/>
                  </a:lnTo>
                  <a:lnTo>
                    <a:pt x="318" y="447"/>
                  </a:lnTo>
                  <a:lnTo>
                    <a:pt x="341" y="449"/>
                  </a:lnTo>
                  <a:lnTo>
                    <a:pt x="367" y="525"/>
                  </a:lnTo>
                  <a:lnTo>
                    <a:pt x="403" y="537"/>
                  </a:lnTo>
                  <a:lnTo>
                    <a:pt x="407" y="496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06" name="Freeform 63"/>
            <p:cNvSpPr>
              <a:spLocks noChangeAspect="1"/>
            </p:cNvSpPr>
            <p:nvPr/>
          </p:nvSpPr>
          <p:spPr bwMode="auto">
            <a:xfrm>
              <a:off x="4638827" y="2106041"/>
              <a:ext cx="81036" cy="81793"/>
            </a:xfrm>
            <a:custGeom>
              <a:avLst/>
              <a:gdLst>
                <a:gd name="T0" fmla="*/ 4 w 66"/>
                <a:gd name="T1" fmla="*/ 8 h 57"/>
                <a:gd name="T2" fmla="*/ 4 w 66"/>
                <a:gd name="T3" fmla="*/ 12 h 57"/>
                <a:gd name="T4" fmla="*/ 4 w 66"/>
                <a:gd name="T5" fmla="*/ 25 h 57"/>
                <a:gd name="T6" fmla="*/ 4 w 66"/>
                <a:gd name="T7" fmla="*/ 27 h 57"/>
                <a:gd name="T8" fmla="*/ 4 w 66"/>
                <a:gd name="T9" fmla="*/ 38 h 57"/>
                <a:gd name="T10" fmla="*/ 4 w 66"/>
                <a:gd name="T11" fmla="*/ 39 h 57"/>
                <a:gd name="T12" fmla="*/ 4 w 66"/>
                <a:gd name="T13" fmla="*/ 57 h 57"/>
                <a:gd name="T14" fmla="*/ 4 w 66"/>
                <a:gd name="T15" fmla="*/ 25 h 57"/>
                <a:gd name="T16" fmla="*/ 0 w 66"/>
                <a:gd name="T17" fmla="*/ 10 h 57"/>
                <a:gd name="T18" fmla="*/ 3 w 66"/>
                <a:gd name="T19" fmla="*/ 0 h 57"/>
                <a:gd name="T20" fmla="*/ 4 w 66"/>
                <a:gd name="T21" fmla="*/ 5 h 57"/>
                <a:gd name="T22" fmla="*/ 4 w 66"/>
                <a:gd name="T23" fmla="*/ 8 h 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6"/>
                <a:gd name="T37" fmla="*/ 0 h 57"/>
                <a:gd name="T38" fmla="*/ 66 w 66"/>
                <a:gd name="T39" fmla="*/ 57 h 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6" h="57">
                  <a:moveTo>
                    <a:pt x="56" y="8"/>
                  </a:moveTo>
                  <a:lnTo>
                    <a:pt x="62" y="12"/>
                  </a:lnTo>
                  <a:lnTo>
                    <a:pt x="59" y="25"/>
                  </a:lnTo>
                  <a:lnTo>
                    <a:pt x="66" y="27"/>
                  </a:lnTo>
                  <a:lnTo>
                    <a:pt x="61" y="38"/>
                  </a:lnTo>
                  <a:lnTo>
                    <a:pt x="48" y="39"/>
                  </a:lnTo>
                  <a:lnTo>
                    <a:pt x="43" y="57"/>
                  </a:lnTo>
                  <a:lnTo>
                    <a:pt x="7" y="25"/>
                  </a:lnTo>
                  <a:lnTo>
                    <a:pt x="0" y="10"/>
                  </a:lnTo>
                  <a:lnTo>
                    <a:pt x="3" y="0"/>
                  </a:lnTo>
                  <a:lnTo>
                    <a:pt x="44" y="5"/>
                  </a:lnTo>
                  <a:lnTo>
                    <a:pt x="56" y="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07" name="Freeform 64"/>
            <p:cNvSpPr>
              <a:spLocks noChangeAspect="1"/>
            </p:cNvSpPr>
            <p:nvPr/>
          </p:nvSpPr>
          <p:spPr bwMode="auto">
            <a:xfrm>
              <a:off x="4687728" y="2160570"/>
              <a:ext cx="44709" cy="57398"/>
            </a:xfrm>
            <a:custGeom>
              <a:avLst/>
              <a:gdLst>
                <a:gd name="T0" fmla="*/ 0 w 36"/>
                <a:gd name="T1" fmla="*/ 25 h 40"/>
                <a:gd name="T2" fmla="*/ 4 w 36"/>
                <a:gd name="T3" fmla="*/ 40 h 40"/>
                <a:gd name="T4" fmla="*/ 4 w 36"/>
                <a:gd name="T5" fmla="*/ 22 h 40"/>
                <a:gd name="T6" fmla="*/ 4 w 36"/>
                <a:gd name="T7" fmla="*/ 14 h 40"/>
                <a:gd name="T8" fmla="*/ 4 w 36"/>
                <a:gd name="T9" fmla="*/ 0 h 40"/>
                <a:gd name="T10" fmla="*/ 4 w 36"/>
                <a:gd name="T11" fmla="*/ 1 h 40"/>
                <a:gd name="T12" fmla="*/ 4 w 36"/>
                <a:gd name="T13" fmla="*/ 19 h 40"/>
                <a:gd name="T14" fmla="*/ 0 w 36"/>
                <a:gd name="T15" fmla="*/ 25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6"/>
                <a:gd name="T25" fmla="*/ 0 h 40"/>
                <a:gd name="T26" fmla="*/ 36 w 36"/>
                <a:gd name="T27" fmla="*/ 40 h 4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6" h="40">
                  <a:moveTo>
                    <a:pt x="0" y="25"/>
                  </a:moveTo>
                  <a:lnTo>
                    <a:pt x="24" y="40"/>
                  </a:lnTo>
                  <a:lnTo>
                    <a:pt x="30" y="22"/>
                  </a:lnTo>
                  <a:lnTo>
                    <a:pt x="36" y="14"/>
                  </a:lnTo>
                  <a:lnTo>
                    <a:pt x="22" y="0"/>
                  </a:lnTo>
                  <a:lnTo>
                    <a:pt x="9" y="1"/>
                  </a:lnTo>
                  <a:lnTo>
                    <a:pt x="4" y="19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08" name="Freeform 65"/>
            <p:cNvSpPr>
              <a:spLocks noChangeAspect="1"/>
            </p:cNvSpPr>
            <p:nvPr/>
          </p:nvSpPr>
          <p:spPr bwMode="auto">
            <a:xfrm>
              <a:off x="4700303" y="2077342"/>
              <a:ext cx="95008" cy="146366"/>
            </a:xfrm>
            <a:custGeom>
              <a:avLst/>
              <a:gdLst>
                <a:gd name="T0" fmla="*/ 5 w 75"/>
                <a:gd name="T1" fmla="*/ 102 h 102"/>
                <a:gd name="T2" fmla="*/ 5 w 75"/>
                <a:gd name="T3" fmla="*/ 83 h 102"/>
                <a:gd name="T4" fmla="*/ 5 w 75"/>
                <a:gd name="T5" fmla="*/ 80 h 102"/>
                <a:gd name="T6" fmla="*/ 5 w 75"/>
                <a:gd name="T7" fmla="*/ 72 h 102"/>
                <a:gd name="T8" fmla="*/ 5 w 75"/>
                <a:gd name="T9" fmla="*/ 58 h 102"/>
                <a:gd name="T10" fmla="*/ 5 w 75"/>
                <a:gd name="T11" fmla="*/ 47 h 102"/>
                <a:gd name="T12" fmla="*/ 5 w 75"/>
                <a:gd name="T13" fmla="*/ 45 h 102"/>
                <a:gd name="T14" fmla="*/ 5 w 75"/>
                <a:gd name="T15" fmla="*/ 32 h 102"/>
                <a:gd name="T16" fmla="*/ 5 w 75"/>
                <a:gd name="T17" fmla="*/ 28 h 102"/>
                <a:gd name="T18" fmla="*/ 5 w 75"/>
                <a:gd name="T19" fmla="*/ 22 h 102"/>
                <a:gd name="T20" fmla="*/ 4 w 75"/>
                <a:gd name="T21" fmla="*/ 17 h 102"/>
                <a:gd name="T22" fmla="*/ 0 w 75"/>
                <a:gd name="T23" fmla="*/ 5 h 102"/>
                <a:gd name="T24" fmla="*/ 5 w 75"/>
                <a:gd name="T25" fmla="*/ 0 h 102"/>
                <a:gd name="T26" fmla="*/ 5 w 75"/>
                <a:gd name="T27" fmla="*/ 29 h 102"/>
                <a:gd name="T28" fmla="*/ 5 w 75"/>
                <a:gd name="T29" fmla="*/ 32 h 102"/>
                <a:gd name="T30" fmla="*/ 5 w 75"/>
                <a:gd name="T31" fmla="*/ 46 h 102"/>
                <a:gd name="T32" fmla="*/ 5 w 75"/>
                <a:gd name="T33" fmla="*/ 54 h 102"/>
                <a:gd name="T34" fmla="*/ 5 w 75"/>
                <a:gd name="T35" fmla="*/ 74 h 102"/>
                <a:gd name="T36" fmla="*/ 5 w 75"/>
                <a:gd name="T37" fmla="*/ 88 h 102"/>
                <a:gd name="T38" fmla="*/ 5 w 75"/>
                <a:gd name="T39" fmla="*/ 90 h 102"/>
                <a:gd name="T40" fmla="*/ 5 w 75"/>
                <a:gd name="T41" fmla="*/ 102 h 10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5"/>
                <a:gd name="T64" fmla="*/ 0 h 102"/>
                <a:gd name="T65" fmla="*/ 75 w 75"/>
                <a:gd name="T66" fmla="*/ 102 h 10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5" h="102">
                  <a:moveTo>
                    <a:pt x="38" y="102"/>
                  </a:moveTo>
                  <a:lnTo>
                    <a:pt x="28" y="83"/>
                  </a:lnTo>
                  <a:lnTo>
                    <a:pt x="20" y="80"/>
                  </a:lnTo>
                  <a:lnTo>
                    <a:pt x="26" y="72"/>
                  </a:lnTo>
                  <a:lnTo>
                    <a:pt x="12" y="58"/>
                  </a:lnTo>
                  <a:lnTo>
                    <a:pt x="17" y="47"/>
                  </a:lnTo>
                  <a:lnTo>
                    <a:pt x="10" y="45"/>
                  </a:lnTo>
                  <a:lnTo>
                    <a:pt x="13" y="32"/>
                  </a:lnTo>
                  <a:lnTo>
                    <a:pt x="7" y="28"/>
                  </a:lnTo>
                  <a:lnTo>
                    <a:pt x="12" y="22"/>
                  </a:lnTo>
                  <a:lnTo>
                    <a:pt x="4" y="17"/>
                  </a:lnTo>
                  <a:lnTo>
                    <a:pt x="0" y="5"/>
                  </a:lnTo>
                  <a:lnTo>
                    <a:pt x="25" y="0"/>
                  </a:lnTo>
                  <a:lnTo>
                    <a:pt x="51" y="29"/>
                  </a:lnTo>
                  <a:lnTo>
                    <a:pt x="69" y="32"/>
                  </a:lnTo>
                  <a:lnTo>
                    <a:pt x="75" y="46"/>
                  </a:lnTo>
                  <a:lnTo>
                    <a:pt x="69" y="54"/>
                  </a:lnTo>
                  <a:lnTo>
                    <a:pt x="74" y="74"/>
                  </a:lnTo>
                  <a:lnTo>
                    <a:pt x="71" y="88"/>
                  </a:lnTo>
                  <a:lnTo>
                    <a:pt x="52" y="90"/>
                  </a:lnTo>
                  <a:lnTo>
                    <a:pt x="38" y="102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09" name="Freeform 66"/>
            <p:cNvSpPr>
              <a:spLocks noChangeAspect="1"/>
            </p:cNvSpPr>
            <p:nvPr/>
          </p:nvSpPr>
          <p:spPr bwMode="auto">
            <a:xfrm>
              <a:off x="4747806" y="2203619"/>
              <a:ext cx="54490" cy="47354"/>
            </a:xfrm>
            <a:custGeom>
              <a:avLst/>
              <a:gdLst>
                <a:gd name="T0" fmla="*/ 4 w 44"/>
                <a:gd name="T1" fmla="*/ 21 h 33"/>
                <a:gd name="T2" fmla="*/ 4 w 44"/>
                <a:gd name="T3" fmla="*/ 0 h 33"/>
                <a:gd name="T4" fmla="*/ 4 w 44"/>
                <a:gd name="T5" fmla="*/ 2 h 33"/>
                <a:gd name="T6" fmla="*/ 0 w 44"/>
                <a:gd name="T7" fmla="*/ 14 h 33"/>
                <a:gd name="T8" fmla="*/ 4 w 44"/>
                <a:gd name="T9" fmla="*/ 33 h 33"/>
                <a:gd name="T10" fmla="*/ 4 w 44"/>
                <a:gd name="T11" fmla="*/ 21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4"/>
                <a:gd name="T19" fmla="*/ 0 h 33"/>
                <a:gd name="T20" fmla="*/ 44 w 44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4" h="33">
                  <a:moveTo>
                    <a:pt x="44" y="21"/>
                  </a:moveTo>
                  <a:lnTo>
                    <a:pt x="33" y="0"/>
                  </a:lnTo>
                  <a:lnTo>
                    <a:pt x="14" y="2"/>
                  </a:lnTo>
                  <a:lnTo>
                    <a:pt x="0" y="14"/>
                  </a:lnTo>
                  <a:lnTo>
                    <a:pt x="9" y="33"/>
                  </a:lnTo>
                  <a:lnTo>
                    <a:pt x="44" y="21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10" name="Freeform 67"/>
            <p:cNvSpPr>
              <a:spLocks noChangeAspect="1"/>
            </p:cNvSpPr>
            <p:nvPr/>
          </p:nvSpPr>
          <p:spPr bwMode="auto">
            <a:xfrm>
              <a:off x="4487933" y="2034293"/>
              <a:ext cx="9780" cy="17220"/>
            </a:xfrm>
            <a:custGeom>
              <a:avLst/>
              <a:gdLst>
                <a:gd name="T0" fmla="*/ 0 w 8"/>
                <a:gd name="T1" fmla="*/ 0 h 12"/>
                <a:gd name="T2" fmla="*/ 4 w 8"/>
                <a:gd name="T3" fmla="*/ 12 h 12"/>
                <a:gd name="T4" fmla="*/ 4 w 8"/>
                <a:gd name="T5" fmla="*/ 7 h 12"/>
                <a:gd name="T6" fmla="*/ 4 w 8"/>
                <a:gd name="T7" fmla="*/ 2 h 12"/>
                <a:gd name="T8" fmla="*/ 0 w 8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2"/>
                <a:gd name="T17" fmla="*/ 8 w 8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2">
                  <a:moveTo>
                    <a:pt x="0" y="0"/>
                  </a:moveTo>
                  <a:lnTo>
                    <a:pt x="7" y="12"/>
                  </a:lnTo>
                  <a:lnTo>
                    <a:pt x="8" y="7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11" name="Freeform 68"/>
            <p:cNvSpPr>
              <a:spLocks noChangeAspect="1"/>
            </p:cNvSpPr>
            <p:nvPr/>
          </p:nvSpPr>
          <p:spPr bwMode="auto">
            <a:xfrm>
              <a:off x="5316455" y="1783175"/>
              <a:ext cx="905367" cy="460623"/>
            </a:xfrm>
            <a:custGeom>
              <a:avLst/>
              <a:gdLst>
                <a:gd name="T0" fmla="*/ 5 w 718"/>
                <a:gd name="T1" fmla="*/ 138 h 321"/>
                <a:gd name="T2" fmla="*/ 5 w 718"/>
                <a:gd name="T3" fmla="*/ 131 h 321"/>
                <a:gd name="T4" fmla="*/ 5 w 718"/>
                <a:gd name="T5" fmla="*/ 98 h 321"/>
                <a:gd name="T6" fmla="*/ 5 w 718"/>
                <a:gd name="T7" fmla="*/ 91 h 321"/>
                <a:gd name="T8" fmla="*/ 5 w 718"/>
                <a:gd name="T9" fmla="*/ 47 h 321"/>
                <a:gd name="T10" fmla="*/ 5 w 718"/>
                <a:gd name="T11" fmla="*/ 22 h 321"/>
                <a:gd name="T12" fmla="*/ 5 w 718"/>
                <a:gd name="T13" fmla="*/ 41 h 321"/>
                <a:gd name="T14" fmla="*/ 5 w 718"/>
                <a:gd name="T15" fmla="*/ 30 h 321"/>
                <a:gd name="T16" fmla="*/ 5 w 718"/>
                <a:gd name="T17" fmla="*/ 23 h 321"/>
                <a:gd name="T18" fmla="*/ 5 w 718"/>
                <a:gd name="T19" fmla="*/ 15 h 321"/>
                <a:gd name="T20" fmla="*/ 5 w 718"/>
                <a:gd name="T21" fmla="*/ 0 h 321"/>
                <a:gd name="T22" fmla="*/ 5 w 718"/>
                <a:gd name="T23" fmla="*/ 15 h 321"/>
                <a:gd name="T24" fmla="*/ 5 w 718"/>
                <a:gd name="T25" fmla="*/ 31 h 321"/>
                <a:gd name="T26" fmla="*/ 5 w 718"/>
                <a:gd name="T27" fmla="*/ 40 h 321"/>
                <a:gd name="T28" fmla="*/ 5 w 718"/>
                <a:gd name="T29" fmla="*/ 58 h 321"/>
                <a:gd name="T30" fmla="*/ 5 w 718"/>
                <a:gd name="T31" fmla="*/ 77 h 321"/>
                <a:gd name="T32" fmla="*/ 5 w 718"/>
                <a:gd name="T33" fmla="*/ 104 h 321"/>
                <a:gd name="T34" fmla="*/ 5 w 718"/>
                <a:gd name="T35" fmla="*/ 94 h 321"/>
                <a:gd name="T36" fmla="*/ 5 w 718"/>
                <a:gd name="T37" fmla="*/ 105 h 321"/>
                <a:gd name="T38" fmla="*/ 5 w 718"/>
                <a:gd name="T39" fmla="*/ 106 h 321"/>
                <a:gd name="T40" fmla="*/ 5 w 718"/>
                <a:gd name="T41" fmla="*/ 80 h 321"/>
                <a:gd name="T42" fmla="*/ 5 w 718"/>
                <a:gd name="T43" fmla="*/ 82 h 321"/>
                <a:gd name="T44" fmla="*/ 5 w 718"/>
                <a:gd name="T45" fmla="*/ 105 h 321"/>
                <a:gd name="T46" fmla="*/ 5 w 718"/>
                <a:gd name="T47" fmla="*/ 123 h 321"/>
                <a:gd name="T48" fmla="*/ 0 w 718"/>
                <a:gd name="T49" fmla="*/ 154 h 321"/>
                <a:gd name="T50" fmla="*/ 5 w 718"/>
                <a:gd name="T51" fmla="*/ 170 h 321"/>
                <a:gd name="T52" fmla="*/ 5 w 718"/>
                <a:gd name="T53" fmla="*/ 191 h 321"/>
                <a:gd name="T54" fmla="*/ 5 w 718"/>
                <a:gd name="T55" fmla="*/ 201 h 321"/>
                <a:gd name="T56" fmla="*/ 5 w 718"/>
                <a:gd name="T57" fmla="*/ 180 h 321"/>
                <a:gd name="T58" fmla="*/ 5 w 718"/>
                <a:gd name="T59" fmla="*/ 199 h 321"/>
                <a:gd name="T60" fmla="*/ 5 w 718"/>
                <a:gd name="T61" fmla="*/ 223 h 321"/>
                <a:gd name="T62" fmla="*/ 5 w 718"/>
                <a:gd name="T63" fmla="*/ 243 h 321"/>
                <a:gd name="T64" fmla="*/ 5 w 718"/>
                <a:gd name="T65" fmla="*/ 247 h 321"/>
                <a:gd name="T66" fmla="*/ 5 w 718"/>
                <a:gd name="T67" fmla="*/ 281 h 321"/>
                <a:gd name="T68" fmla="*/ 5 w 718"/>
                <a:gd name="T69" fmla="*/ 297 h 321"/>
                <a:gd name="T70" fmla="*/ 5 w 718"/>
                <a:gd name="T71" fmla="*/ 293 h 321"/>
                <a:gd name="T72" fmla="*/ 5 w 718"/>
                <a:gd name="T73" fmla="*/ 316 h 321"/>
                <a:gd name="T74" fmla="*/ 5 w 718"/>
                <a:gd name="T75" fmla="*/ 230 h 321"/>
                <a:gd name="T76" fmla="*/ 5 w 718"/>
                <a:gd name="T77" fmla="*/ 265 h 321"/>
                <a:gd name="T78" fmla="*/ 5 w 718"/>
                <a:gd name="T79" fmla="*/ 279 h 321"/>
                <a:gd name="T80" fmla="*/ 5 w 718"/>
                <a:gd name="T81" fmla="*/ 303 h 321"/>
                <a:gd name="T82" fmla="*/ 5 w 718"/>
                <a:gd name="T83" fmla="*/ 321 h 321"/>
                <a:gd name="T84" fmla="*/ 5 w 718"/>
                <a:gd name="T85" fmla="*/ 292 h 321"/>
                <a:gd name="T86" fmla="*/ 5 w 718"/>
                <a:gd name="T87" fmla="*/ 289 h 321"/>
                <a:gd name="T88" fmla="*/ 5 w 718"/>
                <a:gd name="T89" fmla="*/ 272 h 321"/>
                <a:gd name="T90" fmla="*/ 5 w 718"/>
                <a:gd name="T91" fmla="*/ 282 h 321"/>
                <a:gd name="T92" fmla="*/ 5 w 718"/>
                <a:gd name="T93" fmla="*/ 274 h 321"/>
                <a:gd name="T94" fmla="*/ 5 w 718"/>
                <a:gd name="T95" fmla="*/ 229 h 321"/>
                <a:gd name="T96" fmla="*/ 5 w 718"/>
                <a:gd name="T97" fmla="*/ 182 h 321"/>
                <a:gd name="T98" fmla="*/ 5 w 718"/>
                <a:gd name="T99" fmla="*/ 184 h 321"/>
                <a:gd name="T100" fmla="*/ 5 w 718"/>
                <a:gd name="T101" fmla="*/ 149 h 32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18"/>
                <a:gd name="T154" fmla="*/ 0 h 321"/>
                <a:gd name="T155" fmla="*/ 718 w 718"/>
                <a:gd name="T156" fmla="*/ 321 h 32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18" h="321">
                  <a:moveTo>
                    <a:pt x="716" y="149"/>
                  </a:moveTo>
                  <a:lnTo>
                    <a:pt x="718" y="138"/>
                  </a:lnTo>
                  <a:lnTo>
                    <a:pt x="703" y="126"/>
                  </a:lnTo>
                  <a:lnTo>
                    <a:pt x="699" y="131"/>
                  </a:lnTo>
                  <a:lnTo>
                    <a:pt x="679" y="127"/>
                  </a:lnTo>
                  <a:lnTo>
                    <a:pt x="637" y="98"/>
                  </a:lnTo>
                  <a:lnTo>
                    <a:pt x="603" y="103"/>
                  </a:lnTo>
                  <a:lnTo>
                    <a:pt x="586" y="91"/>
                  </a:lnTo>
                  <a:lnTo>
                    <a:pt x="578" y="102"/>
                  </a:lnTo>
                  <a:lnTo>
                    <a:pt x="519" y="47"/>
                  </a:lnTo>
                  <a:lnTo>
                    <a:pt x="489" y="31"/>
                  </a:lnTo>
                  <a:lnTo>
                    <a:pt x="489" y="22"/>
                  </a:lnTo>
                  <a:lnTo>
                    <a:pt x="471" y="28"/>
                  </a:lnTo>
                  <a:lnTo>
                    <a:pt x="457" y="41"/>
                  </a:lnTo>
                  <a:lnTo>
                    <a:pt x="440" y="42"/>
                  </a:lnTo>
                  <a:lnTo>
                    <a:pt x="439" y="30"/>
                  </a:lnTo>
                  <a:lnTo>
                    <a:pt x="418" y="31"/>
                  </a:lnTo>
                  <a:lnTo>
                    <a:pt x="410" y="23"/>
                  </a:lnTo>
                  <a:lnTo>
                    <a:pt x="395" y="28"/>
                  </a:lnTo>
                  <a:lnTo>
                    <a:pt x="393" y="15"/>
                  </a:lnTo>
                  <a:lnTo>
                    <a:pt x="378" y="3"/>
                  </a:lnTo>
                  <a:lnTo>
                    <a:pt x="348" y="0"/>
                  </a:lnTo>
                  <a:lnTo>
                    <a:pt x="338" y="9"/>
                  </a:lnTo>
                  <a:lnTo>
                    <a:pt x="303" y="15"/>
                  </a:lnTo>
                  <a:lnTo>
                    <a:pt x="250" y="32"/>
                  </a:lnTo>
                  <a:lnTo>
                    <a:pt x="222" y="31"/>
                  </a:lnTo>
                  <a:lnTo>
                    <a:pt x="226" y="40"/>
                  </a:lnTo>
                  <a:lnTo>
                    <a:pt x="235" y="40"/>
                  </a:lnTo>
                  <a:lnTo>
                    <a:pt x="232" y="53"/>
                  </a:lnTo>
                  <a:lnTo>
                    <a:pt x="226" y="58"/>
                  </a:lnTo>
                  <a:lnTo>
                    <a:pt x="234" y="69"/>
                  </a:lnTo>
                  <a:lnTo>
                    <a:pt x="220" y="77"/>
                  </a:lnTo>
                  <a:lnTo>
                    <a:pt x="252" y="89"/>
                  </a:lnTo>
                  <a:lnTo>
                    <a:pt x="245" y="104"/>
                  </a:lnTo>
                  <a:lnTo>
                    <a:pt x="216" y="104"/>
                  </a:lnTo>
                  <a:lnTo>
                    <a:pt x="193" y="94"/>
                  </a:lnTo>
                  <a:lnTo>
                    <a:pt x="168" y="96"/>
                  </a:lnTo>
                  <a:lnTo>
                    <a:pt x="152" y="105"/>
                  </a:lnTo>
                  <a:lnTo>
                    <a:pt x="131" y="96"/>
                  </a:lnTo>
                  <a:lnTo>
                    <a:pt x="131" y="106"/>
                  </a:lnTo>
                  <a:lnTo>
                    <a:pt x="108" y="86"/>
                  </a:lnTo>
                  <a:lnTo>
                    <a:pt x="84" y="80"/>
                  </a:lnTo>
                  <a:lnTo>
                    <a:pt x="77" y="86"/>
                  </a:lnTo>
                  <a:lnTo>
                    <a:pt x="58" y="82"/>
                  </a:lnTo>
                  <a:lnTo>
                    <a:pt x="39" y="94"/>
                  </a:lnTo>
                  <a:lnTo>
                    <a:pt x="26" y="105"/>
                  </a:lnTo>
                  <a:lnTo>
                    <a:pt x="34" y="119"/>
                  </a:lnTo>
                  <a:lnTo>
                    <a:pt x="27" y="123"/>
                  </a:lnTo>
                  <a:lnTo>
                    <a:pt x="9" y="108"/>
                  </a:lnTo>
                  <a:lnTo>
                    <a:pt x="0" y="154"/>
                  </a:lnTo>
                  <a:lnTo>
                    <a:pt x="10" y="156"/>
                  </a:lnTo>
                  <a:lnTo>
                    <a:pt x="18" y="170"/>
                  </a:lnTo>
                  <a:lnTo>
                    <a:pt x="33" y="170"/>
                  </a:lnTo>
                  <a:lnTo>
                    <a:pt x="50" y="191"/>
                  </a:lnTo>
                  <a:lnTo>
                    <a:pt x="40" y="195"/>
                  </a:lnTo>
                  <a:lnTo>
                    <a:pt x="55" y="201"/>
                  </a:lnTo>
                  <a:lnTo>
                    <a:pt x="52" y="195"/>
                  </a:lnTo>
                  <a:lnTo>
                    <a:pt x="85" y="180"/>
                  </a:lnTo>
                  <a:lnTo>
                    <a:pt x="115" y="183"/>
                  </a:lnTo>
                  <a:lnTo>
                    <a:pt x="138" y="199"/>
                  </a:lnTo>
                  <a:lnTo>
                    <a:pt x="154" y="225"/>
                  </a:lnTo>
                  <a:lnTo>
                    <a:pt x="108" y="223"/>
                  </a:lnTo>
                  <a:lnTo>
                    <a:pt x="100" y="231"/>
                  </a:lnTo>
                  <a:lnTo>
                    <a:pt x="107" y="243"/>
                  </a:lnTo>
                  <a:lnTo>
                    <a:pt x="85" y="241"/>
                  </a:lnTo>
                  <a:lnTo>
                    <a:pt x="84" y="247"/>
                  </a:lnTo>
                  <a:lnTo>
                    <a:pt x="96" y="251"/>
                  </a:lnTo>
                  <a:lnTo>
                    <a:pt x="121" y="281"/>
                  </a:lnTo>
                  <a:lnTo>
                    <a:pt x="134" y="281"/>
                  </a:lnTo>
                  <a:lnTo>
                    <a:pt x="134" y="297"/>
                  </a:lnTo>
                  <a:lnTo>
                    <a:pt x="136" y="302"/>
                  </a:lnTo>
                  <a:lnTo>
                    <a:pt x="146" y="293"/>
                  </a:lnTo>
                  <a:lnTo>
                    <a:pt x="164" y="291"/>
                  </a:lnTo>
                  <a:lnTo>
                    <a:pt x="193" y="316"/>
                  </a:lnTo>
                  <a:lnTo>
                    <a:pt x="204" y="316"/>
                  </a:lnTo>
                  <a:lnTo>
                    <a:pt x="184" y="230"/>
                  </a:lnTo>
                  <a:lnTo>
                    <a:pt x="230" y="217"/>
                  </a:lnTo>
                  <a:lnTo>
                    <a:pt x="304" y="265"/>
                  </a:lnTo>
                  <a:lnTo>
                    <a:pt x="358" y="260"/>
                  </a:lnTo>
                  <a:lnTo>
                    <a:pt x="384" y="279"/>
                  </a:lnTo>
                  <a:lnTo>
                    <a:pt x="388" y="302"/>
                  </a:lnTo>
                  <a:lnTo>
                    <a:pt x="400" y="303"/>
                  </a:lnTo>
                  <a:lnTo>
                    <a:pt x="406" y="317"/>
                  </a:lnTo>
                  <a:lnTo>
                    <a:pt x="443" y="321"/>
                  </a:lnTo>
                  <a:lnTo>
                    <a:pt x="472" y="298"/>
                  </a:lnTo>
                  <a:lnTo>
                    <a:pt x="473" y="292"/>
                  </a:lnTo>
                  <a:lnTo>
                    <a:pt x="475" y="283"/>
                  </a:lnTo>
                  <a:lnTo>
                    <a:pt x="518" y="289"/>
                  </a:lnTo>
                  <a:lnTo>
                    <a:pt x="519" y="277"/>
                  </a:lnTo>
                  <a:lnTo>
                    <a:pt x="529" y="272"/>
                  </a:lnTo>
                  <a:lnTo>
                    <a:pt x="553" y="280"/>
                  </a:lnTo>
                  <a:lnTo>
                    <a:pt x="626" y="282"/>
                  </a:lnTo>
                  <a:lnTo>
                    <a:pt x="648" y="293"/>
                  </a:lnTo>
                  <a:lnTo>
                    <a:pt x="651" y="274"/>
                  </a:lnTo>
                  <a:lnTo>
                    <a:pt x="628" y="236"/>
                  </a:lnTo>
                  <a:lnTo>
                    <a:pt x="633" y="229"/>
                  </a:lnTo>
                  <a:lnTo>
                    <a:pt x="663" y="227"/>
                  </a:lnTo>
                  <a:lnTo>
                    <a:pt x="661" y="182"/>
                  </a:lnTo>
                  <a:lnTo>
                    <a:pt x="697" y="189"/>
                  </a:lnTo>
                  <a:lnTo>
                    <a:pt x="708" y="184"/>
                  </a:lnTo>
                  <a:lnTo>
                    <a:pt x="702" y="155"/>
                  </a:lnTo>
                  <a:lnTo>
                    <a:pt x="716" y="14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12" name="Freeform 69"/>
            <p:cNvSpPr>
              <a:spLocks noChangeAspect="1"/>
            </p:cNvSpPr>
            <p:nvPr/>
          </p:nvSpPr>
          <p:spPr bwMode="auto">
            <a:xfrm>
              <a:off x="5548385" y="2094562"/>
              <a:ext cx="430329" cy="279818"/>
            </a:xfrm>
            <a:custGeom>
              <a:avLst/>
              <a:gdLst>
                <a:gd name="T0" fmla="*/ 5 w 341"/>
                <a:gd name="T1" fmla="*/ 189 h 195"/>
                <a:gd name="T2" fmla="*/ 5 w 341"/>
                <a:gd name="T3" fmla="*/ 195 h 195"/>
                <a:gd name="T4" fmla="*/ 5 w 341"/>
                <a:gd name="T5" fmla="*/ 171 h 195"/>
                <a:gd name="T6" fmla="*/ 5 w 341"/>
                <a:gd name="T7" fmla="*/ 151 h 195"/>
                <a:gd name="T8" fmla="*/ 5 w 341"/>
                <a:gd name="T9" fmla="*/ 144 h 195"/>
                <a:gd name="T10" fmla="*/ 5 w 341"/>
                <a:gd name="T11" fmla="*/ 138 h 195"/>
                <a:gd name="T12" fmla="*/ 5 w 341"/>
                <a:gd name="T13" fmla="*/ 137 h 195"/>
                <a:gd name="T14" fmla="*/ 5 w 341"/>
                <a:gd name="T15" fmla="*/ 127 h 195"/>
                <a:gd name="T16" fmla="*/ 5 w 341"/>
                <a:gd name="T17" fmla="*/ 123 h 195"/>
                <a:gd name="T18" fmla="*/ 5 w 341"/>
                <a:gd name="T19" fmla="*/ 112 h 195"/>
                <a:gd name="T20" fmla="*/ 5 w 341"/>
                <a:gd name="T21" fmla="*/ 104 h 195"/>
                <a:gd name="T22" fmla="*/ 5 w 341"/>
                <a:gd name="T23" fmla="*/ 123 h 195"/>
                <a:gd name="T24" fmla="*/ 5 w 341"/>
                <a:gd name="T25" fmla="*/ 123 h 195"/>
                <a:gd name="T26" fmla="*/ 5 w 341"/>
                <a:gd name="T27" fmla="*/ 122 h 195"/>
                <a:gd name="T28" fmla="*/ 5 w 341"/>
                <a:gd name="T29" fmla="*/ 109 h 195"/>
                <a:gd name="T30" fmla="*/ 5 w 341"/>
                <a:gd name="T31" fmla="*/ 93 h 195"/>
                <a:gd name="T32" fmla="*/ 5 w 341"/>
                <a:gd name="T33" fmla="*/ 103 h 195"/>
                <a:gd name="T34" fmla="*/ 5 w 341"/>
                <a:gd name="T35" fmla="*/ 94 h 195"/>
                <a:gd name="T36" fmla="*/ 5 w 341"/>
                <a:gd name="T37" fmla="*/ 78 h 195"/>
                <a:gd name="T38" fmla="*/ 5 w 341"/>
                <a:gd name="T39" fmla="*/ 75 h 195"/>
                <a:gd name="T40" fmla="*/ 5 w 341"/>
                <a:gd name="T41" fmla="*/ 81 h 195"/>
                <a:gd name="T42" fmla="*/ 5 w 341"/>
                <a:gd name="T43" fmla="*/ 104 h 195"/>
                <a:gd name="T44" fmla="*/ 5 w 341"/>
                <a:gd name="T45" fmla="*/ 100 h 195"/>
                <a:gd name="T46" fmla="*/ 5 w 341"/>
                <a:gd name="T47" fmla="*/ 86 h 195"/>
                <a:gd name="T48" fmla="*/ 5 w 341"/>
                <a:gd name="T49" fmla="*/ 85 h 195"/>
                <a:gd name="T50" fmla="*/ 5 w 341"/>
                <a:gd name="T51" fmla="*/ 62 h 195"/>
                <a:gd name="T52" fmla="*/ 5 w 341"/>
                <a:gd name="T53" fmla="*/ 43 h 195"/>
                <a:gd name="T54" fmla="*/ 5 w 341"/>
                <a:gd name="T55" fmla="*/ 48 h 195"/>
                <a:gd name="T56" fmla="*/ 5 w 341"/>
                <a:gd name="T57" fmla="*/ 0 h 195"/>
                <a:gd name="T58" fmla="*/ 0 w 341"/>
                <a:gd name="T59" fmla="*/ 13 h 195"/>
                <a:gd name="T60" fmla="*/ 5 w 341"/>
                <a:gd name="T61" fmla="*/ 99 h 195"/>
                <a:gd name="T62" fmla="*/ 5 w 341"/>
                <a:gd name="T63" fmla="*/ 100 h 195"/>
                <a:gd name="T64" fmla="*/ 5 w 341"/>
                <a:gd name="T65" fmla="*/ 85 h 195"/>
                <a:gd name="T66" fmla="*/ 5 w 341"/>
                <a:gd name="T67" fmla="*/ 71 h 195"/>
                <a:gd name="T68" fmla="*/ 5 w 341"/>
                <a:gd name="T69" fmla="*/ 69 h 195"/>
                <a:gd name="T70" fmla="*/ 5 w 341"/>
                <a:gd name="T71" fmla="*/ 64 h 195"/>
                <a:gd name="T72" fmla="*/ 5 w 341"/>
                <a:gd name="T73" fmla="*/ 77 h 195"/>
                <a:gd name="T74" fmla="*/ 5 w 341"/>
                <a:gd name="T75" fmla="*/ 97 h 195"/>
                <a:gd name="T76" fmla="*/ 5 w 341"/>
                <a:gd name="T77" fmla="*/ 103 h 195"/>
                <a:gd name="T78" fmla="*/ 5 w 341"/>
                <a:gd name="T79" fmla="*/ 132 h 195"/>
                <a:gd name="T80" fmla="*/ 5 w 341"/>
                <a:gd name="T81" fmla="*/ 168 h 195"/>
                <a:gd name="T82" fmla="*/ 5 w 341"/>
                <a:gd name="T83" fmla="*/ 172 h 195"/>
                <a:gd name="T84" fmla="*/ 5 w 341"/>
                <a:gd name="T85" fmla="*/ 189 h 1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1"/>
                <a:gd name="T130" fmla="*/ 0 h 195"/>
                <a:gd name="T131" fmla="*/ 341 w 341"/>
                <a:gd name="T132" fmla="*/ 195 h 1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1" h="195">
                  <a:moveTo>
                    <a:pt x="236" y="189"/>
                  </a:moveTo>
                  <a:lnTo>
                    <a:pt x="259" y="195"/>
                  </a:lnTo>
                  <a:lnTo>
                    <a:pt x="266" y="171"/>
                  </a:lnTo>
                  <a:lnTo>
                    <a:pt x="257" y="151"/>
                  </a:lnTo>
                  <a:lnTo>
                    <a:pt x="242" y="144"/>
                  </a:lnTo>
                  <a:lnTo>
                    <a:pt x="244" y="138"/>
                  </a:lnTo>
                  <a:lnTo>
                    <a:pt x="262" y="137"/>
                  </a:lnTo>
                  <a:lnTo>
                    <a:pt x="263" y="127"/>
                  </a:lnTo>
                  <a:lnTo>
                    <a:pt x="273" y="123"/>
                  </a:lnTo>
                  <a:lnTo>
                    <a:pt x="272" y="112"/>
                  </a:lnTo>
                  <a:lnTo>
                    <a:pt x="290" y="104"/>
                  </a:lnTo>
                  <a:lnTo>
                    <a:pt x="297" y="123"/>
                  </a:lnTo>
                  <a:lnTo>
                    <a:pt x="304" y="123"/>
                  </a:lnTo>
                  <a:lnTo>
                    <a:pt x="322" y="122"/>
                  </a:lnTo>
                  <a:lnTo>
                    <a:pt x="341" y="109"/>
                  </a:lnTo>
                  <a:lnTo>
                    <a:pt x="310" y="93"/>
                  </a:lnTo>
                  <a:lnTo>
                    <a:pt x="307" y="103"/>
                  </a:lnTo>
                  <a:lnTo>
                    <a:pt x="284" y="94"/>
                  </a:lnTo>
                  <a:lnTo>
                    <a:pt x="297" y="78"/>
                  </a:lnTo>
                  <a:lnTo>
                    <a:pt x="289" y="75"/>
                  </a:lnTo>
                  <a:lnTo>
                    <a:pt x="288" y="81"/>
                  </a:lnTo>
                  <a:lnTo>
                    <a:pt x="259" y="104"/>
                  </a:lnTo>
                  <a:lnTo>
                    <a:pt x="222" y="100"/>
                  </a:lnTo>
                  <a:lnTo>
                    <a:pt x="216" y="86"/>
                  </a:lnTo>
                  <a:lnTo>
                    <a:pt x="204" y="85"/>
                  </a:lnTo>
                  <a:lnTo>
                    <a:pt x="200" y="62"/>
                  </a:lnTo>
                  <a:lnTo>
                    <a:pt x="174" y="43"/>
                  </a:lnTo>
                  <a:lnTo>
                    <a:pt x="120" y="48"/>
                  </a:lnTo>
                  <a:lnTo>
                    <a:pt x="46" y="0"/>
                  </a:lnTo>
                  <a:lnTo>
                    <a:pt x="0" y="13"/>
                  </a:lnTo>
                  <a:lnTo>
                    <a:pt x="20" y="99"/>
                  </a:lnTo>
                  <a:lnTo>
                    <a:pt x="37" y="100"/>
                  </a:lnTo>
                  <a:lnTo>
                    <a:pt x="36" y="85"/>
                  </a:lnTo>
                  <a:lnTo>
                    <a:pt x="52" y="71"/>
                  </a:lnTo>
                  <a:lnTo>
                    <a:pt x="55" y="69"/>
                  </a:lnTo>
                  <a:lnTo>
                    <a:pt x="61" y="64"/>
                  </a:lnTo>
                  <a:lnTo>
                    <a:pt x="89" y="77"/>
                  </a:lnTo>
                  <a:lnTo>
                    <a:pt x="96" y="97"/>
                  </a:lnTo>
                  <a:lnTo>
                    <a:pt x="131" y="103"/>
                  </a:lnTo>
                  <a:lnTo>
                    <a:pt x="151" y="132"/>
                  </a:lnTo>
                  <a:lnTo>
                    <a:pt x="213" y="168"/>
                  </a:lnTo>
                  <a:lnTo>
                    <a:pt x="232" y="172"/>
                  </a:lnTo>
                  <a:lnTo>
                    <a:pt x="236" y="18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13" name="Freeform 70"/>
            <p:cNvSpPr>
              <a:spLocks noChangeAspect="1"/>
            </p:cNvSpPr>
            <p:nvPr/>
          </p:nvSpPr>
          <p:spPr bwMode="auto">
            <a:xfrm>
              <a:off x="5854366" y="2243798"/>
              <a:ext cx="194207" cy="140626"/>
            </a:xfrm>
            <a:custGeom>
              <a:avLst/>
              <a:gdLst>
                <a:gd name="T0" fmla="*/ 5 w 152"/>
                <a:gd name="T1" fmla="*/ 92 h 98"/>
                <a:gd name="T2" fmla="*/ 5 w 152"/>
                <a:gd name="T3" fmla="*/ 89 h 98"/>
                <a:gd name="T4" fmla="*/ 5 w 152"/>
                <a:gd name="T5" fmla="*/ 79 h 98"/>
                <a:gd name="T6" fmla="*/ 5 w 152"/>
                <a:gd name="T7" fmla="*/ 80 h 98"/>
                <a:gd name="T8" fmla="*/ 5 w 152"/>
                <a:gd name="T9" fmla="*/ 59 h 98"/>
                <a:gd name="T10" fmla="*/ 5 w 152"/>
                <a:gd name="T11" fmla="*/ 72 h 98"/>
                <a:gd name="T12" fmla="*/ 5 w 152"/>
                <a:gd name="T13" fmla="*/ 98 h 98"/>
                <a:gd name="T14" fmla="*/ 5 w 152"/>
                <a:gd name="T15" fmla="*/ 82 h 98"/>
                <a:gd name="T16" fmla="*/ 5 w 152"/>
                <a:gd name="T17" fmla="*/ 87 h 98"/>
                <a:gd name="T18" fmla="*/ 5 w 152"/>
                <a:gd name="T19" fmla="*/ 61 h 98"/>
                <a:gd name="T20" fmla="*/ 5 w 152"/>
                <a:gd name="T21" fmla="*/ 59 h 98"/>
                <a:gd name="T22" fmla="*/ 5 w 152"/>
                <a:gd name="T23" fmla="*/ 51 h 98"/>
                <a:gd name="T24" fmla="*/ 5 w 152"/>
                <a:gd name="T25" fmla="*/ 36 h 98"/>
                <a:gd name="T26" fmla="*/ 5 w 152"/>
                <a:gd name="T27" fmla="*/ 41 h 98"/>
                <a:gd name="T28" fmla="*/ 5 w 152"/>
                <a:gd name="T29" fmla="*/ 34 h 98"/>
                <a:gd name="T30" fmla="*/ 5 w 152"/>
                <a:gd name="T31" fmla="*/ 34 h 98"/>
                <a:gd name="T32" fmla="*/ 5 w 152"/>
                <a:gd name="T33" fmla="*/ 24 h 98"/>
                <a:gd name="T34" fmla="*/ 5 w 152"/>
                <a:gd name="T35" fmla="*/ 24 h 98"/>
                <a:gd name="T36" fmla="*/ 5 w 152"/>
                <a:gd name="T37" fmla="*/ 19 h 98"/>
                <a:gd name="T38" fmla="*/ 5 w 152"/>
                <a:gd name="T39" fmla="*/ 19 h 98"/>
                <a:gd name="T40" fmla="*/ 5 w 152"/>
                <a:gd name="T41" fmla="*/ 0 h 98"/>
                <a:gd name="T42" fmla="*/ 5 w 152"/>
                <a:gd name="T43" fmla="*/ 8 h 98"/>
                <a:gd name="T44" fmla="*/ 5 w 152"/>
                <a:gd name="T45" fmla="*/ 19 h 98"/>
                <a:gd name="T46" fmla="*/ 5 w 152"/>
                <a:gd name="T47" fmla="*/ 23 h 98"/>
                <a:gd name="T48" fmla="*/ 5 w 152"/>
                <a:gd name="T49" fmla="*/ 33 h 98"/>
                <a:gd name="T50" fmla="*/ 2 w 152"/>
                <a:gd name="T51" fmla="*/ 34 h 98"/>
                <a:gd name="T52" fmla="*/ 0 w 152"/>
                <a:gd name="T53" fmla="*/ 40 h 98"/>
                <a:gd name="T54" fmla="*/ 5 w 152"/>
                <a:gd name="T55" fmla="*/ 47 h 98"/>
                <a:gd name="T56" fmla="*/ 5 w 152"/>
                <a:gd name="T57" fmla="*/ 67 h 98"/>
                <a:gd name="T58" fmla="*/ 5 w 152"/>
                <a:gd name="T59" fmla="*/ 91 h 98"/>
                <a:gd name="T60" fmla="*/ 5 w 152"/>
                <a:gd name="T61" fmla="*/ 92 h 9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52"/>
                <a:gd name="T94" fmla="*/ 0 h 98"/>
                <a:gd name="T95" fmla="*/ 152 w 152"/>
                <a:gd name="T96" fmla="*/ 98 h 9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52" h="98">
                  <a:moveTo>
                    <a:pt x="25" y="92"/>
                  </a:moveTo>
                  <a:lnTo>
                    <a:pt x="46" y="89"/>
                  </a:lnTo>
                  <a:lnTo>
                    <a:pt x="51" y="79"/>
                  </a:lnTo>
                  <a:lnTo>
                    <a:pt x="63" y="80"/>
                  </a:lnTo>
                  <a:lnTo>
                    <a:pt x="71" y="59"/>
                  </a:lnTo>
                  <a:lnTo>
                    <a:pt x="87" y="72"/>
                  </a:lnTo>
                  <a:lnTo>
                    <a:pt x="94" y="98"/>
                  </a:lnTo>
                  <a:lnTo>
                    <a:pt x="125" y="82"/>
                  </a:lnTo>
                  <a:lnTo>
                    <a:pt x="152" y="87"/>
                  </a:lnTo>
                  <a:lnTo>
                    <a:pt x="146" y="61"/>
                  </a:lnTo>
                  <a:lnTo>
                    <a:pt x="129" y="59"/>
                  </a:lnTo>
                  <a:lnTo>
                    <a:pt x="122" y="51"/>
                  </a:lnTo>
                  <a:lnTo>
                    <a:pt x="122" y="36"/>
                  </a:lnTo>
                  <a:lnTo>
                    <a:pt x="92" y="41"/>
                  </a:lnTo>
                  <a:lnTo>
                    <a:pt x="75" y="34"/>
                  </a:lnTo>
                  <a:lnTo>
                    <a:pt x="36" y="34"/>
                  </a:lnTo>
                  <a:lnTo>
                    <a:pt x="32" y="24"/>
                  </a:lnTo>
                  <a:lnTo>
                    <a:pt x="55" y="24"/>
                  </a:lnTo>
                  <a:lnTo>
                    <a:pt x="62" y="19"/>
                  </a:lnTo>
                  <a:lnTo>
                    <a:pt x="55" y="19"/>
                  </a:lnTo>
                  <a:lnTo>
                    <a:pt x="48" y="0"/>
                  </a:lnTo>
                  <a:lnTo>
                    <a:pt x="30" y="8"/>
                  </a:lnTo>
                  <a:lnTo>
                    <a:pt x="31" y="19"/>
                  </a:lnTo>
                  <a:lnTo>
                    <a:pt x="21" y="23"/>
                  </a:lnTo>
                  <a:lnTo>
                    <a:pt x="20" y="33"/>
                  </a:lnTo>
                  <a:lnTo>
                    <a:pt x="2" y="34"/>
                  </a:lnTo>
                  <a:lnTo>
                    <a:pt x="0" y="40"/>
                  </a:lnTo>
                  <a:lnTo>
                    <a:pt x="15" y="47"/>
                  </a:lnTo>
                  <a:lnTo>
                    <a:pt x="24" y="67"/>
                  </a:lnTo>
                  <a:lnTo>
                    <a:pt x="17" y="91"/>
                  </a:lnTo>
                  <a:lnTo>
                    <a:pt x="25" y="9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14" name="Freeform 71"/>
            <p:cNvSpPr>
              <a:spLocks noChangeAspect="1"/>
            </p:cNvSpPr>
            <p:nvPr/>
          </p:nvSpPr>
          <p:spPr bwMode="auto">
            <a:xfrm>
              <a:off x="5894884" y="2173485"/>
              <a:ext cx="238916" cy="129147"/>
            </a:xfrm>
            <a:custGeom>
              <a:avLst/>
              <a:gdLst>
                <a:gd name="T0" fmla="*/ 5 w 190"/>
                <a:gd name="T1" fmla="*/ 68 h 90"/>
                <a:gd name="T2" fmla="*/ 5 w 190"/>
                <a:gd name="T3" fmla="*/ 73 h 90"/>
                <a:gd name="T4" fmla="*/ 0 w 190"/>
                <a:gd name="T5" fmla="*/ 73 h 90"/>
                <a:gd name="T6" fmla="*/ 4 w 190"/>
                <a:gd name="T7" fmla="*/ 83 h 90"/>
                <a:gd name="T8" fmla="*/ 5 w 190"/>
                <a:gd name="T9" fmla="*/ 83 h 90"/>
                <a:gd name="T10" fmla="*/ 5 w 190"/>
                <a:gd name="T11" fmla="*/ 90 h 90"/>
                <a:gd name="T12" fmla="*/ 5 w 190"/>
                <a:gd name="T13" fmla="*/ 85 h 90"/>
                <a:gd name="T14" fmla="*/ 5 w 190"/>
                <a:gd name="T15" fmla="*/ 73 h 90"/>
                <a:gd name="T16" fmla="*/ 5 w 190"/>
                <a:gd name="T17" fmla="*/ 62 h 90"/>
                <a:gd name="T18" fmla="*/ 5 w 190"/>
                <a:gd name="T19" fmla="*/ 62 h 90"/>
                <a:gd name="T20" fmla="*/ 5 w 190"/>
                <a:gd name="T21" fmla="*/ 53 h 90"/>
                <a:gd name="T22" fmla="*/ 5 w 190"/>
                <a:gd name="T23" fmla="*/ 50 h 90"/>
                <a:gd name="T24" fmla="*/ 5 w 190"/>
                <a:gd name="T25" fmla="*/ 30 h 90"/>
                <a:gd name="T26" fmla="*/ 5 w 190"/>
                <a:gd name="T27" fmla="*/ 21 h 90"/>
                <a:gd name="T28" fmla="*/ 5 w 190"/>
                <a:gd name="T29" fmla="*/ 10 h 90"/>
                <a:gd name="T30" fmla="*/ 5 w 190"/>
                <a:gd name="T31" fmla="*/ 8 h 90"/>
                <a:gd name="T32" fmla="*/ 5 w 190"/>
                <a:gd name="T33" fmla="*/ 0 h 90"/>
                <a:gd name="T34" fmla="*/ 5 w 190"/>
                <a:gd name="T35" fmla="*/ 5 h 90"/>
                <a:gd name="T36" fmla="*/ 5 w 190"/>
                <a:gd name="T37" fmla="*/ 17 h 90"/>
                <a:gd name="T38" fmla="*/ 5 w 190"/>
                <a:gd name="T39" fmla="*/ 11 h 90"/>
                <a:gd name="T40" fmla="*/ 5 w 190"/>
                <a:gd name="T41" fmla="*/ 20 h 90"/>
                <a:gd name="T42" fmla="*/ 5 w 190"/>
                <a:gd name="T43" fmla="*/ 23 h 90"/>
                <a:gd name="T44" fmla="*/ 5 w 190"/>
                <a:gd name="T45" fmla="*/ 39 h 90"/>
                <a:gd name="T46" fmla="*/ 5 w 190"/>
                <a:gd name="T47" fmla="*/ 48 h 90"/>
                <a:gd name="T48" fmla="*/ 5 w 190"/>
                <a:gd name="T49" fmla="*/ 38 h 90"/>
                <a:gd name="T50" fmla="*/ 5 w 190"/>
                <a:gd name="T51" fmla="*/ 54 h 90"/>
                <a:gd name="T52" fmla="*/ 5 w 190"/>
                <a:gd name="T53" fmla="*/ 67 h 90"/>
                <a:gd name="T54" fmla="*/ 5 w 190"/>
                <a:gd name="T55" fmla="*/ 68 h 9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0"/>
                <a:gd name="T85" fmla="*/ 0 h 90"/>
                <a:gd name="T86" fmla="*/ 190 w 190"/>
                <a:gd name="T87" fmla="*/ 90 h 9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0" h="90">
                  <a:moveTo>
                    <a:pt x="30" y="68"/>
                  </a:moveTo>
                  <a:lnTo>
                    <a:pt x="23" y="73"/>
                  </a:lnTo>
                  <a:lnTo>
                    <a:pt x="0" y="73"/>
                  </a:lnTo>
                  <a:lnTo>
                    <a:pt x="4" y="83"/>
                  </a:lnTo>
                  <a:lnTo>
                    <a:pt x="43" y="83"/>
                  </a:lnTo>
                  <a:lnTo>
                    <a:pt x="60" y="90"/>
                  </a:lnTo>
                  <a:lnTo>
                    <a:pt x="90" y="85"/>
                  </a:lnTo>
                  <a:lnTo>
                    <a:pt x="90" y="73"/>
                  </a:lnTo>
                  <a:lnTo>
                    <a:pt x="104" y="62"/>
                  </a:lnTo>
                  <a:lnTo>
                    <a:pt x="135" y="62"/>
                  </a:lnTo>
                  <a:lnTo>
                    <a:pt x="137" y="53"/>
                  </a:lnTo>
                  <a:lnTo>
                    <a:pt x="158" y="50"/>
                  </a:lnTo>
                  <a:lnTo>
                    <a:pt x="188" y="30"/>
                  </a:lnTo>
                  <a:lnTo>
                    <a:pt x="190" y="21"/>
                  </a:lnTo>
                  <a:lnTo>
                    <a:pt x="168" y="10"/>
                  </a:lnTo>
                  <a:lnTo>
                    <a:pt x="95" y="8"/>
                  </a:lnTo>
                  <a:lnTo>
                    <a:pt x="71" y="0"/>
                  </a:lnTo>
                  <a:lnTo>
                    <a:pt x="61" y="5"/>
                  </a:lnTo>
                  <a:lnTo>
                    <a:pt x="60" y="17"/>
                  </a:lnTo>
                  <a:lnTo>
                    <a:pt x="17" y="11"/>
                  </a:lnTo>
                  <a:lnTo>
                    <a:pt x="15" y="20"/>
                  </a:lnTo>
                  <a:lnTo>
                    <a:pt x="23" y="23"/>
                  </a:lnTo>
                  <a:lnTo>
                    <a:pt x="10" y="39"/>
                  </a:lnTo>
                  <a:lnTo>
                    <a:pt x="33" y="48"/>
                  </a:lnTo>
                  <a:lnTo>
                    <a:pt x="36" y="38"/>
                  </a:lnTo>
                  <a:lnTo>
                    <a:pt x="67" y="54"/>
                  </a:lnTo>
                  <a:lnTo>
                    <a:pt x="48" y="67"/>
                  </a:lnTo>
                  <a:lnTo>
                    <a:pt x="30" y="6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15" name="Freeform 72"/>
            <p:cNvSpPr>
              <a:spLocks noChangeAspect="1"/>
            </p:cNvSpPr>
            <p:nvPr/>
          </p:nvSpPr>
          <p:spPr bwMode="auto">
            <a:xfrm>
              <a:off x="5489704" y="2186399"/>
              <a:ext cx="356279" cy="239639"/>
            </a:xfrm>
            <a:custGeom>
              <a:avLst/>
              <a:gdLst>
                <a:gd name="T0" fmla="*/ 4 w 284"/>
                <a:gd name="T1" fmla="*/ 35 h 167"/>
                <a:gd name="T2" fmla="*/ 4 w 284"/>
                <a:gd name="T3" fmla="*/ 36 h 167"/>
                <a:gd name="T4" fmla="*/ 4 w 284"/>
                <a:gd name="T5" fmla="*/ 21 h 167"/>
                <a:gd name="T6" fmla="*/ 4 w 284"/>
                <a:gd name="T7" fmla="*/ 7 h 167"/>
                <a:gd name="T8" fmla="*/ 4 w 284"/>
                <a:gd name="T9" fmla="*/ 5 h 167"/>
                <a:gd name="T10" fmla="*/ 4 w 284"/>
                <a:gd name="T11" fmla="*/ 0 h 167"/>
                <a:gd name="T12" fmla="*/ 4 w 284"/>
                <a:gd name="T13" fmla="*/ 13 h 167"/>
                <a:gd name="T14" fmla="*/ 4 w 284"/>
                <a:gd name="T15" fmla="*/ 33 h 167"/>
                <a:gd name="T16" fmla="*/ 4 w 284"/>
                <a:gd name="T17" fmla="*/ 39 h 167"/>
                <a:gd name="T18" fmla="*/ 4 w 284"/>
                <a:gd name="T19" fmla="*/ 68 h 167"/>
                <a:gd name="T20" fmla="*/ 4 w 284"/>
                <a:gd name="T21" fmla="*/ 104 h 167"/>
                <a:gd name="T22" fmla="*/ 4 w 284"/>
                <a:gd name="T23" fmla="*/ 108 h 167"/>
                <a:gd name="T24" fmla="*/ 4 w 284"/>
                <a:gd name="T25" fmla="*/ 125 h 167"/>
                <a:gd name="T26" fmla="*/ 4 w 284"/>
                <a:gd name="T27" fmla="*/ 120 h 167"/>
                <a:gd name="T28" fmla="*/ 4 w 284"/>
                <a:gd name="T29" fmla="*/ 126 h 167"/>
                <a:gd name="T30" fmla="*/ 4 w 284"/>
                <a:gd name="T31" fmla="*/ 127 h 167"/>
                <a:gd name="T32" fmla="*/ 4 w 284"/>
                <a:gd name="T33" fmla="*/ 149 h 167"/>
                <a:gd name="T34" fmla="*/ 4 w 284"/>
                <a:gd name="T35" fmla="*/ 159 h 167"/>
                <a:gd name="T36" fmla="*/ 4 w 284"/>
                <a:gd name="T37" fmla="*/ 167 h 167"/>
                <a:gd name="T38" fmla="*/ 4 w 284"/>
                <a:gd name="T39" fmla="*/ 159 h 167"/>
                <a:gd name="T40" fmla="*/ 4 w 284"/>
                <a:gd name="T41" fmla="*/ 147 h 167"/>
                <a:gd name="T42" fmla="*/ 4 w 284"/>
                <a:gd name="T43" fmla="*/ 103 h 167"/>
                <a:gd name="T44" fmla="*/ 4 w 284"/>
                <a:gd name="T45" fmla="*/ 107 h 167"/>
                <a:gd name="T46" fmla="*/ 4 w 284"/>
                <a:gd name="T47" fmla="*/ 122 h 167"/>
                <a:gd name="T48" fmla="*/ 4 w 284"/>
                <a:gd name="T49" fmla="*/ 85 h 167"/>
                <a:gd name="T50" fmla="*/ 4 w 284"/>
                <a:gd name="T51" fmla="*/ 84 h 167"/>
                <a:gd name="T52" fmla="*/ 4 w 284"/>
                <a:gd name="T53" fmla="*/ 64 h 167"/>
                <a:gd name="T54" fmla="*/ 4 w 284"/>
                <a:gd name="T55" fmla="*/ 64 h 167"/>
                <a:gd name="T56" fmla="*/ 4 w 284"/>
                <a:gd name="T57" fmla="*/ 57 h 167"/>
                <a:gd name="T58" fmla="*/ 4 w 284"/>
                <a:gd name="T59" fmla="*/ 46 h 167"/>
                <a:gd name="T60" fmla="*/ 4 w 284"/>
                <a:gd name="T61" fmla="*/ 50 h 167"/>
                <a:gd name="T62" fmla="*/ 4 w 284"/>
                <a:gd name="T63" fmla="*/ 41 h 167"/>
                <a:gd name="T64" fmla="*/ 4 w 284"/>
                <a:gd name="T65" fmla="*/ 17 h 167"/>
                <a:gd name="T66" fmla="*/ 4 w 284"/>
                <a:gd name="T67" fmla="*/ 19 h 167"/>
                <a:gd name="T68" fmla="*/ 4 w 284"/>
                <a:gd name="T69" fmla="*/ 36 h 167"/>
                <a:gd name="T70" fmla="*/ 0 w 284"/>
                <a:gd name="T71" fmla="*/ 21 h 167"/>
                <a:gd name="T72" fmla="*/ 4 w 284"/>
                <a:gd name="T73" fmla="*/ 12 h 167"/>
                <a:gd name="T74" fmla="*/ 4 w 284"/>
                <a:gd name="T75" fmla="*/ 10 h 167"/>
                <a:gd name="T76" fmla="*/ 4 w 284"/>
                <a:gd name="T77" fmla="*/ 35 h 167"/>
                <a:gd name="T78" fmla="*/ 4 w 284"/>
                <a:gd name="T79" fmla="*/ 35 h 16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84"/>
                <a:gd name="T121" fmla="*/ 0 h 167"/>
                <a:gd name="T122" fmla="*/ 284 w 284"/>
                <a:gd name="T123" fmla="*/ 167 h 16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84" h="167">
                  <a:moveTo>
                    <a:pt x="68" y="35"/>
                  </a:moveTo>
                  <a:lnTo>
                    <a:pt x="85" y="36"/>
                  </a:lnTo>
                  <a:lnTo>
                    <a:pt x="84" y="21"/>
                  </a:lnTo>
                  <a:lnTo>
                    <a:pt x="100" y="7"/>
                  </a:lnTo>
                  <a:lnTo>
                    <a:pt x="103" y="5"/>
                  </a:lnTo>
                  <a:lnTo>
                    <a:pt x="109" y="0"/>
                  </a:lnTo>
                  <a:lnTo>
                    <a:pt x="137" y="13"/>
                  </a:lnTo>
                  <a:lnTo>
                    <a:pt x="144" y="33"/>
                  </a:lnTo>
                  <a:lnTo>
                    <a:pt x="179" y="39"/>
                  </a:lnTo>
                  <a:lnTo>
                    <a:pt x="199" y="68"/>
                  </a:lnTo>
                  <a:lnTo>
                    <a:pt x="261" y="104"/>
                  </a:lnTo>
                  <a:lnTo>
                    <a:pt x="280" y="108"/>
                  </a:lnTo>
                  <a:lnTo>
                    <a:pt x="284" y="125"/>
                  </a:lnTo>
                  <a:lnTo>
                    <a:pt x="268" y="120"/>
                  </a:lnTo>
                  <a:lnTo>
                    <a:pt x="267" y="126"/>
                  </a:lnTo>
                  <a:lnTo>
                    <a:pt x="256" y="127"/>
                  </a:lnTo>
                  <a:lnTo>
                    <a:pt x="252" y="149"/>
                  </a:lnTo>
                  <a:lnTo>
                    <a:pt x="231" y="159"/>
                  </a:lnTo>
                  <a:lnTo>
                    <a:pt x="222" y="167"/>
                  </a:lnTo>
                  <a:lnTo>
                    <a:pt x="193" y="159"/>
                  </a:lnTo>
                  <a:lnTo>
                    <a:pt x="190" y="147"/>
                  </a:lnTo>
                  <a:lnTo>
                    <a:pt x="103" y="103"/>
                  </a:lnTo>
                  <a:lnTo>
                    <a:pt x="72" y="107"/>
                  </a:lnTo>
                  <a:lnTo>
                    <a:pt x="46" y="122"/>
                  </a:lnTo>
                  <a:lnTo>
                    <a:pt x="41" y="85"/>
                  </a:lnTo>
                  <a:lnTo>
                    <a:pt x="33" y="84"/>
                  </a:lnTo>
                  <a:lnTo>
                    <a:pt x="28" y="64"/>
                  </a:lnTo>
                  <a:lnTo>
                    <a:pt x="13" y="64"/>
                  </a:lnTo>
                  <a:lnTo>
                    <a:pt x="11" y="57"/>
                  </a:lnTo>
                  <a:lnTo>
                    <a:pt x="13" y="46"/>
                  </a:lnTo>
                  <a:lnTo>
                    <a:pt x="38" y="50"/>
                  </a:lnTo>
                  <a:lnTo>
                    <a:pt x="47" y="41"/>
                  </a:lnTo>
                  <a:lnTo>
                    <a:pt x="22" y="17"/>
                  </a:lnTo>
                  <a:lnTo>
                    <a:pt x="10" y="19"/>
                  </a:lnTo>
                  <a:lnTo>
                    <a:pt x="8" y="36"/>
                  </a:lnTo>
                  <a:lnTo>
                    <a:pt x="0" y="21"/>
                  </a:lnTo>
                  <a:lnTo>
                    <a:pt x="10" y="12"/>
                  </a:lnTo>
                  <a:lnTo>
                    <a:pt x="28" y="10"/>
                  </a:lnTo>
                  <a:lnTo>
                    <a:pt x="57" y="35"/>
                  </a:lnTo>
                  <a:lnTo>
                    <a:pt x="68" y="3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16" name="Freeform 73"/>
            <p:cNvSpPr>
              <a:spLocks noChangeAspect="1"/>
            </p:cNvSpPr>
            <p:nvPr/>
          </p:nvSpPr>
          <p:spPr bwMode="auto">
            <a:xfrm>
              <a:off x="4791119" y="1758781"/>
              <a:ext cx="199795" cy="152106"/>
            </a:xfrm>
            <a:custGeom>
              <a:avLst/>
              <a:gdLst>
                <a:gd name="T0" fmla="*/ 4 w 159"/>
                <a:gd name="T1" fmla="*/ 71 h 106"/>
                <a:gd name="T2" fmla="*/ 0 w 159"/>
                <a:gd name="T3" fmla="*/ 87 h 106"/>
                <a:gd name="T4" fmla="*/ 4 w 159"/>
                <a:gd name="T5" fmla="*/ 100 h 106"/>
                <a:gd name="T6" fmla="*/ 4 w 159"/>
                <a:gd name="T7" fmla="*/ 92 h 106"/>
                <a:gd name="T8" fmla="*/ 4 w 159"/>
                <a:gd name="T9" fmla="*/ 104 h 106"/>
                <a:gd name="T10" fmla="*/ 4 w 159"/>
                <a:gd name="T11" fmla="*/ 100 h 106"/>
                <a:gd name="T12" fmla="*/ 4 w 159"/>
                <a:gd name="T13" fmla="*/ 106 h 106"/>
                <a:gd name="T14" fmla="*/ 4 w 159"/>
                <a:gd name="T15" fmla="*/ 90 h 106"/>
                <a:gd name="T16" fmla="*/ 4 w 159"/>
                <a:gd name="T17" fmla="*/ 88 h 106"/>
                <a:gd name="T18" fmla="*/ 4 w 159"/>
                <a:gd name="T19" fmla="*/ 66 h 106"/>
                <a:gd name="T20" fmla="*/ 4 w 159"/>
                <a:gd name="T21" fmla="*/ 66 h 106"/>
                <a:gd name="T22" fmla="*/ 4 w 159"/>
                <a:gd name="T23" fmla="*/ 57 h 106"/>
                <a:gd name="T24" fmla="*/ 4 w 159"/>
                <a:gd name="T25" fmla="*/ 52 h 106"/>
                <a:gd name="T26" fmla="*/ 4 w 159"/>
                <a:gd name="T27" fmla="*/ 30 h 106"/>
                <a:gd name="T28" fmla="*/ 4 w 159"/>
                <a:gd name="T29" fmla="*/ 13 h 106"/>
                <a:gd name="T30" fmla="*/ 4 w 159"/>
                <a:gd name="T31" fmla="*/ 0 h 106"/>
                <a:gd name="T32" fmla="*/ 4 w 159"/>
                <a:gd name="T33" fmla="*/ 12 h 106"/>
                <a:gd name="T34" fmla="*/ 4 w 159"/>
                <a:gd name="T35" fmla="*/ 23 h 106"/>
                <a:gd name="T36" fmla="*/ 4 w 159"/>
                <a:gd name="T37" fmla="*/ 26 h 106"/>
                <a:gd name="T38" fmla="*/ 4 w 159"/>
                <a:gd name="T39" fmla="*/ 43 h 106"/>
                <a:gd name="T40" fmla="*/ 0 w 159"/>
                <a:gd name="T41" fmla="*/ 46 h 106"/>
                <a:gd name="T42" fmla="*/ 4 w 159"/>
                <a:gd name="T43" fmla="*/ 71 h 10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9"/>
                <a:gd name="T67" fmla="*/ 0 h 106"/>
                <a:gd name="T68" fmla="*/ 159 w 159"/>
                <a:gd name="T69" fmla="*/ 106 h 10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9" h="106">
                  <a:moveTo>
                    <a:pt x="8" y="71"/>
                  </a:moveTo>
                  <a:lnTo>
                    <a:pt x="0" y="87"/>
                  </a:lnTo>
                  <a:lnTo>
                    <a:pt x="4" y="100"/>
                  </a:lnTo>
                  <a:lnTo>
                    <a:pt x="45" y="92"/>
                  </a:lnTo>
                  <a:lnTo>
                    <a:pt x="76" y="104"/>
                  </a:lnTo>
                  <a:lnTo>
                    <a:pt x="100" y="100"/>
                  </a:lnTo>
                  <a:lnTo>
                    <a:pt x="125" y="106"/>
                  </a:lnTo>
                  <a:lnTo>
                    <a:pt x="133" y="90"/>
                  </a:lnTo>
                  <a:lnTo>
                    <a:pt x="146" y="88"/>
                  </a:lnTo>
                  <a:lnTo>
                    <a:pt x="134" y="66"/>
                  </a:lnTo>
                  <a:lnTo>
                    <a:pt x="151" y="66"/>
                  </a:lnTo>
                  <a:lnTo>
                    <a:pt x="159" y="57"/>
                  </a:lnTo>
                  <a:lnTo>
                    <a:pt x="143" y="52"/>
                  </a:lnTo>
                  <a:lnTo>
                    <a:pt x="123" y="30"/>
                  </a:lnTo>
                  <a:lnTo>
                    <a:pt x="122" y="13"/>
                  </a:lnTo>
                  <a:lnTo>
                    <a:pt x="75" y="0"/>
                  </a:lnTo>
                  <a:lnTo>
                    <a:pt x="52" y="12"/>
                  </a:lnTo>
                  <a:lnTo>
                    <a:pt x="51" y="23"/>
                  </a:lnTo>
                  <a:lnTo>
                    <a:pt x="37" y="26"/>
                  </a:lnTo>
                  <a:lnTo>
                    <a:pt x="38" y="43"/>
                  </a:lnTo>
                  <a:lnTo>
                    <a:pt x="0" y="46"/>
                  </a:lnTo>
                  <a:lnTo>
                    <a:pt x="8" y="71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17" name="Freeform 74"/>
            <p:cNvSpPr>
              <a:spLocks noChangeAspect="1"/>
            </p:cNvSpPr>
            <p:nvPr/>
          </p:nvSpPr>
          <p:spPr bwMode="auto">
            <a:xfrm>
              <a:off x="4707288" y="1791785"/>
              <a:ext cx="69859" cy="22959"/>
            </a:xfrm>
            <a:custGeom>
              <a:avLst/>
              <a:gdLst>
                <a:gd name="T0" fmla="*/ 0 w 55"/>
                <a:gd name="T1" fmla="*/ 14 h 16"/>
                <a:gd name="T2" fmla="*/ 5 w 55"/>
                <a:gd name="T3" fmla="*/ 16 h 16"/>
                <a:gd name="T4" fmla="*/ 5 w 55"/>
                <a:gd name="T5" fmla="*/ 2 h 16"/>
                <a:gd name="T6" fmla="*/ 5 w 55"/>
                <a:gd name="T7" fmla="*/ 0 h 16"/>
                <a:gd name="T8" fmla="*/ 0 w 55"/>
                <a:gd name="T9" fmla="*/ 14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5"/>
                <a:gd name="T16" fmla="*/ 0 h 16"/>
                <a:gd name="T17" fmla="*/ 55 w 55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5" h="16">
                  <a:moveTo>
                    <a:pt x="0" y="14"/>
                  </a:moveTo>
                  <a:lnTo>
                    <a:pt x="55" y="16"/>
                  </a:lnTo>
                  <a:lnTo>
                    <a:pt x="50" y="2"/>
                  </a:lnTo>
                  <a:lnTo>
                    <a:pt x="19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18" name="Freeform 75"/>
            <p:cNvSpPr>
              <a:spLocks noChangeAspect="1"/>
            </p:cNvSpPr>
            <p:nvPr/>
          </p:nvSpPr>
          <p:spPr bwMode="auto">
            <a:xfrm>
              <a:off x="4870757" y="2002724"/>
              <a:ext cx="82433" cy="90403"/>
            </a:xfrm>
            <a:custGeom>
              <a:avLst/>
              <a:gdLst>
                <a:gd name="T0" fmla="*/ 5 w 65"/>
                <a:gd name="T1" fmla="*/ 63 h 63"/>
                <a:gd name="T2" fmla="*/ 5 w 65"/>
                <a:gd name="T3" fmla="*/ 36 h 63"/>
                <a:gd name="T4" fmla="*/ 5 w 65"/>
                <a:gd name="T5" fmla="*/ 7 h 63"/>
                <a:gd name="T6" fmla="*/ 0 w 65"/>
                <a:gd name="T7" fmla="*/ 4 h 63"/>
                <a:gd name="T8" fmla="*/ 5 w 65"/>
                <a:gd name="T9" fmla="*/ 0 h 63"/>
                <a:gd name="T10" fmla="*/ 5 w 65"/>
                <a:gd name="T11" fmla="*/ 9 h 63"/>
                <a:gd name="T12" fmla="*/ 5 w 65"/>
                <a:gd name="T13" fmla="*/ 20 h 63"/>
                <a:gd name="T14" fmla="*/ 5 w 65"/>
                <a:gd name="T15" fmla="*/ 37 h 63"/>
                <a:gd name="T16" fmla="*/ 5 w 65"/>
                <a:gd name="T17" fmla="*/ 46 h 63"/>
                <a:gd name="T18" fmla="*/ 5 w 65"/>
                <a:gd name="T19" fmla="*/ 46 h 63"/>
                <a:gd name="T20" fmla="*/ 5 w 65"/>
                <a:gd name="T21" fmla="*/ 63 h 6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5"/>
                <a:gd name="T34" fmla="*/ 0 h 63"/>
                <a:gd name="T35" fmla="*/ 65 w 65"/>
                <a:gd name="T36" fmla="*/ 63 h 6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5" h="63">
                  <a:moveTo>
                    <a:pt x="39" y="63"/>
                  </a:moveTo>
                  <a:lnTo>
                    <a:pt x="31" y="36"/>
                  </a:lnTo>
                  <a:lnTo>
                    <a:pt x="8" y="7"/>
                  </a:lnTo>
                  <a:lnTo>
                    <a:pt x="0" y="4"/>
                  </a:lnTo>
                  <a:lnTo>
                    <a:pt x="15" y="0"/>
                  </a:lnTo>
                  <a:lnTo>
                    <a:pt x="47" y="9"/>
                  </a:lnTo>
                  <a:lnTo>
                    <a:pt x="48" y="20"/>
                  </a:lnTo>
                  <a:lnTo>
                    <a:pt x="64" y="37"/>
                  </a:lnTo>
                  <a:lnTo>
                    <a:pt x="65" y="46"/>
                  </a:lnTo>
                  <a:lnTo>
                    <a:pt x="49" y="46"/>
                  </a:lnTo>
                  <a:lnTo>
                    <a:pt x="39" y="63"/>
                  </a:lnTo>
                  <a:close/>
                </a:path>
              </a:pathLst>
            </a:custGeom>
            <a:solidFill>
              <a:srgbClr val="996633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19" name="Freeform 76"/>
            <p:cNvSpPr>
              <a:spLocks noChangeAspect="1"/>
            </p:cNvSpPr>
            <p:nvPr/>
          </p:nvSpPr>
          <p:spPr bwMode="auto">
            <a:xfrm>
              <a:off x="5194901" y="2164875"/>
              <a:ext cx="157880" cy="78923"/>
            </a:xfrm>
            <a:custGeom>
              <a:avLst/>
              <a:gdLst>
                <a:gd name="T0" fmla="*/ 4 w 127"/>
                <a:gd name="T1" fmla="*/ 48 h 55"/>
                <a:gd name="T2" fmla="*/ 4 w 127"/>
                <a:gd name="T3" fmla="*/ 45 h 55"/>
                <a:gd name="T4" fmla="*/ 4 w 127"/>
                <a:gd name="T5" fmla="*/ 53 h 55"/>
                <a:gd name="T6" fmla="*/ 4 w 127"/>
                <a:gd name="T7" fmla="*/ 42 h 55"/>
                <a:gd name="T8" fmla="*/ 4 w 127"/>
                <a:gd name="T9" fmla="*/ 36 h 55"/>
                <a:gd name="T10" fmla="*/ 4 w 127"/>
                <a:gd name="T11" fmla="*/ 17 h 55"/>
                <a:gd name="T12" fmla="*/ 4 w 127"/>
                <a:gd name="T13" fmla="*/ 20 h 55"/>
                <a:gd name="T14" fmla="*/ 4 w 127"/>
                <a:gd name="T15" fmla="*/ 6 h 55"/>
                <a:gd name="T16" fmla="*/ 0 w 127"/>
                <a:gd name="T17" fmla="*/ 0 h 55"/>
                <a:gd name="T18" fmla="*/ 4 w 127"/>
                <a:gd name="T19" fmla="*/ 13 h 55"/>
                <a:gd name="T20" fmla="*/ 4 w 127"/>
                <a:gd name="T21" fmla="*/ 34 h 55"/>
                <a:gd name="T22" fmla="*/ 4 w 127"/>
                <a:gd name="T23" fmla="*/ 42 h 55"/>
                <a:gd name="T24" fmla="*/ 4 w 127"/>
                <a:gd name="T25" fmla="*/ 44 h 55"/>
                <a:gd name="T26" fmla="*/ 4 w 127"/>
                <a:gd name="T27" fmla="*/ 55 h 55"/>
                <a:gd name="T28" fmla="*/ 4 w 127"/>
                <a:gd name="T29" fmla="*/ 54 h 55"/>
                <a:gd name="T30" fmla="*/ 4 w 127"/>
                <a:gd name="T31" fmla="*/ 48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7"/>
                <a:gd name="T49" fmla="*/ 0 h 55"/>
                <a:gd name="T50" fmla="*/ 127 w 127"/>
                <a:gd name="T51" fmla="*/ 55 h 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7" h="55">
                  <a:moveTo>
                    <a:pt x="97" y="48"/>
                  </a:moveTo>
                  <a:lnTo>
                    <a:pt x="103" y="45"/>
                  </a:lnTo>
                  <a:lnTo>
                    <a:pt x="127" y="53"/>
                  </a:lnTo>
                  <a:lnTo>
                    <a:pt x="119" y="42"/>
                  </a:lnTo>
                  <a:lnTo>
                    <a:pt x="121" y="36"/>
                  </a:lnTo>
                  <a:lnTo>
                    <a:pt x="97" y="17"/>
                  </a:lnTo>
                  <a:lnTo>
                    <a:pt x="74" y="20"/>
                  </a:lnTo>
                  <a:lnTo>
                    <a:pt x="53" y="6"/>
                  </a:lnTo>
                  <a:lnTo>
                    <a:pt x="0" y="0"/>
                  </a:lnTo>
                  <a:lnTo>
                    <a:pt x="20" y="13"/>
                  </a:lnTo>
                  <a:lnTo>
                    <a:pt x="36" y="34"/>
                  </a:lnTo>
                  <a:lnTo>
                    <a:pt x="35" y="42"/>
                  </a:lnTo>
                  <a:lnTo>
                    <a:pt x="62" y="44"/>
                  </a:lnTo>
                  <a:lnTo>
                    <a:pt x="69" y="55"/>
                  </a:lnTo>
                  <a:lnTo>
                    <a:pt x="70" y="54"/>
                  </a:lnTo>
                  <a:lnTo>
                    <a:pt x="97" y="4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20" name="Freeform 77"/>
            <p:cNvSpPr>
              <a:spLocks noChangeAspect="1"/>
            </p:cNvSpPr>
            <p:nvPr/>
          </p:nvSpPr>
          <p:spPr bwMode="auto">
            <a:xfrm>
              <a:off x="5280129" y="2233753"/>
              <a:ext cx="81036" cy="78923"/>
            </a:xfrm>
            <a:custGeom>
              <a:avLst/>
              <a:gdLst>
                <a:gd name="T0" fmla="*/ 4 w 65"/>
                <a:gd name="T1" fmla="*/ 34 h 55"/>
                <a:gd name="T2" fmla="*/ 4 w 65"/>
                <a:gd name="T3" fmla="*/ 25 h 55"/>
                <a:gd name="T4" fmla="*/ 0 w 65"/>
                <a:gd name="T5" fmla="*/ 7 h 55"/>
                <a:gd name="T6" fmla="*/ 1 w 65"/>
                <a:gd name="T7" fmla="*/ 6 h 55"/>
                <a:gd name="T8" fmla="*/ 4 w 65"/>
                <a:gd name="T9" fmla="*/ 0 h 55"/>
                <a:gd name="T10" fmla="*/ 4 w 65"/>
                <a:gd name="T11" fmla="*/ 20 h 55"/>
                <a:gd name="T12" fmla="*/ 4 w 65"/>
                <a:gd name="T13" fmla="*/ 29 h 55"/>
                <a:gd name="T14" fmla="*/ 4 w 65"/>
                <a:gd name="T15" fmla="*/ 35 h 55"/>
                <a:gd name="T16" fmla="*/ 4 w 65"/>
                <a:gd name="T17" fmla="*/ 55 h 55"/>
                <a:gd name="T18" fmla="*/ 4 w 65"/>
                <a:gd name="T19" fmla="*/ 55 h 55"/>
                <a:gd name="T20" fmla="*/ 4 w 65"/>
                <a:gd name="T21" fmla="*/ 37 h 55"/>
                <a:gd name="T22" fmla="*/ 4 w 65"/>
                <a:gd name="T23" fmla="*/ 34 h 5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5"/>
                <a:gd name="T37" fmla="*/ 0 h 55"/>
                <a:gd name="T38" fmla="*/ 65 w 65"/>
                <a:gd name="T39" fmla="*/ 55 h 5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5" h="55">
                  <a:moveTo>
                    <a:pt x="28" y="34"/>
                  </a:moveTo>
                  <a:lnTo>
                    <a:pt x="13" y="25"/>
                  </a:lnTo>
                  <a:lnTo>
                    <a:pt x="0" y="7"/>
                  </a:lnTo>
                  <a:lnTo>
                    <a:pt x="1" y="6"/>
                  </a:lnTo>
                  <a:lnTo>
                    <a:pt x="28" y="0"/>
                  </a:lnTo>
                  <a:lnTo>
                    <a:pt x="48" y="20"/>
                  </a:lnTo>
                  <a:lnTo>
                    <a:pt x="47" y="29"/>
                  </a:lnTo>
                  <a:lnTo>
                    <a:pt x="62" y="35"/>
                  </a:lnTo>
                  <a:lnTo>
                    <a:pt x="65" y="55"/>
                  </a:lnTo>
                  <a:lnTo>
                    <a:pt x="58" y="55"/>
                  </a:lnTo>
                  <a:lnTo>
                    <a:pt x="48" y="37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21" name="Freeform 78"/>
            <p:cNvSpPr>
              <a:spLocks noChangeAspect="1"/>
            </p:cNvSpPr>
            <p:nvPr/>
          </p:nvSpPr>
          <p:spPr bwMode="auto">
            <a:xfrm>
              <a:off x="5313661" y="2282542"/>
              <a:ext cx="39121" cy="30134"/>
            </a:xfrm>
            <a:custGeom>
              <a:avLst/>
              <a:gdLst>
                <a:gd name="T0" fmla="*/ 7 w 30"/>
                <a:gd name="T1" fmla="*/ 21 h 21"/>
                <a:gd name="T2" fmla="*/ 7 w 30"/>
                <a:gd name="T3" fmla="*/ 20 h 21"/>
                <a:gd name="T4" fmla="*/ 0 w 30"/>
                <a:gd name="T5" fmla="*/ 0 h 21"/>
                <a:gd name="T6" fmla="*/ 7 w 30"/>
                <a:gd name="T7" fmla="*/ 3 h 21"/>
                <a:gd name="T8" fmla="*/ 7 w 30"/>
                <a:gd name="T9" fmla="*/ 21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"/>
                <a:gd name="T16" fmla="*/ 0 h 21"/>
                <a:gd name="T17" fmla="*/ 30 w 30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" h="21">
                  <a:moveTo>
                    <a:pt x="30" y="21"/>
                  </a:moveTo>
                  <a:lnTo>
                    <a:pt x="18" y="20"/>
                  </a:lnTo>
                  <a:lnTo>
                    <a:pt x="0" y="0"/>
                  </a:lnTo>
                  <a:lnTo>
                    <a:pt x="20" y="3"/>
                  </a:lnTo>
                  <a:lnTo>
                    <a:pt x="30" y="21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22" name="Freeform 79"/>
            <p:cNvSpPr>
              <a:spLocks noChangeAspect="1"/>
            </p:cNvSpPr>
            <p:nvPr/>
          </p:nvSpPr>
          <p:spPr bwMode="auto">
            <a:xfrm>
              <a:off x="5313661" y="2216533"/>
              <a:ext cx="132731" cy="110492"/>
            </a:xfrm>
            <a:custGeom>
              <a:avLst/>
              <a:gdLst>
                <a:gd name="T0" fmla="*/ 5 w 104"/>
                <a:gd name="T1" fmla="*/ 1 h 77"/>
                <a:gd name="T2" fmla="*/ 5 w 104"/>
                <a:gd name="T3" fmla="*/ 20 h 77"/>
                <a:gd name="T4" fmla="*/ 5 w 104"/>
                <a:gd name="T5" fmla="*/ 34 h 77"/>
                <a:gd name="T6" fmla="*/ 5 w 104"/>
                <a:gd name="T7" fmla="*/ 43 h 77"/>
                <a:gd name="T8" fmla="*/ 5 w 104"/>
                <a:gd name="T9" fmla="*/ 63 h 77"/>
                <a:gd name="T10" fmla="*/ 5 w 104"/>
                <a:gd name="T11" fmla="*/ 63 h 77"/>
                <a:gd name="T12" fmla="*/ 5 w 104"/>
                <a:gd name="T13" fmla="*/ 77 h 77"/>
                <a:gd name="T14" fmla="*/ 5 w 104"/>
                <a:gd name="T15" fmla="*/ 67 h 77"/>
                <a:gd name="T16" fmla="*/ 5 w 104"/>
                <a:gd name="T17" fmla="*/ 53 h 77"/>
                <a:gd name="T18" fmla="*/ 5 w 104"/>
                <a:gd name="T19" fmla="*/ 50 h 77"/>
                <a:gd name="T20" fmla="*/ 5 w 104"/>
                <a:gd name="T21" fmla="*/ 67 h 77"/>
                <a:gd name="T22" fmla="*/ 5 w 104"/>
                <a:gd name="T23" fmla="*/ 67 h 77"/>
                <a:gd name="T24" fmla="*/ 5 w 104"/>
                <a:gd name="T25" fmla="*/ 47 h 77"/>
                <a:gd name="T26" fmla="*/ 5 w 104"/>
                <a:gd name="T27" fmla="*/ 41 h 77"/>
                <a:gd name="T28" fmla="*/ 5 w 104"/>
                <a:gd name="T29" fmla="*/ 32 h 77"/>
                <a:gd name="T30" fmla="*/ 0 w 104"/>
                <a:gd name="T31" fmla="*/ 12 h 77"/>
                <a:gd name="T32" fmla="*/ 5 w 104"/>
                <a:gd name="T33" fmla="*/ 9 h 77"/>
                <a:gd name="T34" fmla="*/ 5 w 104"/>
                <a:gd name="T35" fmla="*/ 17 h 77"/>
                <a:gd name="T36" fmla="*/ 5 w 104"/>
                <a:gd name="T37" fmla="*/ 6 h 77"/>
                <a:gd name="T38" fmla="*/ 5 w 104"/>
                <a:gd name="T39" fmla="*/ 0 h 77"/>
                <a:gd name="T40" fmla="*/ 5 w 104"/>
                <a:gd name="T41" fmla="*/ 14 h 77"/>
                <a:gd name="T42" fmla="*/ 5 w 104"/>
                <a:gd name="T43" fmla="*/ 15 h 77"/>
                <a:gd name="T44" fmla="*/ 5 w 104"/>
                <a:gd name="T45" fmla="*/ 1 h 7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4"/>
                <a:gd name="T70" fmla="*/ 0 h 77"/>
                <a:gd name="T71" fmla="*/ 104 w 104"/>
                <a:gd name="T72" fmla="*/ 77 h 7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4" h="77">
                  <a:moveTo>
                    <a:pt x="64" y="1"/>
                  </a:moveTo>
                  <a:lnTo>
                    <a:pt x="81" y="20"/>
                  </a:lnTo>
                  <a:lnTo>
                    <a:pt x="104" y="34"/>
                  </a:lnTo>
                  <a:lnTo>
                    <a:pt x="89" y="43"/>
                  </a:lnTo>
                  <a:lnTo>
                    <a:pt x="88" y="63"/>
                  </a:lnTo>
                  <a:lnTo>
                    <a:pt x="80" y="63"/>
                  </a:lnTo>
                  <a:lnTo>
                    <a:pt x="83" y="77"/>
                  </a:lnTo>
                  <a:lnTo>
                    <a:pt x="68" y="67"/>
                  </a:lnTo>
                  <a:lnTo>
                    <a:pt x="68" y="53"/>
                  </a:lnTo>
                  <a:lnTo>
                    <a:pt x="62" y="50"/>
                  </a:lnTo>
                  <a:lnTo>
                    <a:pt x="42" y="67"/>
                  </a:lnTo>
                  <a:lnTo>
                    <a:pt x="37" y="67"/>
                  </a:lnTo>
                  <a:lnTo>
                    <a:pt x="34" y="47"/>
                  </a:lnTo>
                  <a:lnTo>
                    <a:pt x="19" y="41"/>
                  </a:lnTo>
                  <a:lnTo>
                    <a:pt x="20" y="32"/>
                  </a:lnTo>
                  <a:lnTo>
                    <a:pt x="0" y="12"/>
                  </a:lnTo>
                  <a:lnTo>
                    <a:pt x="6" y="9"/>
                  </a:lnTo>
                  <a:lnTo>
                    <a:pt x="30" y="17"/>
                  </a:lnTo>
                  <a:lnTo>
                    <a:pt x="22" y="6"/>
                  </a:lnTo>
                  <a:lnTo>
                    <a:pt x="24" y="0"/>
                  </a:lnTo>
                  <a:lnTo>
                    <a:pt x="43" y="14"/>
                  </a:lnTo>
                  <a:lnTo>
                    <a:pt x="54" y="15"/>
                  </a:lnTo>
                  <a:lnTo>
                    <a:pt x="64" y="1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23" name="Freeform 80"/>
            <p:cNvSpPr>
              <a:spLocks noChangeAspect="1"/>
            </p:cNvSpPr>
            <p:nvPr/>
          </p:nvSpPr>
          <p:spPr bwMode="auto">
            <a:xfrm>
              <a:off x="4406897" y="1948196"/>
              <a:ext cx="11177" cy="18655"/>
            </a:xfrm>
            <a:custGeom>
              <a:avLst/>
              <a:gdLst>
                <a:gd name="T0" fmla="*/ 0 w 10"/>
                <a:gd name="T1" fmla="*/ 12 h 13"/>
                <a:gd name="T2" fmla="*/ 2 w 10"/>
                <a:gd name="T3" fmla="*/ 0 h 13"/>
                <a:gd name="T4" fmla="*/ 2 w 10"/>
                <a:gd name="T5" fmla="*/ 13 h 13"/>
                <a:gd name="T6" fmla="*/ 0 w 10"/>
                <a:gd name="T7" fmla="*/ 12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13"/>
                <a:gd name="T14" fmla="*/ 10 w 10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13">
                  <a:moveTo>
                    <a:pt x="0" y="12"/>
                  </a:moveTo>
                  <a:lnTo>
                    <a:pt x="6" y="0"/>
                  </a:lnTo>
                  <a:lnTo>
                    <a:pt x="10" y="13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24" name="Freeform 81"/>
            <p:cNvSpPr>
              <a:spLocks noChangeAspect="1"/>
            </p:cNvSpPr>
            <p:nvPr/>
          </p:nvSpPr>
          <p:spPr bwMode="auto">
            <a:xfrm>
              <a:off x="4717069" y="2192139"/>
              <a:ext cx="41915" cy="99012"/>
            </a:xfrm>
            <a:custGeom>
              <a:avLst/>
              <a:gdLst>
                <a:gd name="T0" fmla="*/ 5 w 33"/>
                <a:gd name="T1" fmla="*/ 22 h 69"/>
                <a:gd name="T2" fmla="*/ 5 w 33"/>
                <a:gd name="T3" fmla="*/ 41 h 69"/>
                <a:gd name="T4" fmla="*/ 5 w 33"/>
                <a:gd name="T5" fmla="*/ 48 h 69"/>
                <a:gd name="T6" fmla="*/ 5 w 33"/>
                <a:gd name="T7" fmla="*/ 67 h 69"/>
                <a:gd name="T8" fmla="*/ 5 w 33"/>
                <a:gd name="T9" fmla="*/ 69 h 69"/>
                <a:gd name="T10" fmla="*/ 2 w 33"/>
                <a:gd name="T11" fmla="*/ 54 h 69"/>
                <a:gd name="T12" fmla="*/ 0 w 33"/>
                <a:gd name="T13" fmla="*/ 18 h 69"/>
                <a:gd name="T14" fmla="*/ 5 w 33"/>
                <a:gd name="T15" fmla="*/ 0 h 69"/>
                <a:gd name="T16" fmla="*/ 5 w 33"/>
                <a:gd name="T17" fmla="*/ 3 h 69"/>
                <a:gd name="T18" fmla="*/ 5 w 33"/>
                <a:gd name="T19" fmla="*/ 22 h 6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9"/>
                <a:gd name="T32" fmla="*/ 33 w 33"/>
                <a:gd name="T33" fmla="*/ 69 h 6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9">
                  <a:moveTo>
                    <a:pt x="24" y="22"/>
                  </a:moveTo>
                  <a:lnTo>
                    <a:pt x="33" y="41"/>
                  </a:lnTo>
                  <a:lnTo>
                    <a:pt x="33" y="48"/>
                  </a:lnTo>
                  <a:lnTo>
                    <a:pt x="16" y="67"/>
                  </a:lnTo>
                  <a:lnTo>
                    <a:pt x="16" y="69"/>
                  </a:lnTo>
                  <a:lnTo>
                    <a:pt x="2" y="54"/>
                  </a:lnTo>
                  <a:lnTo>
                    <a:pt x="0" y="18"/>
                  </a:lnTo>
                  <a:lnTo>
                    <a:pt x="6" y="0"/>
                  </a:lnTo>
                  <a:lnTo>
                    <a:pt x="14" y="3"/>
                  </a:lnTo>
                  <a:lnTo>
                    <a:pt x="24" y="2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25" name="Freeform 82"/>
            <p:cNvSpPr>
              <a:spLocks noChangeAspect="1"/>
            </p:cNvSpPr>
            <p:nvPr/>
          </p:nvSpPr>
          <p:spPr bwMode="auto">
            <a:xfrm>
              <a:off x="8012995" y="1533492"/>
              <a:ext cx="67064" cy="17220"/>
            </a:xfrm>
            <a:custGeom>
              <a:avLst/>
              <a:gdLst>
                <a:gd name="T0" fmla="*/ 0 w 53"/>
                <a:gd name="T1" fmla="*/ 0 h 12"/>
                <a:gd name="T2" fmla="*/ 5 w 53"/>
                <a:gd name="T3" fmla="*/ 8 h 12"/>
                <a:gd name="T4" fmla="*/ 5 w 53"/>
                <a:gd name="T5" fmla="*/ 12 h 12"/>
                <a:gd name="T6" fmla="*/ 5 w 53"/>
                <a:gd name="T7" fmla="*/ 8 h 12"/>
                <a:gd name="T8" fmla="*/ 0 w 53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3"/>
                <a:gd name="T16" fmla="*/ 0 h 12"/>
                <a:gd name="T17" fmla="*/ 53 w 53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3" h="12">
                  <a:moveTo>
                    <a:pt x="0" y="0"/>
                  </a:moveTo>
                  <a:lnTo>
                    <a:pt x="9" y="8"/>
                  </a:lnTo>
                  <a:lnTo>
                    <a:pt x="46" y="12"/>
                  </a:lnTo>
                  <a:lnTo>
                    <a:pt x="53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26" name="Freeform 83"/>
            <p:cNvSpPr>
              <a:spLocks noChangeAspect="1"/>
            </p:cNvSpPr>
            <p:nvPr/>
          </p:nvSpPr>
          <p:spPr bwMode="auto">
            <a:xfrm>
              <a:off x="3969582" y="1451699"/>
              <a:ext cx="203987" cy="88968"/>
            </a:xfrm>
            <a:custGeom>
              <a:avLst/>
              <a:gdLst>
                <a:gd name="T0" fmla="*/ 0 w 163"/>
                <a:gd name="T1" fmla="*/ 20 h 62"/>
                <a:gd name="T2" fmla="*/ 4 w 163"/>
                <a:gd name="T3" fmla="*/ 22 h 62"/>
                <a:gd name="T4" fmla="*/ 0 w 163"/>
                <a:gd name="T5" fmla="*/ 35 h 62"/>
                <a:gd name="T6" fmla="*/ 4 w 163"/>
                <a:gd name="T7" fmla="*/ 35 h 62"/>
                <a:gd name="T8" fmla="*/ 4 w 163"/>
                <a:gd name="T9" fmla="*/ 45 h 62"/>
                <a:gd name="T10" fmla="*/ 4 w 163"/>
                <a:gd name="T11" fmla="*/ 54 h 62"/>
                <a:gd name="T12" fmla="*/ 4 w 163"/>
                <a:gd name="T13" fmla="*/ 62 h 62"/>
                <a:gd name="T14" fmla="*/ 4 w 163"/>
                <a:gd name="T15" fmla="*/ 42 h 62"/>
                <a:gd name="T16" fmla="*/ 4 w 163"/>
                <a:gd name="T17" fmla="*/ 32 h 62"/>
                <a:gd name="T18" fmla="*/ 4 w 163"/>
                <a:gd name="T19" fmla="*/ 20 h 62"/>
                <a:gd name="T20" fmla="*/ 4 w 163"/>
                <a:gd name="T21" fmla="*/ 15 h 62"/>
                <a:gd name="T22" fmla="*/ 4 w 163"/>
                <a:gd name="T23" fmla="*/ 4 h 62"/>
                <a:gd name="T24" fmla="*/ 4 w 163"/>
                <a:gd name="T25" fmla="*/ 0 h 62"/>
                <a:gd name="T26" fmla="*/ 4 w 163"/>
                <a:gd name="T27" fmla="*/ 10 h 62"/>
                <a:gd name="T28" fmla="*/ 4 w 163"/>
                <a:gd name="T29" fmla="*/ 14 h 62"/>
                <a:gd name="T30" fmla="*/ 4 w 163"/>
                <a:gd name="T31" fmla="*/ 9 h 62"/>
                <a:gd name="T32" fmla="*/ 4 w 163"/>
                <a:gd name="T33" fmla="*/ 18 h 62"/>
                <a:gd name="T34" fmla="*/ 4 w 163"/>
                <a:gd name="T35" fmla="*/ 22 h 62"/>
                <a:gd name="T36" fmla="*/ 4 w 163"/>
                <a:gd name="T37" fmla="*/ 10 h 62"/>
                <a:gd name="T38" fmla="*/ 4 w 163"/>
                <a:gd name="T39" fmla="*/ 1 h 62"/>
                <a:gd name="T40" fmla="*/ 0 w 163"/>
                <a:gd name="T41" fmla="*/ 2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63"/>
                <a:gd name="T64" fmla="*/ 0 h 62"/>
                <a:gd name="T65" fmla="*/ 163 w 163"/>
                <a:gd name="T66" fmla="*/ 62 h 6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63" h="62">
                  <a:moveTo>
                    <a:pt x="0" y="20"/>
                  </a:moveTo>
                  <a:lnTo>
                    <a:pt x="34" y="22"/>
                  </a:lnTo>
                  <a:lnTo>
                    <a:pt x="0" y="35"/>
                  </a:lnTo>
                  <a:lnTo>
                    <a:pt x="22" y="35"/>
                  </a:lnTo>
                  <a:lnTo>
                    <a:pt x="30" y="45"/>
                  </a:lnTo>
                  <a:lnTo>
                    <a:pt x="15" y="54"/>
                  </a:lnTo>
                  <a:lnTo>
                    <a:pt x="76" y="62"/>
                  </a:lnTo>
                  <a:lnTo>
                    <a:pt x="146" y="42"/>
                  </a:lnTo>
                  <a:lnTo>
                    <a:pt x="161" y="32"/>
                  </a:lnTo>
                  <a:lnTo>
                    <a:pt x="163" y="20"/>
                  </a:lnTo>
                  <a:lnTo>
                    <a:pt x="150" y="15"/>
                  </a:lnTo>
                  <a:lnTo>
                    <a:pt x="151" y="4"/>
                  </a:lnTo>
                  <a:lnTo>
                    <a:pt x="128" y="0"/>
                  </a:lnTo>
                  <a:lnTo>
                    <a:pt x="106" y="10"/>
                  </a:lnTo>
                  <a:lnTo>
                    <a:pt x="73" y="14"/>
                  </a:lnTo>
                  <a:lnTo>
                    <a:pt x="66" y="9"/>
                  </a:lnTo>
                  <a:lnTo>
                    <a:pt x="61" y="18"/>
                  </a:lnTo>
                  <a:lnTo>
                    <a:pt x="44" y="22"/>
                  </a:lnTo>
                  <a:lnTo>
                    <a:pt x="46" y="10"/>
                  </a:lnTo>
                  <a:lnTo>
                    <a:pt x="26" y="1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27" name="Freeform 84"/>
            <p:cNvSpPr>
              <a:spLocks noChangeAspect="1"/>
            </p:cNvSpPr>
            <p:nvPr/>
          </p:nvSpPr>
          <p:spPr bwMode="auto">
            <a:xfrm>
              <a:off x="4010100" y="1210625"/>
              <a:ext cx="16766" cy="10045"/>
            </a:xfrm>
            <a:custGeom>
              <a:avLst/>
              <a:gdLst>
                <a:gd name="T0" fmla="*/ 2 w 13"/>
                <a:gd name="T1" fmla="*/ 0 h 7"/>
                <a:gd name="T2" fmla="*/ 0 w 13"/>
                <a:gd name="T3" fmla="*/ 7 h 7"/>
                <a:gd name="T4" fmla="*/ 6 w 13"/>
                <a:gd name="T5" fmla="*/ 6 h 7"/>
                <a:gd name="T6" fmla="*/ 2 w 13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7"/>
                <a:gd name="T14" fmla="*/ 13 w 13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7">
                  <a:moveTo>
                    <a:pt x="2" y="0"/>
                  </a:moveTo>
                  <a:lnTo>
                    <a:pt x="0" y="7"/>
                  </a:lnTo>
                  <a:lnTo>
                    <a:pt x="13" y="6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28" name="Freeform 85"/>
            <p:cNvSpPr>
              <a:spLocks noChangeAspect="1"/>
            </p:cNvSpPr>
            <p:nvPr/>
          </p:nvSpPr>
          <p:spPr bwMode="auto">
            <a:xfrm>
              <a:off x="7628773" y="2137611"/>
              <a:ext cx="5589" cy="15785"/>
            </a:xfrm>
            <a:custGeom>
              <a:avLst/>
              <a:gdLst>
                <a:gd name="T0" fmla="*/ 0 w 5"/>
                <a:gd name="T1" fmla="*/ 11 h 11"/>
                <a:gd name="T2" fmla="*/ 2 w 5"/>
                <a:gd name="T3" fmla="*/ 0 h 11"/>
                <a:gd name="T4" fmla="*/ 0 w 5"/>
                <a:gd name="T5" fmla="*/ 11 h 11"/>
                <a:gd name="T6" fmla="*/ 0 60000 65536"/>
                <a:gd name="T7" fmla="*/ 0 60000 65536"/>
                <a:gd name="T8" fmla="*/ 0 60000 65536"/>
                <a:gd name="T9" fmla="*/ 0 w 5"/>
                <a:gd name="T10" fmla="*/ 0 h 11"/>
                <a:gd name="T11" fmla="*/ 5 w 5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11">
                  <a:moveTo>
                    <a:pt x="0" y="11"/>
                  </a:moveTo>
                  <a:lnTo>
                    <a:pt x="5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29" name="Freeform 86"/>
            <p:cNvSpPr>
              <a:spLocks noChangeAspect="1"/>
            </p:cNvSpPr>
            <p:nvPr/>
          </p:nvSpPr>
          <p:spPr bwMode="auto">
            <a:xfrm>
              <a:off x="7649731" y="2097432"/>
              <a:ext cx="20958" cy="37309"/>
            </a:xfrm>
            <a:custGeom>
              <a:avLst/>
              <a:gdLst>
                <a:gd name="T0" fmla="*/ 0 w 18"/>
                <a:gd name="T1" fmla="*/ 26 h 26"/>
                <a:gd name="T2" fmla="*/ 2 w 18"/>
                <a:gd name="T3" fmla="*/ 0 h 26"/>
                <a:gd name="T4" fmla="*/ 2 w 18"/>
                <a:gd name="T5" fmla="*/ 4 h 26"/>
                <a:gd name="T6" fmla="*/ 0 w 18"/>
                <a:gd name="T7" fmla="*/ 26 h 2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26"/>
                <a:gd name="T14" fmla="*/ 18 w 18"/>
                <a:gd name="T15" fmla="*/ 26 h 2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26">
                  <a:moveTo>
                    <a:pt x="0" y="26"/>
                  </a:moveTo>
                  <a:lnTo>
                    <a:pt x="18" y="0"/>
                  </a:lnTo>
                  <a:lnTo>
                    <a:pt x="5" y="4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30" name="Freeform 87"/>
            <p:cNvSpPr>
              <a:spLocks noChangeAspect="1"/>
            </p:cNvSpPr>
            <p:nvPr/>
          </p:nvSpPr>
          <p:spPr bwMode="auto">
            <a:xfrm>
              <a:off x="7683263" y="2073037"/>
              <a:ext cx="9780" cy="20089"/>
            </a:xfrm>
            <a:custGeom>
              <a:avLst/>
              <a:gdLst>
                <a:gd name="T0" fmla="*/ 0 w 8"/>
                <a:gd name="T1" fmla="*/ 14 h 14"/>
                <a:gd name="T2" fmla="*/ 4 w 8"/>
                <a:gd name="T3" fmla="*/ 0 h 14"/>
                <a:gd name="T4" fmla="*/ 0 w 8"/>
                <a:gd name="T5" fmla="*/ 14 h 14"/>
                <a:gd name="T6" fmla="*/ 0 60000 65536"/>
                <a:gd name="T7" fmla="*/ 0 60000 65536"/>
                <a:gd name="T8" fmla="*/ 0 60000 65536"/>
                <a:gd name="T9" fmla="*/ 0 w 8"/>
                <a:gd name="T10" fmla="*/ 0 h 14"/>
                <a:gd name="T11" fmla="*/ 8 w 8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4">
                  <a:moveTo>
                    <a:pt x="0" y="14"/>
                  </a:moveTo>
                  <a:lnTo>
                    <a:pt x="8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31" name="Freeform 88"/>
            <p:cNvSpPr>
              <a:spLocks noChangeAspect="1"/>
            </p:cNvSpPr>
            <p:nvPr/>
          </p:nvSpPr>
          <p:spPr bwMode="auto">
            <a:xfrm>
              <a:off x="7709809" y="2045773"/>
              <a:ext cx="4192" cy="10045"/>
            </a:xfrm>
            <a:custGeom>
              <a:avLst/>
              <a:gdLst>
                <a:gd name="T0" fmla="*/ 0 w 3"/>
                <a:gd name="T1" fmla="*/ 7 h 7"/>
                <a:gd name="T2" fmla="*/ 3 w 3"/>
                <a:gd name="T3" fmla="*/ 0 h 7"/>
                <a:gd name="T4" fmla="*/ 0 w 3"/>
                <a:gd name="T5" fmla="*/ 7 h 7"/>
                <a:gd name="T6" fmla="*/ 0 60000 65536"/>
                <a:gd name="T7" fmla="*/ 0 60000 65536"/>
                <a:gd name="T8" fmla="*/ 0 60000 65536"/>
                <a:gd name="T9" fmla="*/ 0 w 3"/>
                <a:gd name="T10" fmla="*/ 0 h 7"/>
                <a:gd name="T11" fmla="*/ 3 w 3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7">
                  <a:moveTo>
                    <a:pt x="0" y="7"/>
                  </a:moveTo>
                  <a:lnTo>
                    <a:pt x="3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32" name="Freeform 89"/>
            <p:cNvSpPr>
              <a:spLocks noChangeAspect="1"/>
            </p:cNvSpPr>
            <p:nvPr/>
          </p:nvSpPr>
          <p:spPr bwMode="auto">
            <a:xfrm>
              <a:off x="7715398" y="1930976"/>
              <a:ext cx="15369" cy="22959"/>
            </a:xfrm>
            <a:custGeom>
              <a:avLst/>
              <a:gdLst>
                <a:gd name="T0" fmla="*/ 0 w 13"/>
                <a:gd name="T1" fmla="*/ 10 h 16"/>
                <a:gd name="T2" fmla="*/ 3 w 13"/>
                <a:gd name="T3" fmla="*/ 16 h 16"/>
                <a:gd name="T4" fmla="*/ 3 w 13"/>
                <a:gd name="T5" fmla="*/ 12 h 16"/>
                <a:gd name="T6" fmla="*/ 3 w 13"/>
                <a:gd name="T7" fmla="*/ 0 h 16"/>
                <a:gd name="T8" fmla="*/ 0 w 13"/>
                <a:gd name="T9" fmla="*/ 1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6"/>
                <a:gd name="T17" fmla="*/ 13 w 13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6">
                  <a:moveTo>
                    <a:pt x="0" y="10"/>
                  </a:moveTo>
                  <a:lnTo>
                    <a:pt x="5" y="16"/>
                  </a:lnTo>
                  <a:lnTo>
                    <a:pt x="13" y="12"/>
                  </a:lnTo>
                  <a:lnTo>
                    <a:pt x="7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33" name="Freeform 90"/>
            <p:cNvSpPr>
              <a:spLocks noChangeAspect="1"/>
            </p:cNvSpPr>
            <p:nvPr/>
          </p:nvSpPr>
          <p:spPr bwMode="auto">
            <a:xfrm>
              <a:off x="7669291" y="1668378"/>
              <a:ext cx="16766" cy="20089"/>
            </a:xfrm>
            <a:custGeom>
              <a:avLst/>
              <a:gdLst>
                <a:gd name="T0" fmla="*/ 6 w 13"/>
                <a:gd name="T1" fmla="*/ 14 h 14"/>
                <a:gd name="T2" fmla="*/ 6 w 13"/>
                <a:gd name="T3" fmla="*/ 6 h 14"/>
                <a:gd name="T4" fmla="*/ 5 w 13"/>
                <a:gd name="T5" fmla="*/ 0 h 14"/>
                <a:gd name="T6" fmla="*/ 0 w 13"/>
                <a:gd name="T7" fmla="*/ 3 h 14"/>
                <a:gd name="T8" fmla="*/ 6 w 13"/>
                <a:gd name="T9" fmla="*/ 14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4"/>
                <a:gd name="T17" fmla="*/ 13 w 13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4">
                  <a:moveTo>
                    <a:pt x="6" y="14"/>
                  </a:moveTo>
                  <a:lnTo>
                    <a:pt x="13" y="6"/>
                  </a:lnTo>
                  <a:lnTo>
                    <a:pt x="5" y="0"/>
                  </a:lnTo>
                  <a:lnTo>
                    <a:pt x="0" y="3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34" name="Freeform 91"/>
            <p:cNvSpPr>
              <a:spLocks noChangeAspect="1"/>
            </p:cNvSpPr>
            <p:nvPr/>
          </p:nvSpPr>
          <p:spPr bwMode="auto">
            <a:xfrm>
              <a:off x="7561709" y="1312508"/>
              <a:ext cx="27943" cy="14350"/>
            </a:xfrm>
            <a:custGeom>
              <a:avLst/>
              <a:gdLst>
                <a:gd name="T0" fmla="*/ 3 w 23"/>
                <a:gd name="T1" fmla="*/ 0 h 10"/>
                <a:gd name="T2" fmla="*/ 0 w 23"/>
                <a:gd name="T3" fmla="*/ 8 h 10"/>
                <a:gd name="T4" fmla="*/ 3 w 23"/>
                <a:gd name="T5" fmla="*/ 10 h 10"/>
                <a:gd name="T6" fmla="*/ 3 w 23"/>
                <a:gd name="T7" fmla="*/ 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10"/>
                <a:gd name="T14" fmla="*/ 23 w 23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10">
                  <a:moveTo>
                    <a:pt x="6" y="0"/>
                  </a:moveTo>
                  <a:lnTo>
                    <a:pt x="0" y="8"/>
                  </a:lnTo>
                  <a:lnTo>
                    <a:pt x="23" y="1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35" name="Freeform 92"/>
            <p:cNvSpPr>
              <a:spLocks noChangeAspect="1"/>
            </p:cNvSpPr>
            <p:nvPr/>
          </p:nvSpPr>
          <p:spPr bwMode="auto">
            <a:xfrm>
              <a:off x="7570092" y="1312508"/>
              <a:ext cx="60078" cy="14350"/>
            </a:xfrm>
            <a:custGeom>
              <a:avLst/>
              <a:gdLst>
                <a:gd name="T0" fmla="*/ 4 w 48"/>
                <a:gd name="T1" fmla="*/ 10 h 10"/>
                <a:gd name="T2" fmla="*/ 4 w 48"/>
                <a:gd name="T3" fmla="*/ 6 h 10"/>
                <a:gd name="T4" fmla="*/ 0 w 48"/>
                <a:gd name="T5" fmla="*/ 0 h 10"/>
                <a:gd name="T6" fmla="*/ 4 w 48"/>
                <a:gd name="T7" fmla="*/ 1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8"/>
                <a:gd name="T13" fmla="*/ 0 h 10"/>
                <a:gd name="T14" fmla="*/ 48 w 48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8" h="10">
                  <a:moveTo>
                    <a:pt x="17" y="10"/>
                  </a:moveTo>
                  <a:lnTo>
                    <a:pt x="48" y="6"/>
                  </a:lnTo>
                  <a:lnTo>
                    <a:pt x="0" y="0"/>
                  </a:lnTo>
                  <a:lnTo>
                    <a:pt x="17" y="1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36" name="Freeform 93"/>
            <p:cNvSpPr>
              <a:spLocks noChangeAspect="1"/>
            </p:cNvSpPr>
            <p:nvPr/>
          </p:nvSpPr>
          <p:spPr bwMode="auto">
            <a:xfrm>
              <a:off x="4522862" y="1088654"/>
              <a:ext cx="257079" cy="93273"/>
            </a:xfrm>
            <a:custGeom>
              <a:avLst/>
              <a:gdLst>
                <a:gd name="T0" fmla="*/ 0 w 203"/>
                <a:gd name="T1" fmla="*/ 11 h 65"/>
                <a:gd name="T2" fmla="*/ 5 w 203"/>
                <a:gd name="T3" fmla="*/ 29 h 65"/>
                <a:gd name="T4" fmla="*/ 5 w 203"/>
                <a:gd name="T5" fmla="*/ 36 h 65"/>
                <a:gd name="T6" fmla="*/ 5 w 203"/>
                <a:gd name="T7" fmla="*/ 36 h 65"/>
                <a:gd name="T8" fmla="*/ 5 w 203"/>
                <a:gd name="T9" fmla="*/ 41 h 65"/>
                <a:gd name="T10" fmla="*/ 5 w 203"/>
                <a:gd name="T11" fmla="*/ 48 h 65"/>
                <a:gd name="T12" fmla="*/ 5 w 203"/>
                <a:gd name="T13" fmla="*/ 65 h 65"/>
                <a:gd name="T14" fmla="*/ 5 w 203"/>
                <a:gd name="T15" fmla="*/ 34 h 65"/>
                <a:gd name="T16" fmla="*/ 5 w 203"/>
                <a:gd name="T17" fmla="*/ 29 h 65"/>
                <a:gd name="T18" fmla="*/ 5 w 203"/>
                <a:gd name="T19" fmla="*/ 41 h 65"/>
                <a:gd name="T20" fmla="*/ 5 w 203"/>
                <a:gd name="T21" fmla="*/ 49 h 65"/>
                <a:gd name="T22" fmla="*/ 5 w 203"/>
                <a:gd name="T23" fmla="*/ 53 h 65"/>
                <a:gd name="T24" fmla="*/ 5 w 203"/>
                <a:gd name="T25" fmla="*/ 45 h 65"/>
                <a:gd name="T26" fmla="*/ 5 w 203"/>
                <a:gd name="T27" fmla="*/ 20 h 65"/>
                <a:gd name="T28" fmla="*/ 5 w 203"/>
                <a:gd name="T29" fmla="*/ 12 h 65"/>
                <a:gd name="T30" fmla="*/ 5 w 203"/>
                <a:gd name="T31" fmla="*/ 20 h 65"/>
                <a:gd name="T32" fmla="*/ 5 w 203"/>
                <a:gd name="T33" fmla="*/ 9 h 65"/>
                <a:gd name="T34" fmla="*/ 5 w 203"/>
                <a:gd name="T35" fmla="*/ 5 h 65"/>
                <a:gd name="T36" fmla="*/ 5 w 203"/>
                <a:gd name="T37" fmla="*/ 0 h 65"/>
                <a:gd name="T38" fmla="*/ 5 w 203"/>
                <a:gd name="T39" fmla="*/ 12 h 65"/>
                <a:gd name="T40" fmla="*/ 0 w 203"/>
                <a:gd name="T41" fmla="*/ 11 h 6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3"/>
                <a:gd name="T64" fmla="*/ 0 h 65"/>
                <a:gd name="T65" fmla="*/ 203 w 203"/>
                <a:gd name="T66" fmla="*/ 65 h 6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3" h="65">
                  <a:moveTo>
                    <a:pt x="0" y="11"/>
                  </a:moveTo>
                  <a:lnTo>
                    <a:pt x="9" y="29"/>
                  </a:lnTo>
                  <a:lnTo>
                    <a:pt x="28" y="36"/>
                  </a:lnTo>
                  <a:lnTo>
                    <a:pt x="54" y="36"/>
                  </a:lnTo>
                  <a:lnTo>
                    <a:pt x="36" y="41"/>
                  </a:lnTo>
                  <a:lnTo>
                    <a:pt x="39" y="48"/>
                  </a:lnTo>
                  <a:lnTo>
                    <a:pt x="80" y="65"/>
                  </a:lnTo>
                  <a:lnTo>
                    <a:pt x="103" y="34"/>
                  </a:lnTo>
                  <a:lnTo>
                    <a:pt x="119" y="29"/>
                  </a:lnTo>
                  <a:lnTo>
                    <a:pt x="140" y="41"/>
                  </a:lnTo>
                  <a:lnTo>
                    <a:pt x="130" y="49"/>
                  </a:lnTo>
                  <a:lnTo>
                    <a:pt x="154" y="53"/>
                  </a:lnTo>
                  <a:lnTo>
                    <a:pt x="181" y="45"/>
                  </a:lnTo>
                  <a:lnTo>
                    <a:pt x="102" y="20"/>
                  </a:lnTo>
                  <a:lnTo>
                    <a:pt x="99" y="12"/>
                  </a:lnTo>
                  <a:lnTo>
                    <a:pt x="164" y="20"/>
                  </a:lnTo>
                  <a:lnTo>
                    <a:pt x="203" y="9"/>
                  </a:lnTo>
                  <a:lnTo>
                    <a:pt x="202" y="5"/>
                  </a:lnTo>
                  <a:lnTo>
                    <a:pt x="113" y="0"/>
                  </a:lnTo>
                  <a:lnTo>
                    <a:pt x="57" y="12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37" name="Freeform 94"/>
            <p:cNvSpPr>
              <a:spLocks noChangeAspect="1"/>
            </p:cNvSpPr>
            <p:nvPr/>
          </p:nvSpPr>
          <p:spPr bwMode="auto">
            <a:xfrm>
              <a:off x="4670962" y="1705687"/>
              <a:ext cx="22355" cy="27264"/>
            </a:xfrm>
            <a:custGeom>
              <a:avLst/>
              <a:gdLst>
                <a:gd name="T0" fmla="*/ 0 w 17"/>
                <a:gd name="T1" fmla="*/ 9 h 19"/>
                <a:gd name="T2" fmla="*/ 2 w 17"/>
                <a:gd name="T3" fmla="*/ 19 h 19"/>
                <a:gd name="T4" fmla="*/ 8 w 17"/>
                <a:gd name="T5" fmla="*/ 14 h 19"/>
                <a:gd name="T6" fmla="*/ 8 w 17"/>
                <a:gd name="T7" fmla="*/ 0 h 19"/>
                <a:gd name="T8" fmla="*/ 0 w 17"/>
                <a:gd name="T9" fmla="*/ 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9"/>
                <a:gd name="T17" fmla="*/ 17 w 17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9">
                  <a:moveTo>
                    <a:pt x="0" y="9"/>
                  </a:moveTo>
                  <a:lnTo>
                    <a:pt x="2" y="19"/>
                  </a:lnTo>
                  <a:lnTo>
                    <a:pt x="11" y="14"/>
                  </a:lnTo>
                  <a:lnTo>
                    <a:pt x="17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38" name="Freeform 95"/>
            <p:cNvSpPr>
              <a:spLocks noChangeAspect="1"/>
            </p:cNvSpPr>
            <p:nvPr/>
          </p:nvSpPr>
          <p:spPr bwMode="auto">
            <a:xfrm>
              <a:off x="4469769" y="2180659"/>
              <a:ext cx="16766" cy="54529"/>
            </a:xfrm>
            <a:custGeom>
              <a:avLst/>
              <a:gdLst>
                <a:gd name="T0" fmla="*/ 0 w 14"/>
                <a:gd name="T1" fmla="*/ 11 h 38"/>
                <a:gd name="T2" fmla="*/ 0 w 14"/>
                <a:gd name="T3" fmla="*/ 28 h 38"/>
                <a:gd name="T4" fmla="*/ 3 w 14"/>
                <a:gd name="T5" fmla="*/ 38 h 38"/>
                <a:gd name="T6" fmla="*/ 3 w 14"/>
                <a:gd name="T7" fmla="*/ 0 h 38"/>
                <a:gd name="T8" fmla="*/ 0 w 14"/>
                <a:gd name="T9" fmla="*/ 11 h 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8"/>
                <a:gd name="T17" fmla="*/ 14 w 14"/>
                <a:gd name="T18" fmla="*/ 38 h 3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8">
                  <a:moveTo>
                    <a:pt x="0" y="11"/>
                  </a:moveTo>
                  <a:lnTo>
                    <a:pt x="0" y="28"/>
                  </a:lnTo>
                  <a:lnTo>
                    <a:pt x="9" y="38"/>
                  </a:lnTo>
                  <a:lnTo>
                    <a:pt x="14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39" name="Freeform 96"/>
            <p:cNvSpPr>
              <a:spLocks noChangeAspect="1"/>
            </p:cNvSpPr>
            <p:nvPr/>
          </p:nvSpPr>
          <p:spPr bwMode="auto">
            <a:xfrm>
              <a:off x="4455798" y="2238058"/>
              <a:ext cx="34929" cy="78923"/>
            </a:xfrm>
            <a:custGeom>
              <a:avLst/>
              <a:gdLst>
                <a:gd name="T0" fmla="*/ 0 w 28"/>
                <a:gd name="T1" fmla="*/ 8 h 55"/>
                <a:gd name="T2" fmla="*/ 4 w 28"/>
                <a:gd name="T3" fmla="*/ 48 h 55"/>
                <a:gd name="T4" fmla="*/ 4 w 28"/>
                <a:gd name="T5" fmla="*/ 55 h 55"/>
                <a:gd name="T6" fmla="*/ 4 w 28"/>
                <a:gd name="T7" fmla="*/ 48 h 55"/>
                <a:gd name="T8" fmla="*/ 4 w 28"/>
                <a:gd name="T9" fmla="*/ 10 h 55"/>
                <a:gd name="T10" fmla="*/ 4 w 28"/>
                <a:gd name="T11" fmla="*/ 0 h 55"/>
                <a:gd name="T12" fmla="*/ 0 w 28"/>
                <a:gd name="T13" fmla="*/ 8 h 5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55"/>
                <a:gd name="T23" fmla="*/ 28 w 28"/>
                <a:gd name="T24" fmla="*/ 55 h 5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55">
                  <a:moveTo>
                    <a:pt x="0" y="8"/>
                  </a:moveTo>
                  <a:lnTo>
                    <a:pt x="4" y="48"/>
                  </a:lnTo>
                  <a:lnTo>
                    <a:pt x="11" y="55"/>
                  </a:lnTo>
                  <a:lnTo>
                    <a:pt x="25" y="48"/>
                  </a:lnTo>
                  <a:lnTo>
                    <a:pt x="28" y="10"/>
                  </a:lnTo>
                  <a:lnTo>
                    <a:pt x="21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40" name="Freeform 97"/>
            <p:cNvSpPr>
              <a:spLocks noChangeAspect="1"/>
            </p:cNvSpPr>
            <p:nvPr/>
          </p:nvSpPr>
          <p:spPr bwMode="auto">
            <a:xfrm>
              <a:off x="4556394" y="2335635"/>
              <a:ext cx="78242" cy="53094"/>
            </a:xfrm>
            <a:custGeom>
              <a:avLst/>
              <a:gdLst>
                <a:gd name="T0" fmla="*/ 0 w 62"/>
                <a:gd name="T1" fmla="*/ 8 h 37"/>
                <a:gd name="T2" fmla="*/ 5 w 62"/>
                <a:gd name="T3" fmla="*/ 17 h 37"/>
                <a:gd name="T4" fmla="*/ 5 w 62"/>
                <a:gd name="T5" fmla="*/ 37 h 37"/>
                <a:gd name="T6" fmla="*/ 5 w 62"/>
                <a:gd name="T7" fmla="*/ 0 h 37"/>
                <a:gd name="T8" fmla="*/ 5 w 62"/>
                <a:gd name="T9" fmla="*/ 6 h 37"/>
                <a:gd name="T10" fmla="*/ 5 w 62"/>
                <a:gd name="T11" fmla="*/ 3 h 37"/>
                <a:gd name="T12" fmla="*/ 0 w 62"/>
                <a:gd name="T13" fmla="*/ 8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2"/>
                <a:gd name="T22" fmla="*/ 0 h 37"/>
                <a:gd name="T23" fmla="*/ 62 w 62"/>
                <a:gd name="T24" fmla="*/ 37 h 3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2" h="37">
                  <a:moveTo>
                    <a:pt x="0" y="8"/>
                  </a:moveTo>
                  <a:lnTo>
                    <a:pt x="6" y="17"/>
                  </a:lnTo>
                  <a:lnTo>
                    <a:pt x="53" y="37"/>
                  </a:lnTo>
                  <a:lnTo>
                    <a:pt x="62" y="0"/>
                  </a:lnTo>
                  <a:lnTo>
                    <a:pt x="36" y="6"/>
                  </a:lnTo>
                  <a:lnTo>
                    <a:pt x="7" y="3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41" name="Freeform 98"/>
            <p:cNvSpPr>
              <a:spLocks noChangeAspect="1"/>
            </p:cNvSpPr>
            <p:nvPr/>
          </p:nvSpPr>
          <p:spPr bwMode="auto">
            <a:xfrm>
              <a:off x="4824651" y="2423168"/>
              <a:ext cx="65667" cy="22959"/>
            </a:xfrm>
            <a:custGeom>
              <a:avLst/>
              <a:gdLst>
                <a:gd name="T0" fmla="*/ 0 w 52"/>
                <a:gd name="T1" fmla="*/ 10 h 16"/>
                <a:gd name="T2" fmla="*/ 5 w 52"/>
                <a:gd name="T3" fmla="*/ 16 h 16"/>
                <a:gd name="T4" fmla="*/ 5 w 52"/>
                <a:gd name="T5" fmla="*/ 14 h 16"/>
                <a:gd name="T6" fmla="*/ 5 w 52"/>
                <a:gd name="T7" fmla="*/ 8 h 16"/>
                <a:gd name="T8" fmla="*/ 5 w 52"/>
                <a:gd name="T9" fmla="*/ 12 h 16"/>
                <a:gd name="T10" fmla="*/ 5 w 52"/>
                <a:gd name="T11" fmla="*/ 6 h 16"/>
                <a:gd name="T12" fmla="*/ 2 w 52"/>
                <a:gd name="T13" fmla="*/ 0 h 16"/>
                <a:gd name="T14" fmla="*/ 0 w 52"/>
                <a:gd name="T15" fmla="*/ 10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16"/>
                <a:gd name="T26" fmla="*/ 52 w 52"/>
                <a:gd name="T27" fmla="*/ 16 h 1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16">
                  <a:moveTo>
                    <a:pt x="0" y="10"/>
                  </a:moveTo>
                  <a:lnTo>
                    <a:pt x="26" y="16"/>
                  </a:lnTo>
                  <a:lnTo>
                    <a:pt x="51" y="14"/>
                  </a:lnTo>
                  <a:lnTo>
                    <a:pt x="52" y="8"/>
                  </a:lnTo>
                  <a:lnTo>
                    <a:pt x="43" y="12"/>
                  </a:lnTo>
                  <a:lnTo>
                    <a:pt x="43" y="6"/>
                  </a:lnTo>
                  <a:lnTo>
                    <a:pt x="2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42" name="Freeform 99"/>
            <p:cNvSpPr>
              <a:spLocks noChangeAspect="1"/>
            </p:cNvSpPr>
            <p:nvPr/>
          </p:nvSpPr>
          <p:spPr bwMode="auto">
            <a:xfrm>
              <a:off x="5035624" y="2423168"/>
              <a:ext cx="51695" cy="31569"/>
            </a:xfrm>
            <a:custGeom>
              <a:avLst/>
              <a:gdLst>
                <a:gd name="T0" fmla="*/ 0 w 41"/>
                <a:gd name="T1" fmla="*/ 14 h 22"/>
                <a:gd name="T2" fmla="*/ 3 w 41"/>
                <a:gd name="T3" fmla="*/ 22 h 22"/>
                <a:gd name="T4" fmla="*/ 5 w 41"/>
                <a:gd name="T5" fmla="*/ 21 h 22"/>
                <a:gd name="T6" fmla="*/ 5 w 41"/>
                <a:gd name="T7" fmla="*/ 16 h 22"/>
                <a:gd name="T8" fmla="*/ 5 w 41"/>
                <a:gd name="T9" fmla="*/ 10 h 22"/>
                <a:gd name="T10" fmla="*/ 5 w 41"/>
                <a:gd name="T11" fmla="*/ 0 h 22"/>
                <a:gd name="T12" fmla="*/ 0 w 41"/>
                <a:gd name="T13" fmla="*/ 14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2"/>
                <a:gd name="T23" fmla="*/ 41 w 41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2">
                  <a:moveTo>
                    <a:pt x="0" y="14"/>
                  </a:moveTo>
                  <a:lnTo>
                    <a:pt x="3" y="22"/>
                  </a:lnTo>
                  <a:lnTo>
                    <a:pt x="24" y="21"/>
                  </a:lnTo>
                  <a:lnTo>
                    <a:pt x="35" y="16"/>
                  </a:lnTo>
                  <a:lnTo>
                    <a:pt x="31" y="10"/>
                  </a:lnTo>
                  <a:lnTo>
                    <a:pt x="41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43" name="Freeform 100"/>
            <p:cNvSpPr>
              <a:spLocks noChangeAspect="1"/>
            </p:cNvSpPr>
            <p:nvPr/>
          </p:nvSpPr>
          <p:spPr bwMode="auto">
            <a:xfrm>
              <a:off x="4317478" y="2282542"/>
              <a:ext cx="26546" cy="20089"/>
            </a:xfrm>
            <a:custGeom>
              <a:avLst/>
              <a:gdLst>
                <a:gd name="T0" fmla="*/ 0 w 21"/>
                <a:gd name="T1" fmla="*/ 7 h 14"/>
                <a:gd name="T2" fmla="*/ 5 w 21"/>
                <a:gd name="T3" fmla="*/ 14 h 14"/>
                <a:gd name="T4" fmla="*/ 5 w 21"/>
                <a:gd name="T5" fmla="*/ 6 h 14"/>
                <a:gd name="T6" fmla="*/ 5 w 21"/>
                <a:gd name="T7" fmla="*/ 0 h 14"/>
                <a:gd name="T8" fmla="*/ 0 w 21"/>
                <a:gd name="T9" fmla="*/ 7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4"/>
                <a:gd name="T17" fmla="*/ 21 w 21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4">
                  <a:moveTo>
                    <a:pt x="0" y="7"/>
                  </a:moveTo>
                  <a:lnTo>
                    <a:pt x="15" y="14"/>
                  </a:lnTo>
                  <a:lnTo>
                    <a:pt x="21" y="6"/>
                  </a:lnTo>
                  <a:lnTo>
                    <a:pt x="12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44" name="Freeform 101"/>
            <p:cNvSpPr>
              <a:spLocks noChangeAspect="1"/>
            </p:cNvSpPr>
            <p:nvPr/>
          </p:nvSpPr>
          <p:spPr bwMode="auto">
            <a:xfrm>
              <a:off x="7218005" y="1791785"/>
              <a:ext cx="16766" cy="17220"/>
            </a:xfrm>
            <a:custGeom>
              <a:avLst/>
              <a:gdLst>
                <a:gd name="T0" fmla="*/ 1 w 12"/>
                <a:gd name="T1" fmla="*/ 7 h 12"/>
                <a:gd name="T2" fmla="*/ 11 w 12"/>
                <a:gd name="T3" fmla="*/ 12 h 12"/>
                <a:gd name="T4" fmla="*/ 12 w 12"/>
                <a:gd name="T5" fmla="*/ 3 h 12"/>
                <a:gd name="T6" fmla="*/ 0 w 12"/>
                <a:gd name="T7" fmla="*/ 0 h 12"/>
                <a:gd name="T8" fmla="*/ 1 w 12"/>
                <a:gd name="T9" fmla="*/ 7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2"/>
                <a:gd name="T17" fmla="*/ 12 w 12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2">
                  <a:moveTo>
                    <a:pt x="1" y="7"/>
                  </a:moveTo>
                  <a:lnTo>
                    <a:pt x="11" y="12"/>
                  </a:lnTo>
                  <a:lnTo>
                    <a:pt x="12" y="3"/>
                  </a:lnTo>
                  <a:lnTo>
                    <a:pt x="0" y="0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45" name="Freeform 102"/>
            <p:cNvSpPr>
              <a:spLocks noChangeAspect="1"/>
            </p:cNvSpPr>
            <p:nvPr/>
          </p:nvSpPr>
          <p:spPr bwMode="auto">
            <a:xfrm>
              <a:off x="4170775" y="1916626"/>
              <a:ext cx="285023" cy="278383"/>
            </a:xfrm>
            <a:custGeom>
              <a:avLst/>
              <a:gdLst>
                <a:gd name="T0" fmla="*/ 4 w 227"/>
                <a:gd name="T1" fmla="*/ 78 h 194"/>
                <a:gd name="T2" fmla="*/ 4 w 227"/>
                <a:gd name="T3" fmla="*/ 51 h 194"/>
                <a:gd name="T4" fmla="*/ 4 w 227"/>
                <a:gd name="T5" fmla="*/ 35 h 194"/>
                <a:gd name="T6" fmla="*/ 4 w 227"/>
                <a:gd name="T7" fmla="*/ 34 h 194"/>
                <a:gd name="T8" fmla="*/ 4 w 227"/>
                <a:gd name="T9" fmla="*/ 32 h 194"/>
                <a:gd name="T10" fmla="*/ 4 w 227"/>
                <a:gd name="T11" fmla="*/ 23 h 194"/>
                <a:gd name="T12" fmla="*/ 4 w 227"/>
                <a:gd name="T13" fmla="*/ 26 h 194"/>
                <a:gd name="T14" fmla="*/ 4 w 227"/>
                <a:gd name="T15" fmla="*/ 1 h 194"/>
                <a:gd name="T16" fmla="*/ 4 w 227"/>
                <a:gd name="T17" fmla="*/ 0 h 194"/>
                <a:gd name="T18" fmla="*/ 4 w 227"/>
                <a:gd name="T19" fmla="*/ 7 h 194"/>
                <a:gd name="T20" fmla="*/ 4 w 227"/>
                <a:gd name="T21" fmla="*/ 24 h 194"/>
                <a:gd name="T22" fmla="*/ 4 w 227"/>
                <a:gd name="T23" fmla="*/ 33 h 194"/>
                <a:gd name="T24" fmla="*/ 4 w 227"/>
                <a:gd name="T25" fmla="*/ 43 h 194"/>
                <a:gd name="T26" fmla="*/ 4 w 227"/>
                <a:gd name="T27" fmla="*/ 43 h 194"/>
                <a:gd name="T28" fmla="*/ 4 w 227"/>
                <a:gd name="T29" fmla="*/ 33 h 194"/>
                <a:gd name="T30" fmla="*/ 4 w 227"/>
                <a:gd name="T31" fmla="*/ 33 h 194"/>
                <a:gd name="T32" fmla="*/ 4 w 227"/>
                <a:gd name="T33" fmla="*/ 57 h 194"/>
                <a:gd name="T34" fmla="*/ 4 w 227"/>
                <a:gd name="T35" fmla="*/ 60 h 194"/>
                <a:gd name="T36" fmla="*/ 4 w 227"/>
                <a:gd name="T37" fmla="*/ 52 h 194"/>
                <a:gd name="T38" fmla="*/ 0 w 227"/>
                <a:gd name="T39" fmla="*/ 60 h 194"/>
                <a:gd name="T40" fmla="*/ 1 w 227"/>
                <a:gd name="T41" fmla="*/ 70 h 194"/>
                <a:gd name="T42" fmla="*/ 4 w 227"/>
                <a:gd name="T43" fmla="*/ 81 h 194"/>
                <a:gd name="T44" fmla="*/ 4 w 227"/>
                <a:gd name="T45" fmla="*/ 109 h 194"/>
                <a:gd name="T46" fmla="*/ 4 w 227"/>
                <a:gd name="T47" fmla="*/ 119 h 194"/>
                <a:gd name="T48" fmla="*/ 4 w 227"/>
                <a:gd name="T49" fmla="*/ 169 h 194"/>
                <a:gd name="T50" fmla="*/ 4 w 227"/>
                <a:gd name="T51" fmla="*/ 176 h 194"/>
                <a:gd name="T52" fmla="*/ 4 w 227"/>
                <a:gd name="T53" fmla="*/ 188 h 194"/>
                <a:gd name="T54" fmla="*/ 4 w 227"/>
                <a:gd name="T55" fmla="*/ 194 h 194"/>
                <a:gd name="T56" fmla="*/ 4 w 227"/>
                <a:gd name="T57" fmla="*/ 184 h 194"/>
                <a:gd name="T58" fmla="*/ 4 w 227"/>
                <a:gd name="T59" fmla="*/ 173 h 194"/>
                <a:gd name="T60" fmla="*/ 4 w 227"/>
                <a:gd name="T61" fmla="*/ 182 h 194"/>
                <a:gd name="T62" fmla="*/ 4 w 227"/>
                <a:gd name="T63" fmla="*/ 165 h 194"/>
                <a:gd name="T64" fmla="*/ 4 w 227"/>
                <a:gd name="T65" fmla="*/ 141 h 194"/>
                <a:gd name="T66" fmla="*/ 4 w 227"/>
                <a:gd name="T67" fmla="*/ 118 h 194"/>
                <a:gd name="T68" fmla="*/ 4 w 227"/>
                <a:gd name="T69" fmla="*/ 106 h 194"/>
                <a:gd name="T70" fmla="*/ 4 w 227"/>
                <a:gd name="T71" fmla="*/ 111 h 194"/>
                <a:gd name="T72" fmla="*/ 4 w 227"/>
                <a:gd name="T73" fmla="*/ 104 h 194"/>
                <a:gd name="T74" fmla="*/ 4 w 227"/>
                <a:gd name="T75" fmla="*/ 81 h 194"/>
                <a:gd name="T76" fmla="*/ 4 w 227"/>
                <a:gd name="T77" fmla="*/ 79 h 194"/>
                <a:gd name="T78" fmla="*/ 4 w 227"/>
                <a:gd name="T79" fmla="*/ 78 h 19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27"/>
                <a:gd name="T121" fmla="*/ 0 h 194"/>
                <a:gd name="T122" fmla="*/ 227 w 227"/>
                <a:gd name="T123" fmla="*/ 194 h 19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27" h="194">
                  <a:moveTo>
                    <a:pt x="217" y="78"/>
                  </a:moveTo>
                  <a:lnTo>
                    <a:pt x="227" y="51"/>
                  </a:lnTo>
                  <a:lnTo>
                    <a:pt x="197" y="35"/>
                  </a:lnTo>
                  <a:lnTo>
                    <a:pt x="187" y="34"/>
                  </a:lnTo>
                  <a:lnTo>
                    <a:pt x="175" y="32"/>
                  </a:lnTo>
                  <a:lnTo>
                    <a:pt x="174" y="23"/>
                  </a:lnTo>
                  <a:lnTo>
                    <a:pt x="162" y="26"/>
                  </a:lnTo>
                  <a:lnTo>
                    <a:pt x="138" y="1"/>
                  </a:lnTo>
                  <a:lnTo>
                    <a:pt x="137" y="0"/>
                  </a:lnTo>
                  <a:lnTo>
                    <a:pt x="119" y="7"/>
                  </a:lnTo>
                  <a:lnTo>
                    <a:pt x="113" y="24"/>
                  </a:lnTo>
                  <a:lnTo>
                    <a:pt x="89" y="33"/>
                  </a:lnTo>
                  <a:lnTo>
                    <a:pt x="86" y="43"/>
                  </a:lnTo>
                  <a:lnTo>
                    <a:pt x="67" y="43"/>
                  </a:lnTo>
                  <a:lnTo>
                    <a:pt x="63" y="33"/>
                  </a:lnTo>
                  <a:lnTo>
                    <a:pt x="52" y="33"/>
                  </a:lnTo>
                  <a:lnTo>
                    <a:pt x="60" y="57"/>
                  </a:lnTo>
                  <a:lnTo>
                    <a:pt x="38" y="60"/>
                  </a:lnTo>
                  <a:lnTo>
                    <a:pt x="32" y="52"/>
                  </a:lnTo>
                  <a:lnTo>
                    <a:pt x="0" y="60"/>
                  </a:lnTo>
                  <a:lnTo>
                    <a:pt x="1" y="70"/>
                  </a:lnTo>
                  <a:lnTo>
                    <a:pt x="39" y="81"/>
                  </a:lnTo>
                  <a:lnTo>
                    <a:pt x="60" y="109"/>
                  </a:lnTo>
                  <a:lnTo>
                    <a:pt x="63" y="119"/>
                  </a:lnTo>
                  <a:lnTo>
                    <a:pt x="52" y="169"/>
                  </a:lnTo>
                  <a:lnTo>
                    <a:pt x="47" y="176"/>
                  </a:lnTo>
                  <a:lnTo>
                    <a:pt x="72" y="188"/>
                  </a:lnTo>
                  <a:lnTo>
                    <a:pt x="134" y="194"/>
                  </a:lnTo>
                  <a:lnTo>
                    <a:pt x="134" y="184"/>
                  </a:lnTo>
                  <a:lnTo>
                    <a:pt x="152" y="173"/>
                  </a:lnTo>
                  <a:lnTo>
                    <a:pt x="197" y="182"/>
                  </a:lnTo>
                  <a:lnTo>
                    <a:pt x="218" y="165"/>
                  </a:lnTo>
                  <a:lnTo>
                    <a:pt x="203" y="141"/>
                  </a:lnTo>
                  <a:lnTo>
                    <a:pt x="208" y="118"/>
                  </a:lnTo>
                  <a:lnTo>
                    <a:pt x="203" y="106"/>
                  </a:lnTo>
                  <a:lnTo>
                    <a:pt x="193" y="111"/>
                  </a:lnTo>
                  <a:lnTo>
                    <a:pt x="191" y="104"/>
                  </a:lnTo>
                  <a:lnTo>
                    <a:pt x="208" y="81"/>
                  </a:lnTo>
                  <a:lnTo>
                    <a:pt x="219" y="79"/>
                  </a:lnTo>
                  <a:lnTo>
                    <a:pt x="217" y="78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46" name="Freeform 103"/>
            <p:cNvSpPr>
              <a:spLocks noChangeAspect="1"/>
            </p:cNvSpPr>
            <p:nvPr/>
          </p:nvSpPr>
          <p:spPr bwMode="auto">
            <a:xfrm>
              <a:off x="4786927" y="2143350"/>
              <a:ext cx="145306" cy="93273"/>
            </a:xfrm>
            <a:custGeom>
              <a:avLst/>
              <a:gdLst>
                <a:gd name="T0" fmla="*/ 5 w 115"/>
                <a:gd name="T1" fmla="*/ 1 h 65"/>
                <a:gd name="T2" fmla="*/ 5 w 115"/>
                <a:gd name="T3" fmla="*/ 11 h 65"/>
                <a:gd name="T4" fmla="*/ 5 w 115"/>
                <a:gd name="T5" fmla="*/ 8 h 65"/>
                <a:gd name="T6" fmla="*/ 5 w 115"/>
                <a:gd name="T7" fmla="*/ 0 h 65"/>
                <a:gd name="T8" fmla="*/ 0 w 115"/>
                <a:gd name="T9" fmla="*/ 8 h 65"/>
                <a:gd name="T10" fmla="*/ 5 w 115"/>
                <a:gd name="T11" fmla="*/ 28 h 65"/>
                <a:gd name="T12" fmla="*/ 2 w 115"/>
                <a:gd name="T13" fmla="*/ 42 h 65"/>
                <a:gd name="T14" fmla="*/ 5 w 115"/>
                <a:gd name="T15" fmla="*/ 63 h 65"/>
                <a:gd name="T16" fmla="*/ 5 w 115"/>
                <a:gd name="T17" fmla="*/ 58 h 65"/>
                <a:gd name="T18" fmla="*/ 5 w 115"/>
                <a:gd name="T19" fmla="*/ 65 h 65"/>
                <a:gd name="T20" fmla="*/ 5 w 115"/>
                <a:gd name="T21" fmla="*/ 53 h 65"/>
                <a:gd name="T22" fmla="*/ 5 w 115"/>
                <a:gd name="T23" fmla="*/ 52 h 65"/>
                <a:gd name="T24" fmla="*/ 5 w 115"/>
                <a:gd name="T25" fmla="*/ 37 h 65"/>
                <a:gd name="T26" fmla="*/ 5 w 115"/>
                <a:gd name="T27" fmla="*/ 19 h 65"/>
                <a:gd name="T28" fmla="*/ 5 w 115"/>
                <a:gd name="T29" fmla="*/ 17 h 65"/>
                <a:gd name="T30" fmla="*/ 5 w 115"/>
                <a:gd name="T31" fmla="*/ 9 h 65"/>
                <a:gd name="T32" fmla="*/ 5 w 115"/>
                <a:gd name="T33" fmla="*/ 1 h 6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5"/>
                <a:gd name="T52" fmla="*/ 0 h 65"/>
                <a:gd name="T53" fmla="*/ 115 w 115"/>
                <a:gd name="T54" fmla="*/ 65 h 6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5" h="65">
                  <a:moveTo>
                    <a:pt x="82" y="1"/>
                  </a:moveTo>
                  <a:lnTo>
                    <a:pt x="56" y="11"/>
                  </a:lnTo>
                  <a:lnTo>
                    <a:pt x="28" y="8"/>
                  </a:lnTo>
                  <a:lnTo>
                    <a:pt x="6" y="0"/>
                  </a:lnTo>
                  <a:lnTo>
                    <a:pt x="0" y="8"/>
                  </a:lnTo>
                  <a:lnTo>
                    <a:pt x="5" y="28"/>
                  </a:lnTo>
                  <a:lnTo>
                    <a:pt x="2" y="42"/>
                  </a:lnTo>
                  <a:lnTo>
                    <a:pt x="13" y="63"/>
                  </a:lnTo>
                  <a:lnTo>
                    <a:pt x="41" y="58"/>
                  </a:lnTo>
                  <a:lnTo>
                    <a:pt x="61" y="65"/>
                  </a:lnTo>
                  <a:lnTo>
                    <a:pt x="75" y="53"/>
                  </a:lnTo>
                  <a:lnTo>
                    <a:pt x="107" y="52"/>
                  </a:lnTo>
                  <a:lnTo>
                    <a:pt x="96" y="37"/>
                  </a:lnTo>
                  <a:lnTo>
                    <a:pt x="103" y="19"/>
                  </a:lnTo>
                  <a:lnTo>
                    <a:pt x="114" y="17"/>
                  </a:lnTo>
                  <a:lnTo>
                    <a:pt x="115" y="9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47" name="Freeform 104"/>
            <p:cNvSpPr>
              <a:spLocks noChangeAspect="1"/>
            </p:cNvSpPr>
            <p:nvPr/>
          </p:nvSpPr>
          <p:spPr bwMode="auto">
            <a:xfrm>
              <a:off x="4582940" y="2057253"/>
              <a:ext cx="131334" cy="139191"/>
            </a:xfrm>
            <a:custGeom>
              <a:avLst/>
              <a:gdLst>
                <a:gd name="T0" fmla="*/ 5 w 104"/>
                <a:gd name="T1" fmla="*/ 19 h 97"/>
                <a:gd name="T2" fmla="*/ 5 w 104"/>
                <a:gd name="T3" fmla="*/ 22 h 97"/>
                <a:gd name="T4" fmla="*/ 5 w 104"/>
                <a:gd name="T5" fmla="*/ 0 h 97"/>
                <a:gd name="T6" fmla="*/ 5 w 104"/>
                <a:gd name="T7" fmla="*/ 12 h 97"/>
                <a:gd name="T8" fmla="*/ 5 w 104"/>
                <a:gd name="T9" fmla="*/ 24 h 97"/>
                <a:gd name="T10" fmla="*/ 5 w 104"/>
                <a:gd name="T11" fmla="*/ 21 h 97"/>
                <a:gd name="T12" fmla="*/ 5 w 104"/>
                <a:gd name="T13" fmla="*/ 30 h 97"/>
                <a:gd name="T14" fmla="*/ 0 w 104"/>
                <a:gd name="T15" fmla="*/ 28 h 97"/>
                <a:gd name="T16" fmla="*/ 2 w 104"/>
                <a:gd name="T17" fmla="*/ 44 h 97"/>
                <a:gd name="T18" fmla="*/ 5 w 104"/>
                <a:gd name="T19" fmla="*/ 32 h 97"/>
                <a:gd name="T20" fmla="*/ 5 w 104"/>
                <a:gd name="T21" fmla="*/ 40 h 97"/>
                <a:gd name="T22" fmla="*/ 5 w 104"/>
                <a:gd name="T23" fmla="*/ 63 h 97"/>
                <a:gd name="T24" fmla="*/ 5 w 104"/>
                <a:gd name="T25" fmla="*/ 97 h 97"/>
                <a:gd name="T26" fmla="*/ 5 w 104"/>
                <a:gd name="T27" fmla="*/ 91 h 97"/>
                <a:gd name="T28" fmla="*/ 5 w 104"/>
                <a:gd name="T29" fmla="*/ 59 h 97"/>
                <a:gd name="T30" fmla="*/ 5 w 104"/>
                <a:gd name="T31" fmla="*/ 44 h 97"/>
                <a:gd name="T32" fmla="*/ 5 w 104"/>
                <a:gd name="T33" fmla="*/ 34 h 97"/>
                <a:gd name="T34" fmla="*/ 5 w 104"/>
                <a:gd name="T35" fmla="*/ 39 h 97"/>
                <a:gd name="T36" fmla="*/ 5 w 104"/>
                <a:gd name="T37" fmla="*/ 42 h 97"/>
                <a:gd name="T38" fmla="*/ 5 w 104"/>
                <a:gd name="T39" fmla="*/ 36 h 97"/>
                <a:gd name="T40" fmla="*/ 5 w 104"/>
                <a:gd name="T41" fmla="*/ 31 h 97"/>
                <a:gd name="T42" fmla="*/ 5 w 104"/>
                <a:gd name="T43" fmla="*/ 19 h 9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4"/>
                <a:gd name="T67" fmla="*/ 0 h 97"/>
                <a:gd name="T68" fmla="*/ 104 w 104"/>
                <a:gd name="T69" fmla="*/ 97 h 9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4" h="97">
                  <a:moveTo>
                    <a:pt x="92" y="19"/>
                  </a:moveTo>
                  <a:lnTo>
                    <a:pt x="77" y="22"/>
                  </a:lnTo>
                  <a:lnTo>
                    <a:pt x="48" y="0"/>
                  </a:lnTo>
                  <a:lnTo>
                    <a:pt x="31" y="12"/>
                  </a:lnTo>
                  <a:lnTo>
                    <a:pt x="30" y="24"/>
                  </a:lnTo>
                  <a:lnTo>
                    <a:pt x="18" y="21"/>
                  </a:lnTo>
                  <a:lnTo>
                    <a:pt x="6" y="30"/>
                  </a:lnTo>
                  <a:lnTo>
                    <a:pt x="0" y="28"/>
                  </a:lnTo>
                  <a:lnTo>
                    <a:pt x="2" y="44"/>
                  </a:lnTo>
                  <a:lnTo>
                    <a:pt x="9" y="32"/>
                  </a:lnTo>
                  <a:lnTo>
                    <a:pt x="22" y="40"/>
                  </a:lnTo>
                  <a:lnTo>
                    <a:pt x="29" y="63"/>
                  </a:lnTo>
                  <a:lnTo>
                    <a:pt x="82" y="97"/>
                  </a:lnTo>
                  <a:lnTo>
                    <a:pt x="86" y="91"/>
                  </a:lnTo>
                  <a:lnTo>
                    <a:pt x="50" y="59"/>
                  </a:lnTo>
                  <a:lnTo>
                    <a:pt x="43" y="44"/>
                  </a:lnTo>
                  <a:lnTo>
                    <a:pt x="46" y="34"/>
                  </a:lnTo>
                  <a:lnTo>
                    <a:pt x="87" y="39"/>
                  </a:lnTo>
                  <a:lnTo>
                    <a:pt x="99" y="42"/>
                  </a:lnTo>
                  <a:lnTo>
                    <a:pt x="104" y="36"/>
                  </a:lnTo>
                  <a:lnTo>
                    <a:pt x="96" y="31"/>
                  </a:lnTo>
                  <a:lnTo>
                    <a:pt x="92" y="1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48" name="Freeform 105"/>
            <p:cNvSpPr>
              <a:spLocks noChangeAspect="1"/>
            </p:cNvSpPr>
            <p:nvPr/>
          </p:nvSpPr>
          <p:spPr bwMode="auto">
            <a:xfrm>
              <a:off x="4399911" y="1321117"/>
              <a:ext cx="493201" cy="383135"/>
            </a:xfrm>
            <a:custGeom>
              <a:avLst/>
              <a:gdLst>
                <a:gd name="T0" fmla="*/ 5 w 391"/>
                <a:gd name="T1" fmla="*/ 52 h 267"/>
                <a:gd name="T2" fmla="*/ 5 w 391"/>
                <a:gd name="T3" fmla="*/ 60 h 267"/>
                <a:gd name="T4" fmla="*/ 5 w 391"/>
                <a:gd name="T5" fmla="*/ 84 h 267"/>
                <a:gd name="T6" fmla="*/ 5 w 391"/>
                <a:gd name="T7" fmla="*/ 128 h 267"/>
                <a:gd name="T8" fmla="*/ 5 w 391"/>
                <a:gd name="T9" fmla="*/ 148 h 267"/>
                <a:gd name="T10" fmla="*/ 5 w 391"/>
                <a:gd name="T11" fmla="*/ 199 h 267"/>
                <a:gd name="T12" fmla="*/ 5 w 391"/>
                <a:gd name="T13" fmla="*/ 225 h 267"/>
                <a:gd name="T14" fmla="*/ 5 w 391"/>
                <a:gd name="T15" fmla="*/ 247 h 267"/>
                <a:gd name="T16" fmla="*/ 5 w 391"/>
                <a:gd name="T17" fmla="*/ 238 h 267"/>
                <a:gd name="T18" fmla="*/ 5 w 391"/>
                <a:gd name="T19" fmla="*/ 260 h 267"/>
                <a:gd name="T20" fmla="*/ 5 w 391"/>
                <a:gd name="T21" fmla="*/ 238 h 267"/>
                <a:gd name="T22" fmla="*/ 5 w 391"/>
                <a:gd name="T23" fmla="*/ 226 h 267"/>
                <a:gd name="T24" fmla="*/ 0 w 391"/>
                <a:gd name="T25" fmla="*/ 200 h 267"/>
                <a:gd name="T26" fmla="*/ 1 w 391"/>
                <a:gd name="T27" fmla="*/ 186 h 267"/>
                <a:gd name="T28" fmla="*/ 5 w 391"/>
                <a:gd name="T29" fmla="*/ 162 h 267"/>
                <a:gd name="T30" fmla="*/ 5 w 391"/>
                <a:gd name="T31" fmla="*/ 152 h 267"/>
                <a:gd name="T32" fmla="*/ 5 w 391"/>
                <a:gd name="T33" fmla="*/ 82 h 267"/>
                <a:gd name="T34" fmla="*/ 5 w 391"/>
                <a:gd name="T35" fmla="*/ 65 h 267"/>
                <a:gd name="T36" fmla="*/ 5 w 391"/>
                <a:gd name="T37" fmla="*/ 49 h 267"/>
                <a:gd name="T38" fmla="*/ 5 w 391"/>
                <a:gd name="T39" fmla="*/ 46 h 267"/>
                <a:gd name="T40" fmla="*/ 5 w 391"/>
                <a:gd name="T41" fmla="*/ 49 h 267"/>
                <a:gd name="T42" fmla="*/ 5 w 391"/>
                <a:gd name="T43" fmla="*/ 40 h 267"/>
                <a:gd name="T44" fmla="*/ 5 w 391"/>
                <a:gd name="T45" fmla="*/ 21 h 267"/>
                <a:gd name="T46" fmla="*/ 5 w 391"/>
                <a:gd name="T47" fmla="*/ 5 h 267"/>
                <a:gd name="T48" fmla="*/ 5 w 391"/>
                <a:gd name="T49" fmla="*/ 0 h 267"/>
                <a:gd name="T50" fmla="*/ 5 w 391"/>
                <a:gd name="T51" fmla="*/ 5 h 267"/>
                <a:gd name="T52" fmla="*/ 5 w 391"/>
                <a:gd name="T53" fmla="*/ 3 h 267"/>
                <a:gd name="T54" fmla="*/ 5 w 391"/>
                <a:gd name="T55" fmla="*/ 15 h 267"/>
                <a:gd name="T56" fmla="*/ 5 w 391"/>
                <a:gd name="T57" fmla="*/ 28 h 267"/>
                <a:gd name="T58" fmla="*/ 5 w 391"/>
                <a:gd name="T59" fmla="*/ 28 h 267"/>
                <a:gd name="T60" fmla="*/ 5 w 391"/>
                <a:gd name="T61" fmla="*/ 26 h 267"/>
                <a:gd name="T62" fmla="*/ 5 w 391"/>
                <a:gd name="T63" fmla="*/ 48 h 267"/>
                <a:gd name="T64" fmla="*/ 5 w 391"/>
                <a:gd name="T65" fmla="*/ 35 h 2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91"/>
                <a:gd name="T100" fmla="*/ 0 h 267"/>
                <a:gd name="T101" fmla="*/ 391 w 391"/>
                <a:gd name="T102" fmla="*/ 267 h 2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91" h="267">
                  <a:moveTo>
                    <a:pt x="239" y="40"/>
                  </a:moveTo>
                  <a:lnTo>
                    <a:pt x="233" y="52"/>
                  </a:lnTo>
                  <a:lnTo>
                    <a:pt x="209" y="51"/>
                  </a:lnTo>
                  <a:lnTo>
                    <a:pt x="203" y="60"/>
                  </a:lnTo>
                  <a:lnTo>
                    <a:pt x="186" y="62"/>
                  </a:lnTo>
                  <a:lnTo>
                    <a:pt x="174" y="84"/>
                  </a:lnTo>
                  <a:lnTo>
                    <a:pt x="154" y="99"/>
                  </a:lnTo>
                  <a:lnTo>
                    <a:pt x="141" y="128"/>
                  </a:lnTo>
                  <a:lnTo>
                    <a:pt x="146" y="139"/>
                  </a:lnTo>
                  <a:lnTo>
                    <a:pt x="117" y="148"/>
                  </a:lnTo>
                  <a:lnTo>
                    <a:pt x="114" y="173"/>
                  </a:lnTo>
                  <a:lnTo>
                    <a:pt x="124" y="199"/>
                  </a:lnTo>
                  <a:lnTo>
                    <a:pt x="117" y="203"/>
                  </a:lnTo>
                  <a:lnTo>
                    <a:pt x="119" y="225"/>
                  </a:lnTo>
                  <a:lnTo>
                    <a:pt x="108" y="232"/>
                  </a:lnTo>
                  <a:lnTo>
                    <a:pt x="106" y="247"/>
                  </a:lnTo>
                  <a:lnTo>
                    <a:pt x="100" y="244"/>
                  </a:lnTo>
                  <a:lnTo>
                    <a:pt x="91" y="238"/>
                  </a:lnTo>
                  <a:lnTo>
                    <a:pt x="44" y="267"/>
                  </a:lnTo>
                  <a:lnTo>
                    <a:pt x="16" y="260"/>
                  </a:lnTo>
                  <a:lnTo>
                    <a:pt x="10" y="254"/>
                  </a:lnTo>
                  <a:lnTo>
                    <a:pt x="20" y="238"/>
                  </a:lnTo>
                  <a:lnTo>
                    <a:pt x="7" y="240"/>
                  </a:lnTo>
                  <a:lnTo>
                    <a:pt x="11" y="226"/>
                  </a:lnTo>
                  <a:lnTo>
                    <a:pt x="3" y="217"/>
                  </a:lnTo>
                  <a:lnTo>
                    <a:pt x="0" y="200"/>
                  </a:lnTo>
                  <a:lnTo>
                    <a:pt x="6" y="193"/>
                  </a:lnTo>
                  <a:lnTo>
                    <a:pt x="1" y="186"/>
                  </a:lnTo>
                  <a:lnTo>
                    <a:pt x="35" y="164"/>
                  </a:lnTo>
                  <a:lnTo>
                    <a:pt x="51" y="162"/>
                  </a:lnTo>
                  <a:lnTo>
                    <a:pt x="66" y="147"/>
                  </a:lnTo>
                  <a:lnTo>
                    <a:pt x="75" y="152"/>
                  </a:lnTo>
                  <a:lnTo>
                    <a:pt x="117" y="117"/>
                  </a:lnTo>
                  <a:lnTo>
                    <a:pt x="141" y="82"/>
                  </a:lnTo>
                  <a:lnTo>
                    <a:pt x="169" y="57"/>
                  </a:lnTo>
                  <a:lnTo>
                    <a:pt x="127" y="65"/>
                  </a:lnTo>
                  <a:lnTo>
                    <a:pt x="158" y="54"/>
                  </a:lnTo>
                  <a:lnTo>
                    <a:pt x="149" y="49"/>
                  </a:lnTo>
                  <a:lnTo>
                    <a:pt x="175" y="37"/>
                  </a:lnTo>
                  <a:lnTo>
                    <a:pt x="171" y="46"/>
                  </a:lnTo>
                  <a:lnTo>
                    <a:pt x="181" y="42"/>
                  </a:lnTo>
                  <a:lnTo>
                    <a:pt x="182" y="49"/>
                  </a:lnTo>
                  <a:lnTo>
                    <a:pt x="195" y="42"/>
                  </a:lnTo>
                  <a:lnTo>
                    <a:pt x="187" y="40"/>
                  </a:lnTo>
                  <a:lnTo>
                    <a:pt x="187" y="34"/>
                  </a:lnTo>
                  <a:lnTo>
                    <a:pt x="214" y="21"/>
                  </a:lnTo>
                  <a:lnTo>
                    <a:pt x="251" y="18"/>
                  </a:lnTo>
                  <a:lnTo>
                    <a:pt x="275" y="5"/>
                  </a:lnTo>
                  <a:lnTo>
                    <a:pt x="290" y="10"/>
                  </a:lnTo>
                  <a:lnTo>
                    <a:pt x="309" y="0"/>
                  </a:lnTo>
                  <a:lnTo>
                    <a:pt x="309" y="11"/>
                  </a:lnTo>
                  <a:lnTo>
                    <a:pt x="323" y="5"/>
                  </a:lnTo>
                  <a:lnTo>
                    <a:pt x="328" y="14"/>
                  </a:lnTo>
                  <a:lnTo>
                    <a:pt x="340" y="3"/>
                  </a:lnTo>
                  <a:lnTo>
                    <a:pt x="359" y="5"/>
                  </a:lnTo>
                  <a:lnTo>
                    <a:pt x="391" y="15"/>
                  </a:lnTo>
                  <a:lnTo>
                    <a:pt x="357" y="20"/>
                  </a:lnTo>
                  <a:lnTo>
                    <a:pt x="391" y="28"/>
                  </a:lnTo>
                  <a:lnTo>
                    <a:pt x="365" y="42"/>
                  </a:lnTo>
                  <a:lnTo>
                    <a:pt x="364" y="28"/>
                  </a:lnTo>
                  <a:lnTo>
                    <a:pt x="343" y="22"/>
                  </a:lnTo>
                  <a:lnTo>
                    <a:pt x="320" y="26"/>
                  </a:lnTo>
                  <a:lnTo>
                    <a:pt x="315" y="43"/>
                  </a:lnTo>
                  <a:lnTo>
                    <a:pt x="303" y="48"/>
                  </a:lnTo>
                  <a:lnTo>
                    <a:pt x="271" y="46"/>
                  </a:lnTo>
                  <a:lnTo>
                    <a:pt x="249" y="35"/>
                  </a:lnTo>
                  <a:lnTo>
                    <a:pt x="239" y="4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49" name="Freeform 106"/>
            <p:cNvSpPr>
              <a:spLocks noChangeAspect="1"/>
            </p:cNvSpPr>
            <p:nvPr/>
          </p:nvSpPr>
          <p:spPr bwMode="auto">
            <a:xfrm>
              <a:off x="4701700" y="1352687"/>
              <a:ext cx="227739" cy="291297"/>
            </a:xfrm>
            <a:custGeom>
              <a:avLst/>
              <a:gdLst>
                <a:gd name="T0" fmla="*/ 5 w 181"/>
                <a:gd name="T1" fmla="*/ 20 h 203"/>
                <a:gd name="T2" fmla="*/ 5 w 181"/>
                <a:gd name="T3" fmla="*/ 22 h 203"/>
                <a:gd name="T4" fmla="*/ 5 w 181"/>
                <a:gd name="T5" fmla="*/ 34 h 203"/>
                <a:gd name="T6" fmla="*/ 5 w 181"/>
                <a:gd name="T7" fmla="*/ 45 h 203"/>
                <a:gd name="T8" fmla="*/ 5 w 181"/>
                <a:gd name="T9" fmla="*/ 58 h 203"/>
                <a:gd name="T10" fmla="*/ 5 w 181"/>
                <a:gd name="T11" fmla="*/ 80 h 203"/>
                <a:gd name="T12" fmla="*/ 5 w 181"/>
                <a:gd name="T13" fmla="*/ 100 h 203"/>
                <a:gd name="T14" fmla="*/ 5 w 181"/>
                <a:gd name="T15" fmla="*/ 114 h 203"/>
                <a:gd name="T16" fmla="*/ 5 w 181"/>
                <a:gd name="T17" fmla="*/ 125 h 203"/>
                <a:gd name="T18" fmla="*/ 5 w 181"/>
                <a:gd name="T19" fmla="*/ 146 h 203"/>
                <a:gd name="T20" fmla="*/ 5 w 181"/>
                <a:gd name="T21" fmla="*/ 191 h 203"/>
                <a:gd name="T22" fmla="*/ 5 w 181"/>
                <a:gd name="T23" fmla="*/ 203 h 203"/>
                <a:gd name="T24" fmla="*/ 5 w 181"/>
                <a:gd name="T25" fmla="*/ 188 h 203"/>
                <a:gd name="T26" fmla="*/ 5 w 181"/>
                <a:gd name="T27" fmla="*/ 171 h 203"/>
                <a:gd name="T28" fmla="*/ 5 w 181"/>
                <a:gd name="T29" fmla="*/ 151 h 203"/>
                <a:gd name="T30" fmla="*/ 5 w 181"/>
                <a:gd name="T31" fmla="*/ 140 h 203"/>
                <a:gd name="T32" fmla="*/ 5 w 181"/>
                <a:gd name="T33" fmla="*/ 100 h 203"/>
                <a:gd name="T34" fmla="*/ 5 w 181"/>
                <a:gd name="T35" fmla="*/ 89 h 203"/>
                <a:gd name="T36" fmla="*/ 5 w 181"/>
                <a:gd name="T37" fmla="*/ 83 h 203"/>
                <a:gd name="T38" fmla="*/ 5 w 181"/>
                <a:gd name="T39" fmla="*/ 81 h 203"/>
                <a:gd name="T40" fmla="*/ 5 w 181"/>
                <a:gd name="T41" fmla="*/ 38 h 203"/>
                <a:gd name="T42" fmla="*/ 0 w 181"/>
                <a:gd name="T43" fmla="*/ 18 h 203"/>
                <a:gd name="T44" fmla="*/ 5 w 181"/>
                <a:gd name="T45" fmla="*/ 13 h 203"/>
                <a:gd name="T46" fmla="*/ 5 w 181"/>
                <a:gd name="T47" fmla="*/ 24 h 203"/>
                <a:gd name="T48" fmla="*/ 5 w 181"/>
                <a:gd name="T49" fmla="*/ 26 h 203"/>
                <a:gd name="T50" fmla="*/ 5 w 181"/>
                <a:gd name="T51" fmla="*/ 21 h 203"/>
                <a:gd name="T52" fmla="*/ 5 w 181"/>
                <a:gd name="T53" fmla="*/ 4 h 203"/>
                <a:gd name="T54" fmla="*/ 5 w 181"/>
                <a:gd name="T55" fmla="*/ 0 h 203"/>
                <a:gd name="T56" fmla="*/ 5 w 181"/>
                <a:gd name="T57" fmla="*/ 6 h 203"/>
                <a:gd name="T58" fmla="*/ 5 w 181"/>
                <a:gd name="T59" fmla="*/ 20 h 20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81"/>
                <a:gd name="T91" fmla="*/ 0 h 203"/>
                <a:gd name="T92" fmla="*/ 181 w 181"/>
                <a:gd name="T93" fmla="*/ 203 h 20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81" h="203">
                  <a:moveTo>
                    <a:pt x="126" y="20"/>
                  </a:moveTo>
                  <a:lnTo>
                    <a:pt x="120" y="22"/>
                  </a:lnTo>
                  <a:lnTo>
                    <a:pt x="121" y="34"/>
                  </a:lnTo>
                  <a:lnTo>
                    <a:pt x="143" y="45"/>
                  </a:lnTo>
                  <a:lnTo>
                    <a:pt x="136" y="58"/>
                  </a:lnTo>
                  <a:lnTo>
                    <a:pt x="150" y="80"/>
                  </a:lnTo>
                  <a:lnTo>
                    <a:pt x="148" y="100"/>
                  </a:lnTo>
                  <a:lnTo>
                    <a:pt x="164" y="114"/>
                  </a:lnTo>
                  <a:lnTo>
                    <a:pt x="160" y="125"/>
                  </a:lnTo>
                  <a:lnTo>
                    <a:pt x="181" y="146"/>
                  </a:lnTo>
                  <a:lnTo>
                    <a:pt x="127" y="191"/>
                  </a:lnTo>
                  <a:lnTo>
                    <a:pt x="62" y="203"/>
                  </a:lnTo>
                  <a:lnTo>
                    <a:pt x="26" y="188"/>
                  </a:lnTo>
                  <a:lnTo>
                    <a:pt x="29" y="171"/>
                  </a:lnTo>
                  <a:lnTo>
                    <a:pt x="19" y="151"/>
                  </a:lnTo>
                  <a:lnTo>
                    <a:pt x="26" y="140"/>
                  </a:lnTo>
                  <a:lnTo>
                    <a:pt x="80" y="100"/>
                  </a:lnTo>
                  <a:lnTo>
                    <a:pt x="79" y="89"/>
                  </a:lnTo>
                  <a:lnTo>
                    <a:pt x="66" y="83"/>
                  </a:lnTo>
                  <a:lnTo>
                    <a:pt x="58" y="81"/>
                  </a:lnTo>
                  <a:lnTo>
                    <a:pt x="44" y="38"/>
                  </a:lnTo>
                  <a:lnTo>
                    <a:pt x="0" y="18"/>
                  </a:lnTo>
                  <a:lnTo>
                    <a:pt x="10" y="13"/>
                  </a:lnTo>
                  <a:lnTo>
                    <a:pt x="32" y="24"/>
                  </a:lnTo>
                  <a:lnTo>
                    <a:pt x="64" y="26"/>
                  </a:lnTo>
                  <a:lnTo>
                    <a:pt x="76" y="21"/>
                  </a:lnTo>
                  <a:lnTo>
                    <a:pt x="81" y="4"/>
                  </a:lnTo>
                  <a:lnTo>
                    <a:pt x="104" y="0"/>
                  </a:lnTo>
                  <a:lnTo>
                    <a:pt x="125" y="6"/>
                  </a:lnTo>
                  <a:lnTo>
                    <a:pt x="126" y="20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50" name="Freeform 107"/>
            <p:cNvSpPr>
              <a:spLocks noChangeAspect="1"/>
            </p:cNvSpPr>
            <p:nvPr/>
          </p:nvSpPr>
          <p:spPr bwMode="auto">
            <a:xfrm>
              <a:off x="4781339" y="1655463"/>
              <a:ext cx="89419" cy="58833"/>
            </a:xfrm>
            <a:custGeom>
              <a:avLst/>
              <a:gdLst>
                <a:gd name="T0" fmla="*/ 4 w 72"/>
                <a:gd name="T1" fmla="*/ 35 h 41"/>
                <a:gd name="T2" fmla="*/ 4 w 72"/>
                <a:gd name="T3" fmla="*/ 28 h 41"/>
                <a:gd name="T4" fmla="*/ 4 w 72"/>
                <a:gd name="T5" fmla="*/ 27 h 41"/>
                <a:gd name="T6" fmla="*/ 0 w 72"/>
                <a:gd name="T7" fmla="*/ 9 h 41"/>
                <a:gd name="T8" fmla="*/ 4 w 72"/>
                <a:gd name="T9" fmla="*/ 0 h 41"/>
                <a:gd name="T10" fmla="*/ 4 w 72"/>
                <a:gd name="T11" fmla="*/ 4 h 41"/>
                <a:gd name="T12" fmla="*/ 4 w 72"/>
                <a:gd name="T13" fmla="*/ 11 h 41"/>
                <a:gd name="T14" fmla="*/ 4 w 72"/>
                <a:gd name="T15" fmla="*/ 16 h 41"/>
                <a:gd name="T16" fmla="*/ 4 w 72"/>
                <a:gd name="T17" fmla="*/ 33 h 41"/>
                <a:gd name="T18" fmla="*/ 4 w 72"/>
                <a:gd name="T19" fmla="*/ 41 h 41"/>
                <a:gd name="T20" fmla="*/ 4 w 72"/>
                <a:gd name="T21" fmla="*/ 33 h 41"/>
                <a:gd name="T22" fmla="*/ 4 w 72"/>
                <a:gd name="T23" fmla="*/ 35 h 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2"/>
                <a:gd name="T37" fmla="*/ 0 h 41"/>
                <a:gd name="T38" fmla="*/ 72 w 72"/>
                <a:gd name="T39" fmla="*/ 41 h 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2" h="41">
                  <a:moveTo>
                    <a:pt x="17" y="35"/>
                  </a:moveTo>
                  <a:lnTo>
                    <a:pt x="16" y="28"/>
                  </a:lnTo>
                  <a:lnTo>
                    <a:pt x="6" y="27"/>
                  </a:lnTo>
                  <a:lnTo>
                    <a:pt x="0" y="9"/>
                  </a:lnTo>
                  <a:lnTo>
                    <a:pt x="39" y="0"/>
                  </a:lnTo>
                  <a:lnTo>
                    <a:pt x="72" y="4"/>
                  </a:lnTo>
                  <a:lnTo>
                    <a:pt x="69" y="11"/>
                  </a:lnTo>
                  <a:lnTo>
                    <a:pt x="56" y="16"/>
                  </a:lnTo>
                  <a:lnTo>
                    <a:pt x="71" y="33"/>
                  </a:lnTo>
                  <a:lnTo>
                    <a:pt x="67" y="41"/>
                  </a:lnTo>
                  <a:lnTo>
                    <a:pt x="29" y="33"/>
                  </a:lnTo>
                  <a:lnTo>
                    <a:pt x="17" y="35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51" name="Freeform 108"/>
            <p:cNvSpPr>
              <a:spLocks noChangeAspect="1"/>
            </p:cNvSpPr>
            <p:nvPr/>
          </p:nvSpPr>
          <p:spPr bwMode="auto">
            <a:xfrm>
              <a:off x="4733835" y="1702817"/>
              <a:ext cx="152292" cy="73183"/>
            </a:xfrm>
            <a:custGeom>
              <a:avLst/>
              <a:gdLst>
                <a:gd name="T0" fmla="*/ 0 w 121"/>
                <a:gd name="T1" fmla="*/ 41 h 51"/>
                <a:gd name="T2" fmla="*/ 1 w 121"/>
                <a:gd name="T3" fmla="*/ 28 h 51"/>
                <a:gd name="T4" fmla="*/ 5 w 121"/>
                <a:gd name="T5" fmla="*/ 10 h 51"/>
                <a:gd name="T6" fmla="*/ 5 w 121"/>
                <a:gd name="T7" fmla="*/ 8 h 51"/>
                <a:gd name="T8" fmla="*/ 5 w 121"/>
                <a:gd name="T9" fmla="*/ 22 h 51"/>
                <a:gd name="T10" fmla="*/ 5 w 121"/>
                <a:gd name="T11" fmla="*/ 17 h 51"/>
                <a:gd name="T12" fmla="*/ 5 w 121"/>
                <a:gd name="T13" fmla="*/ 2 h 51"/>
                <a:gd name="T14" fmla="*/ 5 w 121"/>
                <a:gd name="T15" fmla="*/ 0 h 51"/>
                <a:gd name="T16" fmla="*/ 5 w 121"/>
                <a:gd name="T17" fmla="*/ 8 h 51"/>
                <a:gd name="T18" fmla="*/ 5 w 121"/>
                <a:gd name="T19" fmla="*/ 39 h 51"/>
                <a:gd name="T20" fmla="*/ 5 w 121"/>
                <a:gd name="T21" fmla="*/ 51 h 51"/>
                <a:gd name="T22" fmla="*/ 5 w 121"/>
                <a:gd name="T23" fmla="*/ 33 h 51"/>
                <a:gd name="T24" fmla="*/ 5 w 121"/>
                <a:gd name="T25" fmla="*/ 34 h 51"/>
                <a:gd name="T26" fmla="*/ 0 w 121"/>
                <a:gd name="T27" fmla="*/ 41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1"/>
                <a:gd name="T43" fmla="*/ 0 h 51"/>
                <a:gd name="T44" fmla="*/ 121 w 121"/>
                <a:gd name="T45" fmla="*/ 51 h 5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1" h="51">
                  <a:moveTo>
                    <a:pt x="0" y="41"/>
                  </a:moveTo>
                  <a:lnTo>
                    <a:pt x="1" y="28"/>
                  </a:lnTo>
                  <a:lnTo>
                    <a:pt x="10" y="10"/>
                  </a:lnTo>
                  <a:lnTo>
                    <a:pt x="23" y="8"/>
                  </a:lnTo>
                  <a:lnTo>
                    <a:pt x="47" y="22"/>
                  </a:lnTo>
                  <a:lnTo>
                    <a:pt x="55" y="17"/>
                  </a:lnTo>
                  <a:lnTo>
                    <a:pt x="54" y="2"/>
                  </a:lnTo>
                  <a:lnTo>
                    <a:pt x="66" y="0"/>
                  </a:lnTo>
                  <a:lnTo>
                    <a:pt x="104" y="8"/>
                  </a:lnTo>
                  <a:lnTo>
                    <a:pt x="121" y="39"/>
                  </a:lnTo>
                  <a:lnTo>
                    <a:pt x="98" y="51"/>
                  </a:lnTo>
                  <a:lnTo>
                    <a:pt x="64" y="33"/>
                  </a:lnTo>
                  <a:lnTo>
                    <a:pt x="18" y="34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52" name="Freeform 109"/>
            <p:cNvSpPr>
              <a:spLocks noChangeAspect="1"/>
            </p:cNvSpPr>
            <p:nvPr/>
          </p:nvSpPr>
          <p:spPr bwMode="auto">
            <a:xfrm>
              <a:off x="4731040" y="1750171"/>
              <a:ext cx="127143" cy="74618"/>
            </a:xfrm>
            <a:custGeom>
              <a:avLst/>
              <a:gdLst>
                <a:gd name="T0" fmla="*/ 5 w 100"/>
                <a:gd name="T1" fmla="*/ 52 h 52"/>
                <a:gd name="T2" fmla="*/ 5 w 100"/>
                <a:gd name="T3" fmla="*/ 45 h 52"/>
                <a:gd name="T4" fmla="*/ 5 w 100"/>
                <a:gd name="T5" fmla="*/ 31 h 52"/>
                <a:gd name="T6" fmla="*/ 0 w 100"/>
                <a:gd name="T7" fmla="*/ 29 h 52"/>
                <a:gd name="T8" fmla="*/ 2 w 100"/>
                <a:gd name="T9" fmla="*/ 8 h 52"/>
                <a:gd name="T10" fmla="*/ 5 w 100"/>
                <a:gd name="T11" fmla="*/ 1 h 52"/>
                <a:gd name="T12" fmla="*/ 5 w 100"/>
                <a:gd name="T13" fmla="*/ 0 h 52"/>
                <a:gd name="T14" fmla="*/ 5 w 100"/>
                <a:gd name="T15" fmla="*/ 18 h 52"/>
                <a:gd name="T16" fmla="*/ 5 w 100"/>
                <a:gd name="T17" fmla="*/ 29 h 52"/>
                <a:gd name="T18" fmla="*/ 5 w 100"/>
                <a:gd name="T19" fmla="*/ 32 h 52"/>
                <a:gd name="T20" fmla="*/ 5 w 100"/>
                <a:gd name="T21" fmla="*/ 49 h 52"/>
                <a:gd name="T22" fmla="*/ 5 w 100"/>
                <a:gd name="T23" fmla="*/ 52 h 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0"/>
                <a:gd name="T37" fmla="*/ 0 h 52"/>
                <a:gd name="T38" fmla="*/ 100 w 100"/>
                <a:gd name="T39" fmla="*/ 52 h 5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0" h="52">
                  <a:moveTo>
                    <a:pt x="48" y="52"/>
                  </a:moveTo>
                  <a:lnTo>
                    <a:pt x="36" y="45"/>
                  </a:lnTo>
                  <a:lnTo>
                    <a:pt x="31" y="31"/>
                  </a:lnTo>
                  <a:lnTo>
                    <a:pt x="0" y="29"/>
                  </a:lnTo>
                  <a:lnTo>
                    <a:pt x="2" y="8"/>
                  </a:lnTo>
                  <a:lnTo>
                    <a:pt x="20" y="1"/>
                  </a:lnTo>
                  <a:lnTo>
                    <a:pt x="66" y="0"/>
                  </a:lnTo>
                  <a:lnTo>
                    <a:pt x="100" y="18"/>
                  </a:lnTo>
                  <a:lnTo>
                    <a:pt x="99" y="29"/>
                  </a:lnTo>
                  <a:lnTo>
                    <a:pt x="85" y="32"/>
                  </a:lnTo>
                  <a:lnTo>
                    <a:pt x="86" y="49"/>
                  </a:lnTo>
                  <a:lnTo>
                    <a:pt x="48" y="52"/>
                  </a:lnTo>
                  <a:close/>
                </a:path>
              </a:pathLst>
            </a:custGeom>
            <a:solidFill>
              <a:srgbClr val="A5B1B9">
                <a:lumMod val="75000"/>
              </a:srgbClr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53" name="Freeform 110"/>
            <p:cNvSpPr>
              <a:spLocks noChangeAspect="1"/>
            </p:cNvSpPr>
            <p:nvPr/>
          </p:nvSpPr>
          <p:spPr bwMode="auto">
            <a:xfrm>
              <a:off x="4462784" y="1717167"/>
              <a:ext cx="57284" cy="83228"/>
            </a:xfrm>
            <a:custGeom>
              <a:avLst/>
              <a:gdLst>
                <a:gd name="T0" fmla="*/ 4 w 46"/>
                <a:gd name="T1" fmla="*/ 58 h 58"/>
                <a:gd name="T2" fmla="*/ 4 w 46"/>
                <a:gd name="T3" fmla="*/ 58 h 58"/>
                <a:gd name="T4" fmla="*/ 4 w 46"/>
                <a:gd name="T5" fmla="*/ 58 h 58"/>
                <a:gd name="T6" fmla="*/ 4 w 46"/>
                <a:gd name="T7" fmla="*/ 34 h 58"/>
                <a:gd name="T8" fmla="*/ 4 w 46"/>
                <a:gd name="T9" fmla="*/ 30 h 58"/>
                <a:gd name="T10" fmla="*/ 4 w 46"/>
                <a:gd name="T11" fmla="*/ 23 h 58"/>
                <a:gd name="T12" fmla="*/ 4 w 46"/>
                <a:gd name="T13" fmla="*/ 23 h 58"/>
                <a:gd name="T14" fmla="*/ 4 w 46"/>
                <a:gd name="T15" fmla="*/ 0 h 58"/>
                <a:gd name="T16" fmla="*/ 4 w 46"/>
                <a:gd name="T17" fmla="*/ 11 h 58"/>
                <a:gd name="T18" fmla="*/ 0 w 46"/>
                <a:gd name="T19" fmla="*/ 23 h 58"/>
                <a:gd name="T20" fmla="*/ 1 w 46"/>
                <a:gd name="T21" fmla="*/ 42 h 58"/>
                <a:gd name="T22" fmla="*/ 4 w 46"/>
                <a:gd name="T23" fmla="*/ 48 h 58"/>
                <a:gd name="T24" fmla="*/ 4 w 46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6"/>
                <a:gd name="T40" fmla="*/ 0 h 58"/>
                <a:gd name="T41" fmla="*/ 46 w 46"/>
                <a:gd name="T42" fmla="*/ 58 h 5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6" h="58">
                  <a:moveTo>
                    <a:pt x="12" y="58"/>
                  </a:moveTo>
                  <a:lnTo>
                    <a:pt x="23" y="58"/>
                  </a:lnTo>
                  <a:lnTo>
                    <a:pt x="24" y="58"/>
                  </a:lnTo>
                  <a:lnTo>
                    <a:pt x="34" y="34"/>
                  </a:lnTo>
                  <a:lnTo>
                    <a:pt x="46" y="30"/>
                  </a:lnTo>
                  <a:lnTo>
                    <a:pt x="46" y="23"/>
                  </a:lnTo>
                  <a:lnTo>
                    <a:pt x="36" y="23"/>
                  </a:lnTo>
                  <a:lnTo>
                    <a:pt x="40" y="0"/>
                  </a:lnTo>
                  <a:lnTo>
                    <a:pt x="10" y="11"/>
                  </a:lnTo>
                  <a:lnTo>
                    <a:pt x="0" y="23"/>
                  </a:lnTo>
                  <a:lnTo>
                    <a:pt x="1" y="42"/>
                  </a:lnTo>
                  <a:lnTo>
                    <a:pt x="10" y="48"/>
                  </a:lnTo>
                  <a:lnTo>
                    <a:pt x="12" y="5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54" name="Freeform 111"/>
            <p:cNvSpPr>
              <a:spLocks noChangeAspect="1"/>
            </p:cNvSpPr>
            <p:nvPr/>
          </p:nvSpPr>
          <p:spPr bwMode="auto">
            <a:xfrm>
              <a:off x="4487933" y="1986940"/>
              <a:ext cx="173249" cy="78923"/>
            </a:xfrm>
            <a:custGeom>
              <a:avLst/>
              <a:gdLst>
                <a:gd name="T0" fmla="*/ 0 w 138"/>
                <a:gd name="T1" fmla="*/ 33 h 55"/>
                <a:gd name="T2" fmla="*/ 4 w 138"/>
                <a:gd name="T3" fmla="*/ 35 h 55"/>
                <a:gd name="T4" fmla="*/ 4 w 138"/>
                <a:gd name="T5" fmla="*/ 40 h 55"/>
                <a:gd name="T6" fmla="*/ 4 w 138"/>
                <a:gd name="T7" fmla="*/ 45 h 55"/>
                <a:gd name="T8" fmla="*/ 4 w 138"/>
                <a:gd name="T9" fmla="*/ 47 h 55"/>
                <a:gd name="T10" fmla="*/ 4 w 138"/>
                <a:gd name="T11" fmla="*/ 47 h 55"/>
                <a:gd name="T12" fmla="*/ 4 w 138"/>
                <a:gd name="T13" fmla="*/ 42 h 55"/>
                <a:gd name="T14" fmla="*/ 4 w 138"/>
                <a:gd name="T15" fmla="*/ 48 h 55"/>
                <a:gd name="T16" fmla="*/ 4 w 138"/>
                <a:gd name="T17" fmla="*/ 55 h 55"/>
                <a:gd name="T18" fmla="*/ 4 w 138"/>
                <a:gd name="T19" fmla="*/ 46 h 55"/>
                <a:gd name="T20" fmla="*/ 4 w 138"/>
                <a:gd name="T21" fmla="*/ 19 h 55"/>
                <a:gd name="T22" fmla="*/ 4 w 138"/>
                <a:gd name="T23" fmla="*/ 3 h 55"/>
                <a:gd name="T24" fmla="*/ 4 w 138"/>
                <a:gd name="T25" fmla="*/ 0 h 55"/>
                <a:gd name="T26" fmla="*/ 4 w 138"/>
                <a:gd name="T27" fmla="*/ 7 h 55"/>
                <a:gd name="T28" fmla="*/ 4 w 138"/>
                <a:gd name="T29" fmla="*/ 4 h 55"/>
                <a:gd name="T30" fmla="*/ 4 w 138"/>
                <a:gd name="T31" fmla="*/ 19 h 55"/>
                <a:gd name="T32" fmla="*/ 4 w 138"/>
                <a:gd name="T33" fmla="*/ 28 h 55"/>
                <a:gd name="T34" fmla="*/ 0 w 138"/>
                <a:gd name="T35" fmla="*/ 33 h 5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55"/>
                <a:gd name="T56" fmla="*/ 138 w 138"/>
                <a:gd name="T57" fmla="*/ 55 h 5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55">
                  <a:moveTo>
                    <a:pt x="0" y="33"/>
                  </a:moveTo>
                  <a:lnTo>
                    <a:pt x="5" y="35"/>
                  </a:lnTo>
                  <a:lnTo>
                    <a:pt x="8" y="40"/>
                  </a:lnTo>
                  <a:lnTo>
                    <a:pt x="7" y="45"/>
                  </a:lnTo>
                  <a:lnTo>
                    <a:pt x="17" y="47"/>
                  </a:lnTo>
                  <a:lnTo>
                    <a:pt x="19" y="47"/>
                  </a:lnTo>
                  <a:lnTo>
                    <a:pt x="48" y="42"/>
                  </a:lnTo>
                  <a:lnTo>
                    <a:pt x="50" y="48"/>
                  </a:lnTo>
                  <a:lnTo>
                    <a:pt x="76" y="55"/>
                  </a:lnTo>
                  <a:lnTo>
                    <a:pt x="119" y="46"/>
                  </a:lnTo>
                  <a:lnTo>
                    <a:pt x="138" y="19"/>
                  </a:lnTo>
                  <a:lnTo>
                    <a:pt x="130" y="3"/>
                  </a:lnTo>
                  <a:lnTo>
                    <a:pt x="100" y="0"/>
                  </a:lnTo>
                  <a:lnTo>
                    <a:pt x="94" y="7"/>
                  </a:lnTo>
                  <a:lnTo>
                    <a:pt x="77" y="4"/>
                  </a:lnTo>
                  <a:lnTo>
                    <a:pt x="60" y="19"/>
                  </a:lnTo>
                  <a:lnTo>
                    <a:pt x="62" y="28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55" name="Freeform 112"/>
            <p:cNvSpPr>
              <a:spLocks noChangeAspect="1"/>
            </p:cNvSpPr>
            <p:nvPr/>
          </p:nvSpPr>
          <p:spPr bwMode="auto">
            <a:xfrm>
              <a:off x="4411088" y="2029988"/>
              <a:ext cx="97802" cy="55964"/>
            </a:xfrm>
            <a:custGeom>
              <a:avLst/>
              <a:gdLst>
                <a:gd name="T0" fmla="*/ 4 w 78"/>
                <a:gd name="T1" fmla="*/ 39 h 39"/>
                <a:gd name="T2" fmla="*/ 4 w 78"/>
                <a:gd name="T3" fmla="*/ 27 h 39"/>
                <a:gd name="T4" fmla="*/ 2 w 78"/>
                <a:gd name="T5" fmla="*/ 32 h 39"/>
                <a:gd name="T6" fmla="*/ 0 w 78"/>
                <a:gd name="T7" fmla="*/ 25 h 39"/>
                <a:gd name="T8" fmla="*/ 4 w 78"/>
                <a:gd name="T9" fmla="*/ 2 h 39"/>
                <a:gd name="T10" fmla="*/ 4 w 78"/>
                <a:gd name="T11" fmla="*/ 0 h 39"/>
                <a:gd name="T12" fmla="*/ 4 w 78"/>
                <a:gd name="T13" fmla="*/ 3 h 39"/>
                <a:gd name="T14" fmla="*/ 4 w 78"/>
                <a:gd name="T15" fmla="*/ 15 h 39"/>
                <a:gd name="T16" fmla="*/ 4 w 78"/>
                <a:gd name="T17" fmla="*/ 17 h 39"/>
                <a:gd name="T18" fmla="*/ 4 w 78"/>
                <a:gd name="T19" fmla="*/ 29 h 39"/>
                <a:gd name="T20" fmla="*/ 4 w 78"/>
                <a:gd name="T21" fmla="*/ 27 h 39"/>
                <a:gd name="T22" fmla="*/ 4 w 78"/>
                <a:gd name="T23" fmla="*/ 36 h 39"/>
                <a:gd name="T24" fmla="*/ 4 w 78"/>
                <a:gd name="T25" fmla="*/ 28 h 39"/>
                <a:gd name="T26" fmla="*/ 4 w 78"/>
                <a:gd name="T27" fmla="*/ 39 h 3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8"/>
                <a:gd name="T43" fmla="*/ 0 h 39"/>
                <a:gd name="T44" fmla="*/ 78 w 78"/>
                <a:gd name="T45" fmla="*/ 39 h 3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8" h="39">
                  <a:moveTo>
                    <a:pt x="17" y="39"/>
                  </a:moveTo>
                  <a:lnTo>
                    <a:pt x="12" y="27"/>
                  </a:lnTo>
                  <a:lnTo>
                    <a:pt x="2" y="32"/>
                  </a:lnTo>
                  <a:lnTo>
                    <a:pt x="0" y="25"/>
                  </a:lnTo>
                  <a:lnTo>
                    <a:pt x="17" y="2"/>
                  </a:lnTo>
                  <a:lnTo>
                    <a:pt x="28" y="0"/>
                  </a:lnTo>
                  <a:lnTo>
                    <a:pt x="61" y="3"/>
                  </a:lnTo>
                  <a:lnTo>
                    <a:pt x="68" y="15"/>
                  </a:lnTo>
                  <a:lnTo>
                    <a:pt x="78" y="17"/>
                  </a:lnTo>
                  <a:lnTo>
                    <a:pt x="72" y="29"/>
                  </a:lnTo>
                  <a:lnTo>
                    <a:pt x="60" y="27"/>
                  </a:lnTo>
                  <a:lnTo>
                    <a:pt x="53" y="36"/>
                  </a:lnTo>
                  <a:lnTo>
                    <a:pt x="43" y="28"/>
                  </a:lnTo>
                  <a:lnTo>
                    <a:pt x="17" y="3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56" name="Freeform 113"/>
            <p:cNvSpPr>
              <a:spLocks noChangeAspect="1"/>
            </p:cNvSpPr>
            <p:nvPr/>
          </p:nvSpPr>
          <p:spPr bwMode="auto">
            <a:xfrm>
              <a:off x="6796059" y="1247934"/>
              <a:ext cx="64270" cy="21524"/>
            </a:xfrm>
            <a:custGeom>
              <a:avLst/>
              <a:gdLst>
                <a:gd name="T0" fmla="*/ 2 w 51"/>
                <a:gd name="T1" fmla="*/ 8 h 15"/>
                <a:gd name="T2" fmla="*/ 5 w 51"/>
                <a:gd name="T3" fmla="*/ 15 h 15"/>
                <a:gd name="T4" fmla="*/ 5 w 51"/>
                <a:gd name="T5" fmla="*/ 0 h 15"/>
                <a:gd name="T6" fmla="*/ 0 w 51"/>
                <a:gd name="T7" fmla="*/ 2 h 15"/>
                <a:gd name="T8" fmla="*/ 2 w 51"/>
                <a:gd name="T9" fmla="*/ 8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1"/>
                <a:gd name="T16" fmla="*/ 0 h 15"/>
                <a:gd name="T17" fmla="*/ 51 w 51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1" h="15">
                  <a:moveTo>
                    <a:pt x="2" y="8"/>
                  </a:moveTo>
                  <a:lnTo>
                    <a:pt x="51" y="15"/>
                  </a:lnTo>
                  <a:lnTo>
                    <a:pt x="16" y="0"/>
                  </a:lnTo>
                  <a:lnTo>
                    <a:pt x="0" y="2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57" name="Freeform 114"/>
            <p:cNvSpPr>
              <a:spLocks noChangeAspect="1"/>
            </p:cNvSpPr>
            <p:nvPr/>
          </p:nvSpPr>
          <p:spPr bwMode="auto">
            <a:xfrm>
              <a:off x="6768116" y="1239325"/>
              <a:ext cx="22355" cy="7175"/>
            </a:xfrm>
            <a:custGeom>
              <a:avLst/>
              <a:gdLst>
                <a:gd name="T0" fmla="*/ 0 w 18"/>
                <a:gd name="T1" fmla="*/ 0 h 5"/>
                <a:gd name="T2" fmla="*/ 4 w 18"/>
                <a:gd name="T3" fmla="*/ 5 h 5"/>
                <a:gd name="T4" fmla="*/ 0 w 18"/>
                <a:gd name="T5" fmla="*/ 0 h 5"/>
                <a:gd name="T6" fmla="*/ 0 60000 65536"/>
                <a:gd name="T7" fmla="*/ 0 60000 65536"/>
                <a:gd name="T8" fmla="*/ 0 60000 65536"/>
                <a:gd name="T9" fmla="*/ 0 w 18"/>
                <a:gd name="T10" fmla="*/ 0 h 5"/>
                <a:gd name="T11" fmla="*/ 18 w 18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5">
                  <a:moveTo>
                    <a:pt x="0" y="0"/>
                  </a:moveTo>
                  <a:lnTo>
                    <a:pt x="18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58" name="Freeform 115"/>
            <p:cNvSpPr>
              <a:spLocks noChangeAspect="1"/>
            </p:cNvSpPr>
            <p:nvPr/>
          </p:nvSpPr>
          <p:spPr bwMode="auto">
            <a:xfrm>
              <a:off x="6670314" y="1190536"/>
              <a:ext cx="143909" cy="38744"/>
            </a:xfrm>
            <a:custGeom>
              <a:avLst/>
              <a:gdLst>
                <a:gd name="T0" fmla="*/ 5 w 114"/>
                <a:gd name="T1" fmla="*/ 16 h 27"/>
                <a:gd name="T2" fmla="*/ 5 w 114"/>
                <a:gd name="T3" fmla="*/ 27 h 27"/>
                <a:gd name="T4" fmla="*/ 5 w 114"/>
                <a:gd name="T5" fmla="*/ 25 h 27"/>
                <a:gd name="T6" fmla="*/ 5 w 114"/>
                <a:gd name="T7" fmla="*/ 14 h 27"/>
                <a:gd name="T8" fmla="*/ 5 w 114"/>
                <a:gd name="T9" fmla="*/ 0 h 27"/>
                <a:gd name="T10" fmla="*/ 5 w 114"/>
                <a:gd name="T11" fmla="*/ 8 h 27"/>
                <a:gd name="T12" fmla="*/ 5 w 114"/>
                <a:gd name="T13" fmla="*/ 0 h 27"/>
                <a:gd name="T14" fmla="*/ 0 w 114"/>
                <a:gd name="T15" fmla="*/ 5 h 27"/>
                <a:gd name="T16" fmla="*/ 5 w 114"/>
                <a:gd name="T17" fmla="*/ 16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4"/>
                <a:gd name="T28" fmla="*/ 0 h 27"/>
                <a:gd name="T29" fmla="*/ 114 w 114"/>
                <a:gd name="T30" fmla="*/ 27 h 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4" h="27">
                  <a:moveTo>
                    <a:pt x="12" y="16"/>
                  </a:moveTo>
                  <a:lnTo>
                    <a:pt x="54" y="27"/>
                  </a:lnTo>
                  <a:lnTo>
                    <a:pt x="99" y="25"/>
                  </a:lnTo>
                  <a:lnTo>
                    <a:pt x="114" y="14"/>
                  </a:lnTo>
                  <a:lnTo>
                    <a:pt x="53" y="0"/>
                  </a:lnTo>
                  <a:lnTo>
                    <a:pt x="51" y="8"/>
                  </a:lnTo>
                  <a:lnTo>
                    <a:pt x="13" y="0"/>
                  </a:lnTo>
                  <a:lnTo>
                    <a:pt x="0" y="5"/>
                  </a:lnTo>
                  <a:lnTo>
                    <a:pt x="12" y="1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59" name="Freeform 116"/>
            <p:cNvSpPr>
              <a:spLocks noChangeAspect="1"/>
            </p:cNvSpPr>
            <p:nvPr/>
          </p:nvSpPr>
          <p:spPr bwMode="auto">
            <a:xfrm>
              <a:off x="5977317" y="1113048"/>
              <a:ext cx="81036" cy="34439"/>
            </a:xfrm>
            <a:custGeom>
              <a:avLst/>
              <a:gdLst>
                <a:gd name="T0" fmla="*/ 1 w 66"/>
                <a:gd name="T1" fmla="*/ 24 h 24"/>
                <a:gd name="T2" fmla="*/ 4 w 66"/>
                <a:gd name="T3" fmla="*/ 18 h 24"/>
                <a:gd name="T4" fmla="*/ 4 w 66"/>
                <a:gd name="T5" fmla="*/ 9 h 24"/>
                <a:gd name="T6" fmla="*/ 4 w 66"/>
                <a:gd name="T7" fmla="*/ 0 h 24"/>
                <a:gd name="T8" fmla="*/ 0 w 66"/>
                <a:gd name="T9" fmla="*/ 2 h 24"/>
                <a:gd name="T10" fmla="*/ 1 w 66"/>
                <a:gd name="T11" fmla="*/ 24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6"/>
                <a:gd name="T19" fmla="*/ 0 h 24"/>
                <a:gd name="T20" fmla="*/ 66 w 66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6" h="24">
                  <a:moveTo>
                    <a:pt x="1" y="24"/>
                  </a:moveTo>
                  <a:lnTo>
                    <a:pt x="66" y="18"/>
                  </a:lnTo>
                  <a:lnTo>
                    <a:pt x="55" y="9"/>
                  </a:lnTo>
                  <a:lnTo>
                    <a:pt x="9" y="0"/>
                  </a:lnTo>
                  <a:lnTo>
                    <a:pt x="0" y="2"/>
                  </a:lnTo>
                  <a:lnTo>
                    <a:pt x="1" y="2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60" name="Freeform 117"/>
            <p:cNvSpPr>
              <a:spLocks noChangeAspect="1"/>
            </p:cNvSpPr>
            <p:nvPr/>
          </p:nvSpPr>
          <p:spPr bwMode="auto">
            <a:xfrm>
              <a:off x="5794287" y="1072869"/>
              <a:ext cx="170455" cy="53094"/>
            </a:xfrm>
            <a:custGeom>
              <a:avLst/>
              <a:gdLst>
                <a:gd name="T0" fmla="*/ 0 w 133"/>
                <a:gd name="T1" fmla="*/ 17 h 37"/>
                <a:gd name="T2" fmla="*/ 6 w 133"/>
                <a:gd name="T3" fmla="*/ 33 h 37"/>
                <a:gd name="T4" fmla="*/ 6 w 133"/>
                <a:gd name="T5" fmla="*/ 37 h 37"/>
                <a:gd name="T6" fmla="*/ 6 w 133"/>
                <a:gd name="T7" fmla="*/ 30 h 37"/>
                <a:gd name="T8" fmla="*/ 6 w 133"/>
                <a:gd name="T9" fmla="*/ 23 h 37"/>
                <a:gd name="T10" fmla="*/ 6 w 133"/>
                <a:gd name="T11" fmla="*/ 0 h 37"/>
                <a:gd name="T12" fmla="*/ 6 w 133"/>
                <a:gd name="T13" fmla="*/ 5 h 37"/>
                <a:gd name="T14" fmla="*/ 6 w 133"/>
                <a:gd name="T15" fmla="*/ 11 h 37"/>
                <a:gd name="T16" fmla="*/ 0 w 133"/>
                <a:gd name="T17" fmla="*/ 17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3"/>
                <a:gd name="T28" fmla="*/ 0 h 37"/>
                <a:gd name="T29" fmla="*/ 133 w 133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3" h="37">
                  <a:moveTo>
                    <a:pt x="0" y="17"/>
                  </a:moveTo>
                  <a:lnTo>
                    <a:pt x="61" y="33"/>
                  </a:lnTo>
                  <a:lnTo>
                    <a:pt x="133" y="37"/>
                  </a:lnTo>
                  <a:lnTo>
                    <a:pt x="121" y="30"/>
                  </a:lnTo>
                  <a:lnTo>
                    <a:pt x="121" y="23"/>
                  </a:lnTo>
                  <a:lnTo>
                    <a:pt x="35" y="0"/>
                  </a:lnTo>
                  <a:lnTo>
                    <a:pt x="10" y="5"/>
                  </a:lnTo>
                  <a:lnTo>
                    <a:pt x="12" y="11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61" name="Freeform 118"/>
            <p:cNvSpPr>
              <a:spLocks noChangeAspect="1"/>
            </p:cNvSpPr>
            <p:nvPr/>
          </p:nvSpPr>
          <p:spPr bwMode="auto">
            <a:xfrm>
              <a:off x="5250788" y="1170446"/>
              <a:ext cx="245902" cy="163586"/>
            </a:xfrm>
            <a:custGeom>
              <a:avLst/>
              <a:gdLst>
                <a:gd name="T0" fmla="*/ 3 w 196"/>
                <a:gd name="T1" fmla="*/ 98 h 114"/>
                <a:gd name="T2" fmla="*/ 4 w 196"/>
                <a:gd name="T3" fmla="*/ 111 h 114"/>
                <a:gd name="T4" fmla="*/ 4 w 196"/>
                <a:gd name="T5" fmla="*/ 114 h 114"/>
                <a:gd name="T6" fmla="*/ 4 w 196"/>
                <a:gd name="T7" fmla="*/ 99 h 114"/>
                <a:gd name="T8" fmla="*/ 4 w 196"/>
                <a:gd name="T9" fmla="*/ 81 h 114"/>
                <a:gd name="T10" fmla="*/ 4 w 196"/>
                <a:gd name="T11" fmla="*/ 73 h 114"/>
                <a:gd name="T12" fmla="*/ 4 w 196"/>
                <a:gd name="T13" fmla="*/ 35 h 114"/>
                <a:gd name="T14" fmla="*/ 4 w 196"/>
                <a:gd name="T15" fmla="*/ 12 h 114"/>
                <a:gd name="T16" fmla="*/ 4 w 196"/>
                <a:gd name="T17" fmla="*/ 3 h 114"/>
                <a:gd name="T18" fmla="*/ 4 w 196"/>
                <a:gd name="T19" fmla="*/ 0 h 114"/>
                <a:gd name="T20" fmla="*/ 4 w 196"/>
                <a:gd name="T21" fmla="*/ 11 h 114"/>
                <a:gd name="T22" fmla="*/ 4 w 196"/>
                <a:gd name="T23" fmla="*/ 13 h 114"/>
                <a:gd name="T24" fmla="*/ 4 w 196"/>
                <a:gd name="T25" fmla="*/ 34 h 114"/>
                <a:gd name="T26" fmla="*/ 4 w 196"/>
                <a:gd name="T27" fmla="*/ 49 h 114"/>
                <a:gd name="T28" fmla="*/ 4 w 196"/>
                <a:gd name="T29" fmla="*/ 58 h 114"/>
                <a:gd name="T30" fmla="*/ 4 w 196"/>
                <a:gd name="T31" fmla="*/ 64 h 114"/>
                <a:gd name="T32" fmla="*/ 4 w 196"/>
                <a:gd name="T33" fmla="*/ 77 h 114"/>
                <a:gd name="T34" fmla="*/ 4 w 196"/>
                <a:gd name="T35" fmla="*/ 83 h 114"/>
                <a:gd name="T36" fmla="*/ 0 w 196"/>
                <a:gd name="T37" fmla="*/ 88 h 114"/>
                <a:gd name="T38" fmla="*/ 3 w 196"/>
                <a:gd name="T39" fmla="*/ 98 h 11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6"/>
                <a:gd name="T61" fmla="*/ 0 h 114"/>
                <a:gd name="T62" fmla="*/ 196 w 196"/>
                <a:gd name="T63" fmla="*/ 114 h 11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6" h="114">
                  <a:moveTo>
                    <a:pt x="3" y="98"/>
                  </a:moveTo>
                  <a:lnTo>
                    <a:pt x="40" y="111"/>
                  </a:lnTo>
                  <a:lnTo>
                    <a:pt x="97" y="114"/>
                  </a:lnTo>
                  <a:lnTo>
                    <a:pt x="63" y="99"/>
                  </a:lnTo>
                  <a:lnTo>
                    <a:pt x="52" y="81"/>
                  </a:lnTo>
                  <a:lnTo>
                    <a:pt x="57" y="73"/>
                  </a:lnTo>
                  <a:lnTo>
                    <a:pt x="102" y="35"/>
                  </a:lnTo>
                  <a:lnTo>
                    <a:pt x="196" y="12"/>
                  </a:lnTo>
                  <a:lnTo>
                    <a:pt x="194" y="3"/>
                  </a:lnTo>
                  <a:lnTo>
                    <a:pt x="174" y="0"/>
                  </a:lnTo>
                  <a:lnTo>
                    <a:pt x="147" y="11"/>
                  </a:lnTo>
                  <a:lnTo>
                    <a:pt x="94" y="13"/>
                  </a:lnTo>
                  <a:lnTo>
                    <a:pt x="32" y="34"/>
                  </a:lnTo>
                  <a:lnTo>
                    <a:pt x="29" y="49"/>
                  </a:lnTo>
                  <a:lnTo>
                    <a:pt x="18" y="58"/>
                  </a:lnTo>
                  <a:lnTo>
                    <a:pt x="26" y="64"/>
                  </a:lnTo>
                  <a:lnTo>
                    <a:pt x="7" y="77"/>
                  </a:lnTo>
                  <a:lnTo>
                    <a:pt x="13" y="83"/>
                  </a:lnTo>
                  <a:lnTo>
                    <a:pt x="0" y="88"/>
                  </a:lnTo>
                  <a:lnTo>
                    <a:pt x="3" y="9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62" name="Freeform 119"/>
            <p:cNvSpPr>
              <a:spLocks noChangeAspect="1"/>
            </p:cNvSpPr>
            <p:nvPr/>
          </p:nvSpPr>
          <p:spPr bwMode="auto">
            <a:xfrm>
              <a:off x="5217256" y="1365601"/>
              <a:ext cx="34929" cy="21524"/>
            </a:xfrm>
            <a:custGeom>
              <a:avLst/>
              <a:gdLst>
                <a:gd name="T0" fmla="*/ 4 w 28"/>
                <a:gd name="T1" fmla="*/ 15 h 15"/>
                <a:gd name="T2" fmla="*/ 4 w 28"/>
                <a:gd name="T3" fmla="*/ 13 h 15"/>
                <a:gd name="T4" fmla="*/ 4 w 28"/>
                <a:gd name="T5" fmla="*/ 6 h 15"/>
                <a:gd name="T6" fmla="*/ 4 w 28"/>
                <a:gd name="T7" fmla="*/ 0 h 15"/>
                <a:gd name="T8" fmla="*/ 0 w 28"/>
                <a:gd name="T9" fmla="*/ 6 h 15"/>
                <a:gd name="T10" fmla="*/ 4 w 28"/>
                <a:gd name="T11" fmla="*/ 15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8"/>
                <a:gd name="T19" fmla="*/ 0 h 15"/>
                <a:gd name="T20" fmla="*/ 28 w 28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8" h="15">
                  <a:moveTo>
                    <a:pt x="7" y="15"/>
                  </a:moveTo>
                  <a:lnTo>
                    <a:pt x="24" y="13"/>
                  </a:lnTo>
                  <a:lnTo>
                    <a:pt x="28" y="6"/>
                  </a:lnTo>
                  <a:lnTo>
                    <a:pt x="9" y="0"/>
                  </a:lnTo>
                  <a:lnTo>
                    <a:pt x="0" y="6"/>
                  </a:lnTo>
                  <a:lnTo>
                    <a:pt x="7" y="1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63" name="Freeform 120"/>
            <p:cNvSpPr>
              <a:spLocks noChangeAspect="1"/>
            </p:cNvSpPr>
            <p:nvPr/>
          </p:nvSpPr>
          <p:spPr bwMode="auto">
            <a:xfrm>
              <a:off x="4142831" y="1688468"/>
              <a:ext cx="26546" cy="28699"/>
            </a:xfrm>
            <a:custGeom>
              <a:avLst/>
              <a:gdLst>
                <a:gd name="T0" fmla="*/ 0 w 21"/>
                <a:gd name="T1" fmla="*/ 20 h 20"/>
                <a:gd name="T2" fmla="*/ 5 w 21"/>
                <a:gd name="T3" fmla="*/ 18 h 20"/>
                <a:gd name="T4" fmla="*/ 5 w 21"/>
                <a:gd name="T5" fmla="*/ 0 h 20"/>
                <a:gd name="T6" fmla="*/ 5 w 21"/>
                <a:gd name="T7" fmla="*/ 8 h 20"/>
                <a:gd name="T8" fmla="*/ 0 w 21"/>
                <a:gd name="T9" fmla="*/ 20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0"/>
                <a:gd name="T17" fmla="*/ 21 w 21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0">
                  <a:moveTo>
                    <a:pt x="0" y="20"/>
                  </a:moveTo>
                  <a:lnTo>
                    <a:pt x="9" y="18"/>
                  </a:lnTo>
                  <a:lnTo>
                    <a:pt x="21" y="0"/>
                  </a:lnTo>
                  <a:lnTo>
                    <a:pt x="6" y="8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64" name="Freeform 121"/>
            <p:cNvSpPr>
              <a:spLocks noChangeAspect="1"/>
            </p:cNvSpPr>
            <p:nvPr/>
          </p:nvSpPr>
          <p:spPr bwMode="auto">
            <a:xfrm>
              <a:off x="4749204" y="1685598"/>
              <a:ext cx="27943" cy="15785"/>
            </a:xfrm>
            <a:custGeom>
              <a:avLst/>
              <a:gdLst>
                <a:gd name="T0" fmla="*/ 0 w 22"/>
                <a:gd name="T1" fmla="*/ 6 h 11"/>
                <a:gd name="T2" fmla="*/ 5 w 22"/>
                <a:gd name="T3" fmla="*/ 11 h 11"/>
                <a:gd name="T4" fmla="*/ 5 w 22"/>
                <a:gd name="T5" fmla="*/ 2 h 11"/>
                <a:gd name="T6" fmla="*/ 5 w 22"/>
                <a:gd name="T7" fmla="*/ 0 h 11"/>
                <a:gd name="T8" fmla="*/ 0 w 22"/>
                <a:gd name="T9" fmla="*/ 6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11"/>
                <a:gd name="T17" fmla="*/ 22 w 22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11">
                  <a:moveTo>
                    <a:pt x="0" y="6"/>
                  </a:moveTo>
                  <a:lnTo>
                    <a:pt x="6" y="11"/>
                  </a:lnTo>
                  <a:lnTo>
                    <a:pt x="22" y="2"/>
                  </a:lnTo>
                  <a:lnTo>
                    <a:pt x="7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65" name="Freeform 122"/>
            <p:cNvSpPr>
              <a:spLocks noChangeAspect="1"/>
            </p:cNvSpPr>
            <p:nvPr/>
          </p:nvSpPr>
          <p:spPr bwMode="auto">
            <a:xfrm>
              <a:off x="4756189" y="1671248"/>
              <a:ext cx="15369" cy="7175"/>
            </a:xfrm>
            <a:custGeom>
              <a:avLst/>
              <a:gdLst>
                <a:gd name="T0" fmla="*/ 0 w 11"/>
                <a:gd name="T1" fmla="*/ 4 h 5"/>
                <a:gd name="T2" fmla="*/ 11 w 11"/>
                <a:gd name="T3" fmla="*/ 5 h 5"/>
                <a:gd name="T4" fmla="*/ 2 w 11"/>
                <a:gd name="T5" fmla="*/ 0 h 5"/>
                <a:gd name="T6" fmla="*/ 0 w 11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5"/>
                <a:gd name="T14" fmla="*/ 11 w 11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5">
                  <a:moveTo>
                    <a:pt x="0" y="4"/>
                  </a:moveTo>
                  <a:lnTo>
                    <a:pt x="11" y="5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66" name="Freeform 123"/>
            <p:cNvSpPr>
              <a:spLocks noChangeAspect="1"/>
            </p:cNvSpPr>
            <p:nvPr/>
          </p:nvSpPr>
          <p:spPr bwMode="auto">
            <a:xfrm>
              <a:off x="4156803" y="1685598"/>
              <a:ext cx="166263" cy="265468"/>
            </a:xfrm>
            <a:custGeom>
              <a:avLst/>
              <a:gdLst>
                <a:gd name="T0" fmla="*/ 0 w 133"/>
                <a:gd name="T1" fmla="*/ 185 h 185"/>
                <a:gd name="T2" fmla="*/ 4 w 133"/>
                <a:gd name="T3" fmla="*/ 179 h 185"/>
                <a:gd name="T4" fmla="*/ 4 w 133"/>
                <a:gd name="T5" fmla="*/ 183 h 185"/>
                <a:gd name="T6" fmla="*/ 4 w 133"/>
                <a:gd name="T7" fmla="*/ 174 h 185"/>
                <a:gd name="T8" fmla="*/ 4 w 133"/>
                <a:gd name="T9" fmla="*/ 172 h 185"/>
                <a:gd name="T10" fmla="*/ 4 w 133"/>
                <a:gd name="T11" fmla="*/ 176 h 185"/>
                <a:gd name="T12" fmla="*/ 4 w 133"/>
                <a:gd name="T13" fmla="*/ 168 h 185"/>
                <a:gd name="T14" fmla="*/ 4 w 133"/>
                <a:gd name="T15" fmla="*/ 159 h 185"/>
                <a:gd name="T16" fmla="*/ 4 w 133"/>
                <a:gd name="T17" fmla="*/ 157 h 185"/>
                <a:gd name="T18" fmla="*/ 4 w 133"/>
                <a:gd name="T19" fmla="*/ 133 h 185"/>
                <a:gd name="T20" fmla="*/ 4 w 133"/>
                <a:gd name="T21" fmla="*/ 122 h 185"/>
                <a:gd name="T22" fmla="*/ 4 w 133"/>
                <a:gd name="T23" fmla="*/ 125 h 185"/>
                <a:gd name="T24" fmla="*/ 4 w 133"/>
                <a:gd name="T25" fmla="*/ 119 h 185"/>
                <a:gd name="T26" fmla="*/ 4 w 133"/>
                <a:gd name="T27" fmla="*/ 90 h 185"/>
                <a:gd name="T28" fmla="*/ 4 w 133"/>
                <a:gd name="T29" fmla="*/ 86 h 185"/>
                <a:gd name="T30" fmla="*/ 4 w 133"/>
                <a:gd name="T31" fmla="*/ 59 h 185"/>
                <a:gd name="T32" fmla="*/ 4 w 133"/>
                <a:gd name="T33" fmla="*/ 56 h 185"/>
                <a:gd name="T34" fmla="*/ 4 w 133"/>
                <a:gd name="T35" fmla="*/ 26 h 185"/>
                <a:gd name="T36" fmla="*/ 4 w 133"/>
                <a:gd name="T37" fmla="*/ 20 h 185"/>
                <a:gd name="T38" fmla="*/ 4 w 133"/>
                <a:gd name="T39" fmla="*/ 22 h 185"/>
                <a:gd name="T40" fmla="*/ 4 w 133"/>
                <a:gd name="T41" fmla="*/ 6 h 185"/>
                <a:gd name="T42" fmla="*/ 4 w 133"/>
                <a:gd name="T43" fmla="*/ 0 h 185"/>
                <a:gd name="T44" fmla="*/ 4 w 133"/>
                <a:gd name="T45" fmla="*/ 2 h 185"/>
                <a:gd name="T46" fmla="*/ 4 w 133"/>
                <a:gd name="T47" fmla="*/ 25 h 185"/>
                <a:gd name="T48" fmla="*/ 4 w 133"/>
                <a:gd name="T49" fmla="*/ 30 h 185"/>
                <a:gd name="T50" fmla="*/ 4 w 133"/>
                <a:gd name="T51" fmla="*/ 48 h 185"/>
                <a:gd name="T52" fmla="*/ 4 w 133"/>
                <a:gd name="T53" fmla="*/ 45 h 185"/>
                <a:gd name="T54" fmla="*/ 4 w 133"/>
                <a:gd name="T55" fmla="*/ 54 h 185"/>
                <a:gd name="T56" fmla="*/ 4 w 133"/>
                <a:gd name="T57" fmla="*/ 60 h 185"/>
                <a:gd name="T58" fmla="*/ 4 w 133"/>
                <a:gd name="T59" fmla="*/ 60 h 185"/>
                <a:gd name="T60" fmla="*/ 4 w 133"/>
                <a:gd name="T61" fmla="*/ 68 h 185"/>
                <a:gd name="T62" fmla="*/ 4 w 133"/>
                <a:gd name="T63" fmla="*/ 59 h 185"/>
                <a:gd name="T64" fmla="*/ 4 w 133"/>
                <a:gd name="T65" fmla="*/ 67 h 185"/>
                <a:gd name="T66" fmla="*/ 4 w 133"/>
                <a:gd name="T67" fmla="*/ 79 h 185"/>
                <a:gd name="T68" fmla="*/ 4 w 133"/>
                <a:gd name="T69" fmla="*/ 86 h 185"/>
                <a:gd name="T70" fmla="*/ 4 w 133"/>
                <a:gd name="T71" fmla="*/ 79 h 185"/>
                <a:gd name="T72" fmla="*/ 4 w 133"/>
                <a:gd name="T73" fmla="*/ 88 h 185"/>
                <a:gd name="T74" fmla="*/ 4 w 133"/>
                <a:gd name="T75" fmla="*/ 96 h 185"/>
                <a:gd name="T76" fmla="*/ 4 w 133"/>
                <a:gd name="T77" fmla="*/ 114 h 185"/>
                <a:gd name="T78" fmla="*/ 4 w 133"/>
                <a:gd name="T79" fmla="*/ 114 h 185"/>
                <a:gd name="T80" fmla="*/ 4 w 133"/>
                <a:gd name="T81" fmla="*/ 126 h 185"/>
                <a:gd name="T82" fmla="*/ 4 w 133"/>
                <a:gd name="T83" fmla="*/ 126 h 185"/>
                <a:gd name="T84" fmla="*/ 4 w 133"/>
                <a:gd name="T85" fmla="*/ 137 h 185"/>
                <a:gd name="T86" fmla="*/ 4 w 133"/>
                <a:gd name="T87" fmla="*/ 147 h 185"/>
                <a:gd name="T88" fmla="*/ 4 w 133"/>
                <a:gd name="T89" fmla="*/ 151 h 185"/>
                <a:gd name="T90" fmla="*/ 4 w 133"/>
                <a:gd name="T91" fmla="*/ 157 h 185"/>
                <a:gd name="T92" fmla="*/ 4 w 133"/>
                <a:gd name="T93" fmla="*/ 151 h 185"/>
                <a:gd name="T94" fmla="*/ 4 w 133"/>
                <a:gd name="T95" fmla="*/ 161 h 185"/>
                <a:gd name="T96" fmla="*/ 4 w 133"/>
                <a:gd name="T97" fmla="*/ 161 h 185"/>
                <a:gd name="T98" fmla="*/ 0 w 133"/>
                <a:gd name="T99" fmla="*/ 185 h 1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3"/>
                <a:gd name="T151" fmla="*/ 0 h 185"/>
                <a:gd name="T152" fmla="*/ 133 w 133"/>
                <a:gd name="T153" fmla="*/ 185 h 1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3" h="185">
                  <a:moveTo>
                    <a:pt x="0" y="185"/>
                  </a:moveTo>
                  <a:lnTo>
                    <a:pt x="21" y="179"/>
                  </a:lnTo>
                  <a:lnTo>
                    <a:pt x="34" y="183"/>
                  </a:lnTo>
                  <a:lnTo>
                    <a:pt x="39" y="174"/>
                  </a:lnTo>
                  <a:lnTo>
                    <a:pt x="50" y="172"/>
                  </a:lnTo>
                  <a:lnTo>
                    <a:pt x="63" y="176"/>
                  </a:lnTo>
                  <a:lnTo>
                    <a:pt x="116" y="168"/>
                  </a:lnTo>
                  <a:lnTo>
                    <a:pt x="125" y="159"/>
                  </a:lnTo>
                  <a:lnTo>
                    <a:pt x="110" y="157"/>
                  </a:lnTo>
                  <a:lnTo>
                    <a:pt x="133" y="133"/>
                  </a:lnTo>
                  <a:lnTo>
                    <a:pt x="120" y="122"/>
                  </a:lnTo>
                  <a:lnTo>
                    <a:pt x="103" y="125"/>
                  </a:lnTo>
                  <a:lnTo>
                    <a:pt x="109" y="119"/>
                  </a:lnTo>
                  <a:lnTo>
                    <a:pt x="97" y="90"/>
                  </a:lnTo>
                  <a:lnTo>
                    <a:pt x="85" y="86"/>
                  </a:lnTo>
                  <a:lnTo>
                    <a:pt x="74" y="59"/>
                  </a:lnTo>
                  <a:lnTo>
                    <a:pt x="52" y="56"/>
                  </a:lnTo>
                  <a:lnTo>
                    <a:pt x="79" y="26"/>
                  </a:lnTo>
                  <a:lnTo>
                    <a:pt x="79" y="20"/>
                  </a:lnTo>
                  <a:lnTo>
                    <a:pt x="41" y="22"/>
                  </a:lnTo>
                  <a:lnTo>
                    <a:pt x="62" y="6"/>
                  </a:lnTo>
                  <a:lnTo>
                    <a:pt x="59" y="0"/>
                  </a:lnTo>
                  <a:lnTo>
                    <a:pt x="29" y="2"/>
                  </a:lnTo>
                  <a:lnTo>
                    <a:pt x="13" y="25"/>
                  </a:lnTo>
                  <a:lnTo>
                    <a:pt x="17" y="30"/>
                  </a:lnTo>
                  <a:lnTo>
                    <a:pt x="7" y="48"/>
                  </a:lnTo>
                  <a:lnTo>
                    <a:pt x="18" y="45"/>
                  </a:lnTo>
                  <a:lnTo>
                    <a:pt x="16" y="54"/>
                  </a:lnTo>
                  <a:lnTo>
                    <a:pt x="4" y="60"/>
                  </a:lnTo>
                  <a:lnTo>
                    <a:pt x="13" y="60"/>
                  </a:lnTo>
                  <a:lnTo>
                    <a:pt x="12" y="68"/>
                  </a:lnTo>
                  <a:lnTo>
                    <a:pt x="22" y="59"/>
                  </a:lnTo>
                  <a:lnTo>
                    <a:pt x="28" y="67"/>
                  </a:lnTo>
                  <a:lnTo>
                    <a:pt x="19" y="79"/>
                  </a:lnTo>
                  <a:lnTo>
                    <a:pt x="24" y="86"/>
                  </a:lnTo>
                  <a:lnTo>
                    <a:pt x="51" y="79"/>
                  </a:lnTo>
                  <a:lnTo>
                    <a:pt x="45" y="88"/>
                  </a:lnTo>
                  <a:lnTo>
                    <a:pt x="59" y="96"/>
                  </a:lnTo>
                  <a:lnTo>
                    <a:pt x="52" y="114"/>
                  </a:lnTo>
                  <a:lnTo>
                    <a:pt x="27" y="114"/>
                  </a:lnTo>
                  <a:lnTo>
                    <a:pt x="22" y="126"/>
                  </a:lnTo>
                  <a:lnTo>
                    <a:pt x="33" y="126"/>
                  </a:lnTo>
                  <a:lnTo>
                    <a:pt x="32" y="137"/>
                  </a:lnTo>
                  <a:lnTo>
                    <a:pt x="11" y="147"/>
                  </a:lnTo>
                  <a:lnTo>
                    <a:pt x="15" y="151"/>
                  </a:lnTo>
                  <a:lnTo>
                    <a:pt x="43" y="157"/>
                  </a:lnTo>
                  <a:lnTo>
                    <a:pt x="55" y="151"/>
                  </a:lnTo>
                  <a:lnTo>
                    <a:pt x="47" y="161"/>
                  </a:lnTo>
                  <a:lnTo>
                    <a:pt x="29" y="161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67" name="Freeform 124"/>
            <p:cNvSpPr>
              <a:spLocks noChangeAspect="1"/>
            </p:cNvSpPr>
            <p:nvPr/>
          </p:nvSpPr>
          <p:spPr bwMode="auto">
            <a:xfrm>
              <a:off x="4504699" y="1777435"/>
              <a:ext cx="12575" cy="17220"/>
            </a:xfrm>
            <a:custGeom>
              <a:avLst/>
              <a:gdLst>
                <a:gd name="T0" fmla="*/ 0 w 11"/>
                <a:gd name="T1" fmla="*/ 3 h 12"/>
                <a:gd name="T2" fmla="*/ 0 w 11"/>
                <a:gd name="T3" fmla="*/ 12 h 12"/>
                <a:gd name="T4" fmla="*/ 2 w 11"/>
                <a:gd name="T5" fmla="*/ 12 h 12"/>
                <a:gd name="T6" fmla="*/ 2 w 11"/>
                <a:gd name="T7" fmla="*/ 0 h 12"/>
                <a:gd name="T8" fmla="*/ 0 w 11"/>
                <a:gd name="T9" fmla="*/ 3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2"/>
                <a:gd name="T17" fmla="*/ 11 w 11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2">
                  <a:moveTo>
                    <a:pt x="0" y="3"/>
                  </a:moveTo>
                  <a:lnTo>
                    <a:pt x="0" y="12"/>
                  </a:lnTo>
                  <a:lnTo>
                    <a:pt x="11" y="12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68" name="Freeform 125"/>
            <p:cNvSpPr>
              <a:spLocks noChangeAspect="1"/>
            </p:cNvSpPr>
            <p:nvPr/>
          </p:nvSpPr>
          <p:spPr bwMode="auto">
            <a:xfrm>
              <a:off x="4525656" y="1761651"/>
              <a:ext cx="33532" cy="30134"/>
            </a:xfrm>
            <a:custGeom>
              <a:avLst/>
              <a:gdLst>
                <a:gd name="T0" fmla="*/ 0 w 25"/>
                <a:gd name="T1" fmla="*/ 9 h 21"/>
                <a:gd name="T2" fmla="*/ 3 w 25"/>
                <a:gd name="T3" fmla="*/ 20 h 21"/>
                <a:gd name="T4" fmla="*/ 12 w 25"/>
                <a:gd name="T5" fmla="*/ 21 h 21"/>
                <a:gd name="T6" fmla="*/ 12 w 25"/>
                <a:gd name="T7" fmla="*/ 18 h 21"/>
                <a:gd name="T8" fmla="*/ 12 w 25"/>
                <a:gd name="T9" fmla="*/ 14 h 21"/>
                <a:gd name="T10" fmla="*/ 12 w 25"/>
                <a:gd name="T11" fmla="*/ 9 h 21"/>
                <a:gd name="T12" fmla="*/ 12 w 25"/>
                <a:gd name="T13" fmla="*/ 0 h 21"/>
                <a:gd name="T14" fmla="*/ 0 w 25"/>
                <a:gd name="T15" fmla="*/ 9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5"/>
                <a:gd name="T25" fmla="*/ 0 h 21"/>
                <a:gd name="T26" fmla="*/ 25 w 25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5" h="21">
                  <a:moveTo>
                    <a:pt x="0" y="9"/>
                  </a:moveTo>
                  <a:lnTo>
                    <a:pt x="3" y="20"/>
                  </a:lnTo>
                  <a:lnTo>
                    <a:pt x="13" y="21"/>
                  </a:lnTo>
                  <a:lnTo>
                    <a:pt x="23" y="18"/>
                  </a:lnTo>
                  <a:lnTo>
                    <a:pt x="18" y="14"/>
                  </a:lnTo>
                  <a:lnTo>
                    <a:pt x="25" y="9"/>
                  </a:lnTo>
                  <a:lnTo>
                    <a:pt x="23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69" name="Freeform 126"/>
            <p:cNvSpPr>
              <a:spLocks noChangeAspect="1"/>
            </p:cNvSpPr>
            <p:nvPr/>
          </p:nvSpPr>
          <p:spPr bwMode="auto">
            <a:xfrm>
              <a:off x="4522862" y="1801830"/>
              <a:ext cx="23752" cy="7175"/>
            </a:xfrm>
            <a:custGeom>
              <a:avLst/>
              <a:gdLst>
                <a:gd name="T0" fmla="*/ 0 w 19"/>
                <a:gd name="T1" fmla="*/ 0 h 5"/>
                <a:gd name="T2" fmla="*/ 4 w 19"/>
                <a:gd name="T3" fmla="*/ 5 h 5"/>
                <a:gd name="T4" fmla="*/ 4 w 19"/>
                <a:gd name="T5" fmla="*/ 0 h 5"/>
                <a:gd name="T6" fmla="*/ 0 w 19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5"/>
                <a:gd name="T14" fmla="*/ 19 w 19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5">
                  <a:moveTo>
                    <a:pt x="0" y="0"/>
                  </a:moveTo>
                  <a:lnTo>
                    <a:pt x="6" y="5"/>
                  </a:lnTo>
                  <a:lnTo>
                    <a:pt x="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70" name="Freeform 127"/>
            <p:cNvSpPr>
              <a:spLocks noChangeAspect="1"/>
            </p:cNvSpPr>
            <p:nvPr/>
          </p:nvSpPr>
          <p:spPr bwMode="auto">
            <a:xfrm>
              <a:off x="4057604" y="1793220"/>
              <a:ext cx="99199" cy="113362"/>
            </a:xfrm>
            <a:custGeom>
              <a:avLst/>
              <a:gdLst>
                <a:gd name="T0" fmla="*/ 5 w 78"/>
                <a:gd name="T1" fmla="*/ 13 h 79"/>
                <a:gd name="T2" fmla="*/ 5 w 78"/>
                <a:gd name="T3" fmla="*/ 22 h 79"/>
                <a:gd name="T4" fmla="*/ 5 w 78"/>
                <a:gd name="T5" fmla="*/ 16 h 79"/>
                <a:gd name="T6" fmla="*/ 5 w 78"/>
                <a:gd name="T7" fmla="*/ 24 h 79"/>
                <a:gd name="T8" fmla="*/ 5 w 78"/>
                <a:gd name="T9" fmla="*/ 46 h 79"/>
                <a:gd name="T10" fmla="*/ 5 w 78"/>
                <a:gd name="T11" fmla="*/ 64 h 79"/>
                <a:gd name="T12" fmla="*/ 5 w 78"/>
                <a:gd name="T13" fmla="*/ 79 h 79"/>
                <a:gd name="T14" fmla="*/ 0 w 78"/>
                <a:gd name="T15" fmla="*/ 64 h 79"/>
                <a:gd name="T16" fmla="*/ 5 w 78"/>
                <a:gd name="T17" fmla="*/ 64 h 79"/>
                <a:gd name="T18" fmla="*/ 5 w 78"/>
                <a:gd name="T19" fmla="*/ 42 h 79"/>
                <a:gd name="T20" fmla="*/ 5 w 78"/>
                <a:gd name="T21" fmla="*/ 35 h 79"/>
                <a:gd name="T22" fmla="*/ 5 w 78"/>
                <a:gd name="T23" fmla="*/ 29 h 79"/>
                <a:gd name="T24" fmla="*/ 5 w 78"/>
                <a:gd name="T25" fmla="*/ 25 h 79"/>
                <a:gd name="T26" fmla="*/ 5 w 78"/>
                <a:gd name="T27" fmla="*/ 18 h 79"/>
                <a:gd name="T28" fmla="*/ 5 w 78"/>
                <a:gd name="T29" fmla="*/ 18 h 79"/>
                <a:gd name="T30" fmla="*/ 5 w 78"/>
                <a:gd name="T31" fmla="*/ 13 h 79"/>
                <a:gd name="T32" fmla="*/ 5 w 78"/>
                <a:gd name="T33" fmla="*/ 10 h 79"/>
                <a:gd name="T34" fmla="*/ 5 w 78"/>
                <a:gd name="T35" fmla="*/ 0 h 79"/>
                <a:gd name="T36" fmla="*/ 5 w 78"/>
                <a:gd name="T37" fmla="*/ 0 h 79"/>
                <a:gd name="T38" fmla="*/ 5 w 78"/>
                <a:gd name="T39" fmla="*/ 13 h 7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8"/>
                <a:gd name="T61" fmla="*/ 0 h 79"/>
                <a:gd name="T62" fmla="*/ 78 w 78"/>
                <a:gd name="T63" fmla="*/ 79 h 7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8" h="79">
                  <a:moveTo>
                    <a:pt x="48" y="13"/>
                  </a:moveTo>
                  <a:lnTo>
                    <a:pt x="57" y="22"/>
                  </a:lnTo>
                  <a:lnTo>
                    <a:pt x="76" y="16"/>
                  </a:lnTo>
                  <a:lnTo>
                    <a:pt x="78" y="24"/>
                  </a:lnTo>
                  <a:lnTo>
                    <a:pt x="78" y="46"/>
                  </a:lnTo>
                  <a:lnTo>
                    <a:pt x="70" y="64"/>
                  </a:lnTo>
                  <a:lnTo>
                    <a:pt x="11" y="79"/>
                  </a:lnTo>
                  <a:lnTo>
                    <a:pt x="0" y="64"/>
                  </a:lnTo>
                  <a:lnTo>
                    <a:pt x="11" y="64"/>
                  </a:lnTo>
                  <a:lnTo>
                    <a:pt x="27" y="42"/>
                  </a:lnTo>
                  <a:lnTo>
                    <a:pt x="10" y="35"/>
                  </a:lnTo>
                  <a:lnTo>
                    <a:pt x="20" y="29"/>
                  </a:lnTo>
                  <a:lnTo>
                    <a:pt x="11" y="25"/>
                  </a:lnTo>
                  <a:lnTo>
                    <a:pt x="16" y="18"/>
                  </a:lnTo>
                  <a:lnTo>
                    <a:pt x="38" y="18"/>
                  </a:lnTo>
                  <a:lnTo>
                    <a:pt x="44" y="13"/>
                  </a:lnTo>
                  <a:lnTo>
                    <a:pt x="37" y="10"/>
                  </a:lnTo>
                  <a:lnTo>
                    <a:pt x="44" y="0"/>
                  </a:lnTo>
                  <a:lnTo>
                    <a:pt x="56" y="0"/>
                  </a:lnTo>
                  <a:lnTo>
                    <a:pt x="48" y="13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71" name="Freeform 128"/>
            <p:cNvSpPr>
              <a:spLocks noChangeAspect="1"/>
            </p:cNvSpPr>
            <p:nvPr/>
          </p:nvSpPr>
          <p:spPr bwMode="auto">
            <a:xfrm>
              <a:off x="4360790" y="1839139"/>
              <a:ext cx="82433" cy="90403"/>
            </a:xfrm>
            <a:custGeom>
              <a:avLst/>
              <a:gdLst>
                <a:gd name="T0" fmla="*/ 0 w 65"/>
                <a:gd name="T1" fmla="*/ 48 h 63"/>
                <a:gd name="T2" fmla="*/ 5 w 65"/>
                <a:gd name="T3" fmla="*/ 18 h 63"/>
                <a:gd name="T4" fmla="*/ 5 w 65"/>
                <a:gd name="T5" fmla="*/ 15 h 63"/>
                <a:gd name="T6" fmla="*/ 5 w 65"/>
                <a:gd name="T7" fmla="*/ 26 h 63"/>
                <a:gd name="T8" fmla="*/ 5 w 65"/>
                <a:gd name="T9" fmla="*/ 30 h 63"/>
                <a:gd name="T10" fmla="*/ 5 w 65"/>
                <a:gd name="T11" fmla="*/ 25 h 63"/>
                <a:gd name="T12" fmla="*/ 5 w 65"/>
                <a:gd name="T13" fmla="*/ 8 h 63"/>
                <a:gd name="T14" fmla="*/ 5 w 65"/>
                <a:gd name="T15" fmla="*/ 0 h 63"/>
                <a:gd name="T16" fmla="*/ 5 w 65"/>
                <a:gd name="T17" fmla="*/ 24 h 63"/>
                <a:gd name="T18" fmla="*/ 5 w 65"/>
                <a:gd name="T19" fmla="*/ 29 h 63"/>
                <a:gd name="T20" fmla="*/ 5 w 65"/>
                <a:gd name="T21" fmla="*/ 40 h 63"/>
                <a:gd name="T22" fmla="*/ 5 w 65"/>
                <a:gd name="T23" fmla="*/ 63 h 63"/>
                <a:gd name="T24" fmla="*/ 5 w 65"/>
                <a:gd name="T25" fmla="*/ 49 h 63"/>
                <a:gd name="T26" fmla="*/ 1 w 65"/>
                <a:gd name="T27" fmla="*/ 48 h 63"/>
                <a:gd name="T28" fmla="*/ 0 w 65"/>
                <a:gd name="T29" fmla="*/ 48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5"/>
                <a:gd name="T46" fmla="*/ 0 h 63"/>
                <a:gd name="T47" fmla="*/ 65 w 65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5" h="63">
                  <a:moveTo>
                    <a:pt x="0" y="48"/>
                  </a:moveTo>
                  <a:lnTo>
                    <a:pt x="20" y="18"/>
                  </a:lnTo>
                  <a:lnTo>
                    <a:pt x="26" y="15"/>
                  </a:lnTo>
                  <a:lnTo>
                    <a:pt x="26" y="26"/>
                  </a:lnTo>
                  <a:lnTo>
                    <a:pt x="34" y="30"/>
                  </a:lnTo>
                  <a:lnTo>
                    <a:pt x="41" y="25"/>
                  </a:lnTo>
                  <a:lnTo>
                    <a:pt x="34" y="8"/>
                  </a:lnTo>
                  <a:lnTo>
                    <a:pt x="65" y="0"/>
                  </a:lnTo>
                  <a:lnTo>
                    <a:pt x="53" y="24"/>
                  </a:lnTo>
                  <a:lnTo>
                    <a:pt x="59" y="29"/>
                  </a:lnTo>
                  <a:lnTo>
                    <a:pt x="41" y="40"/>
                  </a:lnTo>
                  <a:lnTo>
                    <a:pt x="41" y="63"/>
                  </a:lnTo>
                  <a:lnTo>
                    <a:pt x="26" y="49"/>
                  </a:lnTo>
                  <a:lnTo>
                    <a:pt x="1" y="48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rgbClr val="FFC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72" name="Freeform 129"/>
            <p:cNvSpPr>
              <a:spLocks noChangeAspect="1"/>
            </p:cNvSpPr>
            <p:nvPr/>
          </p:nvSpPr>
          <p:spPr bwMode="auto">
            <a:xfrm>
              <a:off x="4545217" y="1916626"/>
              <a:ext cx="124348" cy="80358"/>
            </a:xfrm>
            <a:custGeom>
              <a:avLst/>
              <a:gdLst>
                <a:gd name="T0" fmla="*/ 22 w 91"/>
                <a:gd name="T1" fmla="*/ 6 h 56"/>
                <a:gd name="T2" fmla="*/ 22 w 91"/>
                <a:gd name="T3" fmla="*/ 0 h 56"/>
                <a:gd name="T4" fmla="*/ 0 w 91"/>
                <a:gd name="T5" fmla="*/ 18 h 56"/>
                <a:gd name="T6" fmla="*/ 9 w 91"/>
                <a:gd name="T7" fmla="*/ 37 h 56"/>
                <a:gd name="T8" fmla="*/ 22 w 91"/>
                <a:gd name="T9" fmla="*/ 53 h 56"/>
                <a:gd name="T10" fmla="*/ 22 w 91"/>
                <a:gd name="T11" fmla="*/ 56 h 56"/>
                <a:gd name="T12" fmla="*/ 22 w 91"/>
                <a:gd name="T13" fmla="*/ 49 h 56"/>
                <a:gd name="T14" fmla="*/ 22 w 91"/>
                <a:gd name="T15" fmla="*/ 52 h 56"/>
                <a:gd name="T16" fmla="*/ 22 w 91"/>
                <a:gd name="T17" fmla="*/ 20 h 56"/>
                <a:gd name="T18" fmla="*/ 22 w 91"/>
                <a:gd name="T19" fmla="*/ 16 h 56"/>
                <a:gd name="T20" fmla="*/ 22 w 91"/>
                <a:gd name="T21" fmla="*/ 22 h 56"/>
                <a:gd name="T22" fmla="*/ 22 w 91"/>
                <a:gd name="T23" fmla="*/ 7 h 56"/>
                <a:gd name="T24" fmla="*/ 22 w 91"/>
                <a:gd name="T25" fmla="*/ 6 h 5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1"/>
                <a:gd name="T40" fmla="*/ 0 h 56"/>
                <a:gd name="T41" fmla="*/ 91 w 91"/>
                <a:gd name="T42" fmla="*/ 56 h 5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1" h="56">
                  <a:moveTo>
                    <a:pt x="44" y="6"/>
                  </a:moveTo>
                  <a:lnTo>
                    <a:pt x="37" y="0"/>
                  </a:lnTo>
                  <a:lnTo>
                    <a:pt x="0" y="18"/>
                  </a:lnTo>
                  <a:lnTo>
                    <a:pt x="9" y="37"/>
                  </a:lnTo>
                  <a:lnTo>
                    <a:pt x="29" y="53"/>
                  </a:lnTo>
                  <a:lnTo>
                    <a:pt x="45" y="56"/>
                  </a:lnTo>
                  <a:lnTo>
                    <a:pt x="51" y="49"/>
                  </a:lnTo>
                  <a:lnTo>
                    <a:pt x="78" y="52"/>
                  </a:lnTo>
                  <a:lnTo>
                    <a:pt x="91" y="20"/>
                  </a:lnTo>
                  <a:lnTo>
                    <a:pt x="79" y="16"/>
                  </a:lnTo>
                  <a:lnTo>
                    <a:pt x="77" y="22"/>
                  </a:lnTo>
                  <a:lnTo>
                    <a:pt x="61" y="7"/>
                  </a:lnTo>
                  <a:lnTo>
                    <a:pt x="44" y="6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73" name="Freeform 130"/>
            <p:cNvSpPr>
              <a:spLocks noChangeAspect="1"/>
            </p:cNvSpPr>
            <p:nvPr/>
          </p:nvSpPr>
          <p:spPr bwMode="auto">
            <a:xfrm>
              <a:off x="4650004" y="1945326"/>
              <a:ext cx="127143" cy="78923"/>
            </a:xfrm>
            <a:custGeom>
              <a:avLst/>
              <a:gdLst>
                <a:gd name="T0" fmla="*/ 0 w 92"/>
                <a:gd name="T1" fmla="*/ 32 h 55"/>
                <a:gd name="T2" fmla="*/ 7 w 92"/>
                <a:gd name="T3" fmla="*/ 48 h 55"/>
                <a:gd name="T4" fmla="*/ 26 w 92"/>
                <a:gd name="T5" fmla="*/ 55 h 55"/>
                <a:gd name="T6" fmla="*/ 46 w 92"/>
                <a:gd name="T7" fmla="*/ 38 h 55"/>
                <a:gd name="T8" fmla="*/ 46 w 92"/>
                <a:gd name="T9" fmla="*/ 41 h 55"/>
                <a:gd name="T10" fmla="*/ 46 w 92"/>
                <a:gd name="T11" fmla="*/ 25 h 55"/>
                <a:gd name="T12" fmla="*/ 46 w 92"/>
                <a:gd name="T13" fmla="*/ 18 h 55"/>
                <a:gd name="T14" fmla="*/ 46 w 92"/>
                <a:gd name="T15" fmla="*/ 23 h 55"/>
                <a:gd name="T16" fmla="*/ 13 w 92"/>
                <a:gd name="T17" fmla="*/ 0 h 55"/>
                <a:gd name="T18" fmla="*/ 0 w 92"/>
                <a:gd name="T19" fmla="*/ 32 h 5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2"/>
                <a:gd name="T31" fmla="*/ 0 h 55"/>
                <a:gd name="T32" fmla="*/ 92 w 92"/>
                <a:gd name="T33" fmla="*/ 55 h 5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2" h="55">
                  <a:moveTo>
                    <a:pt x="0" y="32"/>
                  </a:moveTo>
                  <a:lnTo>
                    <a:pt x="7" y="48"/>
                  </a:lnTo>
                  <a:lnTo>
                    <a:pt x="26" y="55"/>
                  </a:lnTo>
                  <a:lnTo>
                    <a:pt x="65" y="38"/>
                  </a:lnTo>
                  <a:lnTo>
                    <a:pt x="87" y="41"/>
                  </a:lnTo>
                  <a:lnTo>
                    <a:pt x="92" y="25"/>
                  </a:lnTo>
                  <a:lnTo>
                    <a:pt x="76" y="18"/>
                  </a:lnTo>
                  <a:lnTo>
                    <a:pt x="52" y="23"/>
                  </a:lnTo>
                  <a:lnTo>
                    <a:pt x="13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74" name="Freeform 131"/>
            <p:cNvSpPr>
              <a:spLocks noChangeAspect="1"/>
            </p:cNvSpPr>
            <p:nvPr/>
          </p:nvSpPr>
          <p:spPr bwMode="auto">
            <a:xfrm>
              <a:off x="4042235" y="2216533"/>
              <a:ext cx="82433" cy="157846"/>
            </a:xfrm>
            <a:custGeom>
              <a:avLst/>
              <a:gdLst>
                <a:gd name="T0" fmla="*/ 4 w 66"/>
                <a:gd name="T1" fmla="*/ 83 h 110"/>
                <a:gd name="T2" fmla="*/ 4 w 66"/>
                <a:gd name="T3" fmla="*/ 52 h 110"/>
                <a:gd name="T4" fmla="*/ 4 w 66"/>
                <a:gd name="T5" fmla="*/ 42 h 110"/>
                <a:gd name="T6" fmla="*/ 4 w 66"/>
                <a:gd name="T7" fmla="*/ 24 h 110"/>
                <a:gd name="T8" fmla="*/ 4 w 66"/>
                <a:gd name="T9" fmla="*/ 9 h 110"/>
                <a:gd name="T10" fmla="*/ 4 w 66"/>
                <a:gd name="T11" fmla="*/ 1 h 110"/>
                <a:gd name="T12" fmla="*/ 4 w 66"/>
                <a:gd name="T13" fmla="*/ 0 h 110"/>
                <a:gd name="T14" fmla="*/ 4 w 66"/>
                <a:gd name="T15" fmla="*/ 17 h 110"/>
                <a:gd name="T16" fmla="*/ 0 w 66"/>
                <a:gd name="T17" fmla="*/ 70 h 110"/>
                <a:gd name="T18" fmla="*/ 4 w 66"/>
                <a:gd name="T19" fmla="*/ 78 h 110"/>
                <a:gd name="T20" fmla="*/ 4 w 66"/>
                <a:gd name="T21" fmla="*/ 110 h 110"/>
                <a:gd name="T22" fmla="*/ 4 w 66"/>
                <a:gd name="T23" fmla="*/ 106 h 110"/>
                <a:gd name="T24" fmla="*/ 4 w 66"/>
                <a:gd name="T25" fmla="*/ 83 h 11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6"/>
                <a:gd name="T40" fmla="*/ 0 h 110"/>
                <a:gd name="T41" fmla="*/ 66 w 66"/>
                <a:gd name="T42" fmla="*/ 110 h 11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6" h="110">
                  <a:moveTo>
                    <a:pt x="50" y="83"/>
                  </a:moveTo>
                  <a:lnTo>
                    <a:pt x="42" y="52"/>
                  </a:lnTo>
                  <a:lnTo>
                    <a:pt x="52" y="42"/>
                  </a:lnTo>
                  <a:lnTo>
                    <a:pt x="55" y="24"/>
                  </a:lnTo>
                  <a:lnTo>
                    <a:pt x="66" y="9"/>
                  </a:lnTo>
                  <a:lnTo>
                    <a:pt x="62" y="1"/>
                  </a:lnTo>
                  <a:lnTo>
                    <a:pt x="22" y="0"/>
                  </a:lnTo>
                  <a:lnTo>
                    <a:pt x="18" y="17"/>
                  </a:lnTo>
                  <a:lnTo>
                    <a:pt x="0" y="70"/>
                  </a:lnTo>
                  <a:lnTo>
                    <a:pt x="12" y="78"/>
                  </a:lnTo>
                  <a:lnTo>
                    <a:pt x="5" y="110"/>
                  </a:lnTo>
                  <a:lnTo>
                    <a:pt x="42" y="106"/>
                  </a:lnTo>
                  <a:lnTo>
                    <a:pt x="50" y="83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75" name="Freeform 132"/>
            <p:cNvSpPr>
              <a:spLocks noChangeAspect="1"/>
            </p:cNvSpPr>
            <p:nvPr/>
          </p:nvSpPr>
          <p:spPr bwMode="auto">
            <a:xfrm>
              <a:off x="4736629" y="2219403"/>
              <a:ext cx="143909" cy="139191"/>
            </a:xfrm>
            <a:custGeom>
              <a:avLst/>
              <a:gdLst>
                <a:gd name="T0" fmla="*/ 5 w 114"/>
                <a:gd name="T1" fmla="*/ 0 h 97"/>
                <a:gd name="T2" fmla="*/ 5 w 114"/>
                <a:gd name="T3" fmla="*/ 12 h 97"/>
                <a:gd name="T4" fmla="*/ 5 w 114"/>
                <a:gd name="T5" fmla="*/ 5 h 97"/>
                <a:gd name="T6" fmla="*/ 5 w 114"/>
                <a:gd name="T7" fmla="*/ 10 h 97"/>
                <a:gd name="T8" fmla="*/ 5 w 114"/>
                <a:gd name="T9" fmla="*/ 22 h 97"/>
                <a:gd name="T10" fmla="*/ 5 w 114"/>
                <a:gd name="T11" fmla="*/ 29 h 97"/>
                <a:gd name="T12" fmla="*/ 0 w 114"/>
                <a:gd name="T13" fmla="*/ 48 h 97"/>
                <a:gd name="T14" fmla="*/ 0 w 114"/>
                <a:gd name="T15" fmla="*/ 50 h 97"/>
                <a:gd name="T16" fmla="*/ 5 w 114"/>
                <a:gd name="T17" fmla="*/ 80 h 97"/>
                <a:gd name="T18" fmla="*/ 5 w 114"/>
                <a:gd name="T19" fmla="*/ 80 h 97"/>
                <a:gd name="T20" fmla="*/ 5 w 114"/>
                <a:gd name="T21" fmla="*/ 97 h 97"/>
                <a:gd name="T22" fmla="*/ 5 w 114"/>
                <a:gd name="T23" fmla="*/ 84 h 97"/>
                <a:gd name="T24" fmla="*/ 5 w 114"/>
                <a:gd name="T25" fmla="*/ 87 h 97"/>
                <a:gd name="T26" fmla="*/ 5 w 114"/>
                <a:gd name="T27" fmla="*/ 67 h 97"/>
                <a:gd name="T28" fmla="*/ 5 w 114"/>
                <a:gd name="T29" fmla="*/ 41 h 97"/>
                <a:gd name="T30" fmla="*/ 5 w 114"/>
                <a:gd name="T31" fmla="*/ 28 h 97"/>
                <a:gd name="T32" fmla="*/ 5 w 114"/>
                <a:gd name="T33" fmla="*/ 38 h 97"/>
                <a:gd name="T34" fmla="*/ 5 w 114"/>
                <a:gd name="T35" fmla="*/ 27 h 97"/>
                <a:gd name="T36" fmla="*/ 5 w 114"/>
                <a:gd name="T37" fmla="*/ 21 h 97"/>
                <a:gd name="T38" fmla="*/ 5 w 114"/>
                <a:gd name="T39" fmla="*/ 23 h 97"/>
                <a:gd name="T40" fmla="*/ 5 w 114"/>
                <a:gd name="T41" fmla="*/ 30 h 97"/>
                <a:gd name="T42" fmla="*/ 5 w 114"/>
                <a:gd name="T43" fmla="*/ 0 h 9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14"/>
                <a:gd name="T67" fmla="*/ 0 h 97"/>
                <a:gd name="T68" fmla="*/ 114 w 114"/>
                <a:gd name="T69" fmla="*/ 97 h 9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14" h="97">
                  <a:moveTo>
                    <a:pt x="114" y="0"/>
                  </a:moveTo>
                  <a:lnTo>
                    <a:pt x="100" y="12"/>
                  </a:lnTo>
                  <a:lnTo>
                    <a:pt x="80" y="5"/>
                  </a:lnTo>
                  <a:lnTo>
                    <a:pt x="52" y="10"/>
                  </a:lnTo>
                  <a:lnTo>
                    <a:pt x="17" y="22"/>
                  </a:lnTo>
                  <a:lnTo>
                    <a:pt x="17" y="29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21" y="80"/>
                  </a:lnTo>
                  <a:lnTo>
                    <a:pt x="49" y="80"/>
                  </a:lnTo>
                  <a:lnTo>
                    <a:pt x="77" y="97"/>
                  </a:lnTo>
                  <a:lnTo>
                    <a:pt x="75" y="84"/>
                  </a:lnTo>
                  <a:lnTo>
                    <a:pt x="86" y="87"/>
                  </a:lnTo>
                  <a:lnTo>
                    <a:pt x="62" y="67"/>
                  </a:lnTo>
                  <a:lnTo>
                    <a:pt x="45" y="41"/>
                  </a:lnTo>
                  <a:lnTo>
                    <a:pt x="46" y="28"/>
                  </a:lnTo>
                  <a:lnTo>
                    <a:pt x="66" y="38"/>
                  </a:lnTo>
                  <a:lnTo>
                    <a:pt x="63" y="27"/>
                  </a:lnTo>
                  <a:lnTo>
                    <a:pt x="77" y="21"/>
                  </a:lnTo>
                  <a:lnTo>
                    <a:pt x="105" y="23"/>
                  </a:lnTo>
                  <a:lnTo>
                    <a:pt x="112" y="30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76" name="Freeform 133"/>
            <p:cNvSpPr>
              <a:spLocks noChangeAspect="1"/>
            </p:cNvSpPr>
            <p:nvPr/>
          </p:nvSpPr>
          <p:spPr bwMode="auto">
            <a:xfrm>
              <a:off x="4580146" y="2052948"/>
              <a:ext cx="62873" cy="47354"/>
            </a:xfrm>
            <a:custGeom>
              <a:avLst/>
              <a:gdLst>
                <a:gd name="T0" fmla="*/ 3 w 51"/>
                <a:gd name="T1" fmla="*/ 31 h 33"/>
                <a:gd name="T2" fmla="*/ 3 w 51"/>
                <a:gd name="T3" fmla="*/ 30 h 33"/>
                <a:gd name="T4" fmla="*/ 4 w 51"/>
                <a:gd name="T5" fmla="*/ 29 h 33"/>
                <a:gd name="T6" fmla="*/ 0 w 51"/>
                <a:gd name="T7" fmla="*/ 17 h 33"/>
                <a:gd name="T8" fmla="*/ 3 w 51"/>
                <a:gd name="T9" fmla="*/ 9 h 33"/>
                <a:gd name="T10" fmla="*/ 4 w 51"/>
                <a:gd name="T11" fmla="*/ 0 h 33"/>
                <a:gd name="T12" fmla="*/ 4 w 51"/>
                <a:gd name="T13" fmla="*/ 3 h 33"/>
                <a:gd name="T14" fmla="*/ 4 w 51"/>
                <a:gd name="T15" fmla="*/ 15 h 33"/>
                <a:gd name="T16" fmla="*/ 4 w 51"/>
                <a:gd name="T17" fmla="*/ 27 h 33"/>
                <a:gd name="T18" fmla="*/ 4 w 51"/>
                <a:gd name="T19" fmla="*/ 24 h 33"/>
                <a:gd name="T20" fmla="*/ 4 w 51"/>
                <a:gd name="T21" fmla="*/ 33 h 33"/>
                <a:gd name="T22" fmla="*/ 3 w 51"/>
                <a:gd name="T23" fmla="*/ 31 h 3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1"/>
                <a:gd name="T37" fmla="*/ 0 h 33"/>
                <a:gd name="T38" fmla="*/ 51 w 51"/>
                <a:gd name="T39" fmla="*/ 33 h 3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1" h="33">
                  <a:moveTo>
                    <a:pt x="3" y="31"/>
                  </a:moveTo>
                  <a:lnTo>
                    <a:pt x="3" y="30"/>
                  </a:lnTo>
                  <a:lnTo>
                    <a:pt x="8" y="29"/>
                  </a:lnTo>
                  <a:lnTo>
                    <a:pt x="0" y="17"/>
                  </a:lnTo>
                  <a:lnTo>
                    <a:pt x="3" y="9"/>
                  </a:lnTo>
                  <a:lnTo>
                    <a:pt x="46" y="0"/>
                  </a:lnTo>
                  <a:lnTo>
                    <a:pt x="51" y="3"/>
                  </a:lnTo>
                  <a:lnTo>
                    <a:pt x="34" y="15"/>
                  </a:lnTo>
                  <a:lnTo>
                    <a:pt x="33" y="27"/>
                  </a:lnTo>
                  <a:lnTo>
                    <a:pt x="21" y="24"/>
                  </a:lnTo>
                  <a:lnTo>
                    <a:pt x="9" y="33"/>
                  </a:lnTo>
                  <a:lnTo>
                    <a:pt x="3" y="31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77" name="Freeform 134"/>
            <p:cNvSpPr>
              <a:spLocks noChangeAspect="1"/>
            </p:cNvSpPr>
            <p:nvPr/>
          </p:nvSpPr>
          <p:spPr bwMode="auto">
            <a:xfrm>
              <a:off x="4344024" y="1908017"/>
              <a:ext cx="69859" cy="57398"/>
            </a:xfrm>
            <a:custGeom>
              <a:avLst/>
              <a:gdLst>
                <a:gd name="T0" fmla="*/ 5 w 55"/>
                <a:gd name="T1" fmla="*/ 0 h 40"/>
                <a:gd name="T2" fmla="*/ 5 w 55"/>
                <a:gd name="T3" fmla="*/ 1 h 40"/>
                <a:gd name="T4" fmla="*/ 5 w 55"/>
                <a:gd name="T5" fmla="*/ 15 h 40"/>
                <a:gd name="T6" fmla="*/ 5 w 55"/>
                <a:gd name="T7" fmla="*/ 28 h 40"/>
                <a:gd name="T8" fmla="*/ 5 w 55"/>
                <a:gd name="T9" fmla="*/ 40 h 40"/>
                <a:gd name="T10" fmla="*/ 5 w 55"/>
                <a:gd name="T11" fmla="*/ 38 h 40"/>
                <a:gd name="T12" fmla="*/ 5 w 55"/>
                <a:gd name="T13" fmla="*/ 29 h 40"/>
                <a:gd name="T14" fmla="*/ 5 w 55"/>
                <a:gd name="T15" fmla="*/ 32 h 40"/>
                <a:gd name="T16" fmla="*/ 0 w 55"/>
                <a:gd name="T17" fmla="*/ 7 h 40"/>
                <a:gd name="T18" fmla="*/ 5 w 55"/>
                <a:gd name="T19" fmla="*/ 0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5"/>
                <a:gd name="T31" fmla="*/ 0 h 40"/>
                <a:gd name="T32" fmla="*/ 55 w 55"/>
                <a:gd name="T33" fmla="*/ 40 h 4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5" h="40">
                  <a:moveTo>
                    <a:pt x="15" y="0"/>
                  </a:moveTo>
                  <a:lnTo>
                    <a:pt x="40" y="1"/>
                  </a:lnTo>
                  <a:lnTo>
                    <a:pt x="55" y="15"/>
                  </a:lnTo>
                  <a:lnTo>
                    <a:pt x="55" y="28"/>
                  </a:lnTo>
                  <a:lnTo>
                    <a:pt x="49" y="40"/>
                  </a:lnTo>
                  <a:lnTo>
                    <a:pt x="37" y="38"/>
                  </a:lnTo>
                  <a:lnTo>
                    <a:pt x="36" y="29"/>
                  </a:lnTo>
                  <a:lnTo>
                    <a:pt x="24" y="32"/>
                  </a:lnTo>
                  <a:lnTo>
                    <a:pt x="0" y="7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78" name="Freeform 135"/>
            <p:cNvSpPr>
              <a:spLocks noChangeAspect="1"/>
            </p:cNvSpPr>
            <p:nvPr/>
          </p:nvSpPr>
          <p:spPr bwMode="auto">
            <a:xfrm>
              <a:off x="4771558" y="1877883"/>
              <a:ext cx="400988" cy="259728"/>
            </a:xfrm>
            <a:custGeom>
              <a:avLst/>
              <a:gdLst>
                <a:gd name="T0" fmla="*/ 5 w 318"/>
                <a:gd name="T1" fmla="*/ 150 h 181"/>
                <a:gd name="T2" fmla="*/ 5 w 318"/>
                <a:gd name="T3" fmla="*/ 157 h 181"/>
                <a:gd name="T4" fmla="*/ 5 w 318"/>
                <a:gd name="T5" fmla="*/ 157 h 181"/>
                <a:gd name="T6" fmla="*/ 5 w 318"/>
                <a:gd name="T7" fmla="*/ 150 h 181"/>
                <a:gd name="T8" fmla="*/ 5 w 318"/>
                <a:gd name="T9" fmla="*/ 146 h 181"/>
                <a:gd name="T10" fmla="*/ 5 w 318"/>
                <a:gd name="T11" fmla="*/ 129 h 181"/>
                <a:gd name="T12" fmla="*/ 5 w 318"/>
                <a:gd name="T13" fmla="*/ 129 h 181"/>
                <a:gd name="T14" fmla="*/ 5 w 318"/>
                <a:gd name="T15" fmla="*/ 136 h 181"/>
                <a:gd name="T16" fmla="*/ 5 w 318"/>
                <a:gd name="T17" fmla="*/ 145 h 181"/>
                <a:gd name="T18" fmla="*/ 5 w 318"/>
                <a:gd name="T19" fmla="*/ 157 h 181"/>
                <a:gd name="T20" fmla="*/ 5 w 318"/>
                <a:gd name="T21" fmla="*/ 165 h 181"/>
                <a:gd name="T22" fmla="*/ 5 w 318"/>
                <a:gd name="T23" fmla="*/ 175 h 181"/>
                <a:gd name="T24" fmla="*/ 5 w 318"/>
                <a:gd name="T25" fmla="*/ 181 h 181"/>
                <a:gd name="T26" fmla="*/ 5 w 318"/>
                <a:gd name="T27" fmla="*/ 163 h 181"/>
                <a:gd name="T28" fmla="*/ 5 w 318"/>
                <a:gd name="T29" fmla="*/ 163 h 181"/>
                <a:gd name="T30" fmla="*/ 5 w 318"/>
                <a:gd name="T31" fmla="*/ 158 h 181"/>
                <a:gd name="T32" fmla="*/ 5 w 318"/>
                <a:gd name="T33" fmla="*/ 159 h 181"/>
                <a:gd name="T34" fmla="*/ 5 w 318"/>
                <a:gd name="T35" fmla="*/ 145 h 181"/>
                <a:gd name="T36" fmla="*/ 5 w 318"/>
                <a:gd name="T37" fmla="*/ 118 h 181"/>
                <a:gd name="T38" fmla="*/ 5 w 318"/>
                <a:gd name="T39" fmla="*/ 118 h 181"/>
                <a:gd name="T40" fmla="*/ 5 w 318"/>
                <a:gd name="T41" fmla="*/ 106 h 181"/>
                <a:gd name="T42" fmla="*/ 5 w 318"/>
                <a:gd name="T43" fmla="*/ 99 h 181"/>
                <a:gd name="T44" fmla="*/ 5 w 318"/>
                <a:gd name="T45" fmla="*/ 101 h 181"/>
                <a:gd name="T46" fmla="*/ 5 w 318"/>
                <a:gd name="T47" fmla="*/ 80 h 181"/>
                <a:gd name="T48" fmla="*/ 5 w 318"/>
                <a:gd name="T49" fmla="*/ 78 h 181"/>
                <a:gd name="T50" fmla="*/ 5 w 318"/>
                <a:gd name="T51" fmla="*/ 74 h 181"/>
                <a:gd name="T52" fmla="*/ 5 w 318"/>
                <a:gd name="T53" fmla="*/ 62 h 181"/>
                <a:gd name="T54" fmla="*/ 5 w 318"/>
                <a:gd name="T55" fmla="*/ 53 h 181"/>
                <a:gd name="T56" fmla="*/ 5 w 318"/>
                <a:gd name="T57" fmla="*/ 42 h 181"/>
                <a:gd name="T58" fmla="*/ 5 w 318"/>
                <a:gd name="T59" fmla="*/ 42 h 181"/>
                <a:gd name="T60" fmla="*/ 5 w 318"/>
                <a:gd name="T61" fmla="*/ 25 h 181"/>
                <a:gd name="T62" fmla="*/ 5 w 318"/>
                <a:gd name="T63" fmla="*/ 22 h 181"/>
                <a:gd name="T64" fmla="*/ 5 w 318"/>
                <a:gd name="T65" fmla="*/ 11 h 181"/>
                <a:gd name="T66" fmla="*/ 5 w 318"/>
                <a:gd name="T67" fmla="*/ 0 h 181"/>
                <a:gd name="T68" fmla="*/ 5 w 318"/>
                <a:gd name="T69" fmla="*/ 5 h 181"/>
                <a:gd name="T70" fmla="*/ 5 w 318"/>
                <a:gd name="T71" fmla="*/ 7 h 181"/>
                <a:gd name="T72" fmla="*/ 5 w 318"/>
                <a:gd name="T73" fmla="*/ 23 h 181"/>
                <a:gd name="T74" fmla="*/ 5 w 318"/>
                <a:gd name="T75" fmla="*/ 17 h 181"/>
                <a:gd name="T76" fmla="*/ 5 w 318"/>
                <a:gd name="T77" fmla="*/ 21 h 181"/>
                <a:gd name="T78" fmla="*/ 5 w 318"/>
                <a:gd name="T79" fmla="*/ 9 h 181"/>
                <a:gd name="T80" fmla="*/ 5 w 318"/>
                <a:gd name="T81" fmla="*/ 17 h 181"/>
                <a:gd name="T82" fmla="*/ 5 w 318"/>
                <a:gd name="T83" fmla="*/ 43 h 181"/>
                <a:gd name="T84" fmla="*/ 5 w 318"/>
                <a:gd name="T85" fmla="*/ 72 h 181"/>
                <a:gd name="T86" fmla="*/ 0 w 318"/>
                <a:gd name="T87" fmla="*/ 88 h 181"/>
                <a:gd name="T88" fmla="*/ 1 w 318"/>
                <a:gd name="T89" fmla="*/ 89 h 181"/>
                <a:gd name="T90" fmla="*/ 5 w 318"/>
                <a:gd name="T91" fmla="*/ 97 h 181"/>
                <a:gd name="T92" fmla="*/ 5 w 318"/>
                <a:gd name="T93" fmla="*/ 101 h 181"/>
                <a:gd name="T94" fmla="*/ 5 w 318"/>
                <a:gd name="T95" fmla="*/ 91 h 181"/>
                <a:gd name="T96" fmla="*/ 5 w 318"/>
                <a:gd name="T97" fmla="*/ 87 h 181"/>
                <a:gd name="T98" fmla="*/ 5 w 318"/>
                <a:gd name="T99" fmla="*/ 96 h 181"/>
                <a:gd name="T100" fmla="*/ 5 w 318"/>
                <a:gd name="T101" fmla="*/ 107 h 181"/>
                <a:gd name="T102" fmla="*/ 5 w 318"/>
                <a:gd name="T103" fmla="*/ 124 h 181"/>
                <a:gd name="T104" fmla="*/ 5 w 318"/>
                <a:gd name="T105" fmla="*/ 133 h 181"/>
                <a:gd name="T106" fmla="*/ 5 w 318"/>
                <a:gd name="T107" fmla="*/ 133 h 181"/>
                <a:gd name="T108" fmla="*/ 5 w 318"/>
                <a:gd name="T109" fmla="*/ 150 h 18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18"/>
                <a:gd name="T166" fmla="*/ 0 h 181"/>
                <a:gd name="T167" fmla="*/ 318 w 318"/>
                <a:gd name="T168" fmla="*/ 181 h 18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18" h="181">
                  <a:moveTo>
                    <a:pt x="118" y="150"/>
                  </a:moveTo>
                  <a:lnTo>
                    <a:pt x="120" y="157"/>
                  </a:lnTo>
                  <a:lnTo>
                    <a:pt x="142" y="157"/>
                  </a:lnTo>
                  <a:lnTo>
                    <a:pt x="139" y="150"/>
                  </a:lnTo>
                  <a:lnTo>
                    <a:pt x="150" y="146"/>
                  </a:lnTo>
                  <a:lnTo>
                    <a:pt x="160" y="129"/>
                  </a:lnTo>
                  <a:lnTo>
                    <a:pt x="183" y="129"/>
                  </a:lnTo>
                  <a:lnTo>
                    <a:pt x="179" y="136"/>
                  </a:lnTo>
                  <a:lnTo>
                    <a:pt x="215" y="145"/>
                  </a:lnTo>
                  <a:lnTo>
                    <a:pt x="196" y="157"/>
                  </a:lnTo>
                  <a:lnTo>
                    <a:pt x="213" y="165"/>
                  </a:lnTo>
                  <a:lnTo>
                    <a:pt x="212" y="175"/>
                  </a:lnTo>
                  <a:lnTo>
                    <a:pt x="218" y="181"/>
                  </a:lnTo>
                  <a:lnTo>
                    <a:pt x="250" y="163"/>
                  </a:lnTo>
                  <a:lnTo>
                    <a:pt x="266" y="163"/>
                  </a:lnTo>
                  <a:lnTo>
                    <a:pt x="266" y="158"/>
                  </a:lnTo>
                  <a:lnTo>
                    <a:pt x="249" y="159"/>
                  </a:lnTo>
                  <a:lnTo>
                    <a:pt x="227" y="145"/>
                  </a:lnTo>
                  <a:lnTo>
                    <a:pt x="280" y="118"/>
                  </a:lnTo>
                  <a:lnTo>
                    <a:pt x="291" y="118"/>
                  </a:lnTo>
                  <a:lnTo>
                    <a:pt x="291" y="106"/>
                  </a:lnTo>
                  <a:lnTo>
                    <a:pt x="299" y="99"/>
                  </a:lnTo>
                  <a:lnTo>
                    <a:pt x="315" y="101"/>
                  </a:lnTo>
                  <a:lnTo>
                    <a:pt x="312" y="80"/>
                  </a:lnTo>
                  <a:lnTo>
                    <a:pt x="318" y="78"/>
                  </a:lnTo>
                  <a:lnTo>
                    <a:pt x="310" y="74"/>
                  </a:lnTo>
                  <a:lnTo>
                    <a:pt x="316" y="62"/>
                  </a:lnTo>
                  <a:lnTo>
                    <a:pt x="278" y="53"/>
                  </a:lnTo>
                  <a:lnTo>
                    <a:pt x="267" y="42"/>
                  </a:lnTo>
                  <a:lnTo>
                    <a:pt x="234" y="42"/>
                  </a:lnTo>
                  <a:lnTo>
                    <a:pt x="222" y="25"/>
                  </a:lnTo>
                  <a:lnTo>
                    <a:pt x="207" y="22"/>
                  </a:lnTo>
                  <a:lnTo>
                    <a:pt x="209" y="11"/>
                  </a:lnTo>
                  <a:lnTo>
                    <a:pt x="196" y="0"/>
                  </a:lnTo>
                  <a:lnTo>
                    <a:pt x="162" y="5"/>
                  </a:lnTo>
                  <a:lnTo>
                    <a:pt x="149" y="7"/>
                  </a:lnTo>
                  <a:lnTo>
                    <a:pt x="141" y="23"/>
                  </a:lnTo>
                  <a:lnTo>
                    <a:pt x="116" y="17"/>
                  </a:lnTo>
                  <a:lnTo>
                    <a:pt x="92" y="21"/>
                  </a:lnTo>
                  <a:lnTo>
                    <a:pt x="61" y="9"/>
                  </a:lnTo>
                  <a:lnTo>
                    <a:pt x="20" y="17"/>
                  </a:lnTo>
                  <a:lnTo>
                    <a:pt x="30" y="43"/>
                  </a:lnTo>
                  <a:lnTo>
                    <a:pt x="5" y="72"/>
                  </a:lnTo>
                  <a:lnTo>
                    <a:pt x="0" y="88"/>
                  </a:lnTo>
                  <a:lnTo>
                    <a:pt x="1" y="89"/>
                  </a:lnTo>
                  <a:lnTo>
                    <a:pt x="13" y="97"/>
                  </a:lnTo>
                  <a:lnTo>
                    <a:pt x="52" y="101"/>
                  </a:lnTo>
                  <a:lnTo>
                    <a:pt x="79" y="91"/>
                  </a:lnTo>
                  <a:lnTo>
                    <a:pt x="94" y="87"/>
                  </a:lnTo>
                  <a:lnTo>
                    <a:pt x="126" y="96"/>
                  </a:lnTo>
                  <a:lnTo>
                    <a:pt x="127" y="107"/>
                  </a:lnTo>
                  <a:lnTo>
                    <a:pt x="143" y="124"/>
                  </a:lnTo>
                  <a:lnTo>
                    <a:pt x="144" y="133"/>
                  </a:lnTo>
                  <a:lnTo>
                    <a:pt x="128" y="133"/>
                  </a:lnTo>
                  <a:lnTo>
                    <a:pt x="118" y="15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79" name="Freeform 136"/>
            <p:cNvSpPr>
              <a:spLocks noChangeAspect="1"/>
            </p:cNvSpPr>
            <p:nvPr/>
          </p:nvSpPr>
          <p:spPr bwMode="auto">
            <a:xfrm>
              <a:off x="4763175" y="2335635"/>
              <a:ext cx="50298" cy="61703"/>
            </a:xfrm>
            <a:custGeom>
              <a:avLst/>
              <a:gdLst>
                <a:gd name="T0" fmla="*/ 0 w 40"/>
                <a:gd name="T1" fmla="*/ 12 h 43"/>
                <a:gd name="T2" fmla="*/ 5 w 40"/>
                <a:gd name="T3" fmla="*/ 20 h 43"/>
                <a:gd name="T4" fmla="*/ 5 w 40"/>
                <a:gd name="T5" fmla="*/ 34 h 43"/>
                <a:gd name="T6" fmla="*/ 5 w 40"/>
                <a:gd name="T7" fmla="*/ 43 h 43"/>
                <a:gd name="T8" fmla="*/ 5 w 40"/>
                <a:gd name="T9" fmla="*/ 34 h 43"/>
                <a:gd name="T10" fmla="*/ 5 w 40"/>
                <a:gd name="T11" fmla="*/ 43 h 43"/>
                <a:gd name="T12" fmla="*/ 5 w 40"/>
                <a:gd name="T13" fmla="*/ 20 h 43"/>
                <a:gd name="T14" fmla="*/ 5 w 40"/>
                <a:gd name="T15" fmla="*/ 22 h 43"/>
                <a:gd name="T16" fmla="*/ 5 w 40"/>
                <a:gd name="T17" fmla="*/ 10 h 43"/>
                <a:gd name="T18" fmla="*/ 5 w 40"/>
                <a:gd name="T19" fmla="*/ 0 h 43"/>
                <a:gd name="T20" fmla="*/ 0 w 40"/>
                <a:gd name="T21" fmla="*/ 12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43"/>
                <a:gd name="T35" fmla="*/ 40 w 40"/>
                <a:gd name="T36" fmla="*/ 43 h 4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43">
                  <a:moveTo>
                    <a:pt x="0" y="12"/>
                  </a:moveTo>
                  <a:lnTo>
                    <a:pt x="10" y="20"/>
                  </a:lnTo>
                  <a:lnTo>
                    <a:pt x="12" y="34"/>
                  </a:lnTo>
                  <a:lnTo>
                    <a:pt x="25" y="43"/>
                  </a:lnTo>
                  <a:lnTo>
                    <a:pt x="30" y="34"/>
                  </a:lnTo>
                  <a:lnTo>
                    <a:pt x="39" y="43"/>
                  </a:lnTo>
                  <a:lnTo>
                    <a:pt x="30" y="20"/>
                  </a:lnTo>
                  <a:lnTo>
                    <a:pt x="40" y="22"/>
                  </a:lnTo>
                  <a:lnTo>
                    <a:pt x="33" y="10"/>
                  </a:lnTo>
                  <a:lnTo>
                    <a:pt x="13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80" name="Freeform 137"/>
            <p:cNvSpPr>
              <a:spLocks noChangeAspect="1"/>
            </p:cNvSpPr>
            <p:nvPr/>
          </p:nvSpPr>
          <p:spPr bwMode="auto">
            <a:xfrm>
              <a:off x="5509265" y="2740294"/>
              <a:ext cx="23752" cy="55964"/>
            </a:xfrm>
            <a:custGeom>
              <a:avLst/>
              <a:gdLst>
                <a:gd name="T0" fmla="*/ 0 w 19"/>
                <a:gd name="T1" fmla="*/ 19 h 39"/>
                <a:gd name="T2" fmla="*/ 4 w 19"/>
                <a:gd name="T3" fmla="*/ 0 h 39"/>
                <a:gd name="T4" fmla="*/ 4 w 19"/>
                <a:gd name="T5" fmla="*/ 6 h 39"/>
                <a:gd name="T6" fmla="*/ 4 w 19"/>
                <a:gd name="T7" fmla="*/ 28 h 39"/>
                <a:gd name="T8" fmla="*/ 4 w 19"/>
                <a:gd name="T9" fmla="*/ 39 h 39"/>
                <a:gd name="T10" fmla="*/ 0 w 19"/>
                <a:gd name="T11" fmla="*/ 19 h 3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39"/>
                <a:gd name="T20" fmla="*/ 19 w 19"/>
                <a:gd name="T21" fmla="*/ 39 h 3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39">
                  <a:moveTo>
                    <a:pt x="0" y="19"/>
                  </a:moveTo>
                  <a:lnTo>
                    <a:pt x="7" y="0"/>
                  </a:lnTo>
                  <a:lnTo>
                    <a:pt x="17" y="6"/>
                  </a:lnTo>
                  <a:lnTo>
                    <a:pt x="19" y="28"/>
                  </a:lnTo>
                  <a:lnTo>
                    <a:pt x="13" y="3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81" name="Freeform 138"/>
            <p:cNvSpPr>
              <a:spLocks noChangeAspect="1"/>
            </p:cNvSpPr>
            <p:nvPr/>
          </p:nvSpPr>
          <p:spPr bwMode="auto">
            <a:xfrm>
              <a:off x="5641996" y="2734555"/>
              <a:ext cx="12575" cy="33004"/>
            </a:xfrm>
            <a:custGeom>
              <a:avLst/>
              <a:gdLst>
                <a:gd name="T0" fmla="*/ 2 w 11"/>
                <a:gd name="T1" fmla="*/ 23 h 23"/>
                <a:gd name="T2" fmla="*/ 2 w 11"/>
                <a:gd name="T3" fmla="*/ 1 h 23"/>
                <a:gd name="T4" fmla="*/ 2 w 11"/>
                <a:gd name="T5" fmla="*/ 0 h 23"/>
                <a:gd name="T6" fmla="*/ 0 w 11"/>
                <a:gd name="T7" fmla="*/ 6 h 23"/>
                <a:gd name="T8" fmla="*/ 2 w 11"/>
                <a:gd name="T9" fmla="*/ 23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23"/>
                <a:gd name="T17" fmla="*/ 11 w 11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23">
                  <a:moveTo>
                    <a:pt x="11" y="23"/>
                  </a:moveTo>
                  <a:lnTo>
                    <a:pt x="10" y="1"/>
                  </a:lnTo>
                  <a:lnTo>
                    <a:pt x="5" y="0"/>
                  </a:lnTo>
                  <a:lnTo>
                    <a:pt x="0" y="6"/>
                  </a:lnTo>
                  <a:lnTo>
                    <a:pt x="11" y="23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82" name="Freeform 139"/>
            <p:cNvSpPr>
              <a:spLocks noChangeAspect="1"/>
            </p:cNvSpPr>
            <p:nvPr/>
          </p:nvSpPr>
          <p:spPr bwMode="auto">
            <a:xfrm>
              <a:off x="5397491" y="2611148"/>
              <a:ext cx="47504" cy="44484"/>
            </a:xfrm>
            <a:custGeom>
              <a:avLst/>
              <a:gdLst>
                <a:gd name="T0" fmla="*/ 0 w 37"/>
                <a:gd name="T1" fmla="*/ 17 h 31"/>
                <a:gd name="T2" fmla="*/ 6 w 37"/>
                <a:gd name="T3" fmla="*/ 0 h 31"/>
                <a:gd name="T4" fmla="*/ 6 w 37"/>
                <a:gd name="T5" fmla="*/ 0 h 31"/>
                <a:gd name="T6" fmla="*/ 6 w 37"/>
                <a:gd name="T7" fmla="*/ 7 h 31"/>
                <a:gd name="T8" fmla="*/ 6 w 37"/>
                <a:gd name="T9" fmla="*/ 11 h 31"/>
                <a:gd name="T10" fmla="*/ 6 w 37"/>
                <a:gd name="T11" fmla="*/ 31 h 31"/>
                <a:gd name="T12" fmla="*/ 6 w 37"/>
                <a:gd name="T13" fmla="*/ 30 h 31"/>
                <a:gd name="T14" fmla="*/ 0 w 37"/>
                <a:gd name="T15" fmla="*/ 17 h 3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7"/>
                <a:gd name="T25" fmla="*/ 0 h 31"/>
                <a:gd name="T26" fmla="*/ 37 w 37"/>
                <a:gd name="T27" fmla="*/ 31 h 3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7" h="31">
                  <a:moveTo>
                    <a:pt x="0" y="17"/>
                  </a:moveTo>
                  <a:lnTo>
                    <a:pt x="15" y="0"/>
                  </a:lnTo>
                  <a:lnTo>
                    <a:pt x="36" y="0"/>
                  </a:lnTo>
                  <a:lnTo>
                    <a:pt x="33" y="7"/>
                  </a:lnTo>
                  <a:lnTo>
                    <a:pt x="22" y="11"/>
                  </a:lnTo>
                  <a:lnTo>
                    <a:pt x="37" y="31"/>
                  </a:lnTo>
                  <a:lnTo>
                    <a:pt x="36" y="3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83" name="Freeform 140"/>
            <p:cNvSpPr>
              <a:spLocks noChangeAspect="1"/>
            </p:cNvSpPr>
            <p:nvPr/>
          </p:nvSpPr>
          <p:spPr bwMode="auto">
            <a:xfrm>
              <a:off x="5354179" y="2625498"/>
              <a:ext cx="43312" cy="21524"/>
            </a:xfrm>
            <a:custGeom>
              <a:avLst/>
              <a:gdLst>
                <a:gd name="T0" fmla="*/ 0 w 35"/>
                <a:gd name="T1" fmla="*/ 6 h 15"/>
                <a:gd name="T2" fmla="*/ 4 w 35"/>
                <a:gd name="T3" fmla="*/ 0 h 15"/>
                <a:gd name="T4" fmla="*/ 4 w 35"/>
                <a:gd name="T5" fmla="*/ 7 h 15"/>
                <a:gd name="T6" fmla="*/ 4 w 35"/>
                <a:gd name="T7" fmla="*/ 15 h 15"/>
                <a:gd name="T8" fmla="*/ 0 w 35"/>
                <a:gd name="T9" fmla="*/ 6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15"/>
                <a:gd name="T17" fmla="*/ 35 w 3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15">
                  <a:moveTo>
                    <a:pt x="0" y="6"/>
                  </a:moveTo>
                  <a:lnTo>
                    <a:pt x="14" y="0"/>
                  </a:lnTo>
                  <a:lnTo>
                    <a:pt x="35" y="7"/>
                  </a:lnTo>
                  <a:lnTo>
                    <a:pt x="15" y="15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84" name="Freeform 141"/>
            <p:cNvSpPr>
              <a:spLocks noChangeAspect="1"/>
            </p:cNvSpPr>
            <p:nvPr/>
          </p:nvSpPr>
          <p:spPr bwMode="auto">
            <a:xfrm>
              <a:off x="7095054" y="2856526"/>
              <a:ext cx="13972" cy="10045"/>
            </a:xfrm>
            <a:custGeom>
              <a:avLst/>
              <a:gdLst>
                <a:gd name="T0" fmla="*/ 0 w 12"/>
                <a:gd name="T1" fmla="*/ 0 h 7"/>
                <a:gd name="T2" fmla="*/ 1 w 12"/>
                <a:gd name="T3" fmla="*/ 7 h 7"/>
                <a:gd name="T4" fmla="*/ 3 w 12"/>
                <a:gd name="T5" fmla="*/ 7 h 7"/>
                <a:gd name="T6" fmla="*/ 3 w 12"/>
                <a:gd name="T7" fmla="*/ 0 h 7"/>
                <a:gd name="T8" fmla="*/ 0 w 12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7"/>
                <a:gd name="T17" fmla="*/ 12 w 12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7">
                  <a:moveTo>
                    <a:pt x="0" y="0"/>
                  </a:moveTo>
                  <a:lnTo>
                    <a:pt x="1" y="7"/>
                  </a:lnTo>
                  <a:lnTo>
                    <a:pt x="12" y="7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85" name="Freeform 142"/>
            <p:cNvSpPr>
              <a:spLocks noChangeAspect="1"/>
            </p:cNvSpPr>
            <p:nvPr/>
          </p:nvSpPr>
          <p:spPr bwMode="auto">
            <a:xfrm>
              <a:off x="7095054" y="2856526"/>
              <a:ext cx="13972" cy="1435"/>
            </a:xfrm>
            <a:custGeom>
              <a:avLst/>
              <a:gdLst>
                <a:gd name="T0" fmla="*/ 3 w 12"/>
                <a:gd name="T1" fmla="*/ 0 h 1"/>
                <a:gd name="T2" fmla="*/ 0 w 12"/>
                <a:gd name="T3" fmla="*/ 0 h 1"/>
                <a:gd name="T4" fmla="*/ 3 w 12"/>
                <a:gd name="T5" fmla="*/ 0 h 1"/>
                <a:gd name="T6" fmla="*/ 0 60000 65536"/>
                <a:gd name="T7" fmla="*/ 0 60000 65536"/>
                <a:gd name="T8" fmla="*/ 0 60000 65536"/>
                <a:gd name="T9" fmla="*/ 0 w 12"/>
                <a:gd name="T10" fmla="*/ 0 h 1"/>
                <a:gd name="T11" fmla="*/ 12 w 1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1">
                  <a:moveTo>
                    <a:pt x="12" y="0"/>
                  </a:moveTo>
                  <a:lnTo>
                    <a:pt x="0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86" name="Freeform 143"/>
            <p:cNvSpPr>
              <a:spLocks noChangeAspect="1"/>
            </p:cNvSpPr>
            <p:nvPr/>
          </p:nvSpPr>
          <p:spPr bwMode="auto">
            <a:xfrm>
              <a:off x="3862000" y="3176523"/>
              <a:ext cx="185824" cy="180805"/>
            </a:xfrm>
            <a:custGeom>
              <a:avLst/>
              <a:gdLst>
                <a:gd name="T0" fmla="*/ 4 w 148"/>
                <a:gd name="T1" fmla="*/ 119 h 126"/>
                <a:gd name="T2" fmla="*/ 4 w 148"/>
                <a:gd name="T3" fmla="*/ 113 h 126"/>
                <a:gd name="T4" fmla="*/ 4 w 148"/>
                <a:gd name="T5" fmla="*/ 102 h 126"/>
                <a:gd name="T6" fmla="*/ 4 w 148"/>
                <a:gd name="T7" fmla="*/ 95 h 126"/>
                <a:gd name="T8" fmla="*/ 4 w 148"/>
                <a:gd name="T9" fmla="*/ 70 h 126"/>
                <a:gd name="T10" fmla="*/ 4 w 148"/>
                <a:gd name="T11" fmla="*/ 57 h 126"/>
                <a:gd name="T12" fmla="*/ 4 w 148"/>
                <a:gd name="T13" fmla="*/ 5 h 126"/>
                <a:gd name="T14" fmla="*/ 4 w 148"/>
                <a:gd name="T15" fmla="*/ 16 h 126"/>
                <a:gd name="T16" fmla="*/ 4 w 148"/>
                <a:gd name="T17" fmla="*/ 6 h 126"/>
                <a:gd name="T18" fmla="*/ 4 w 148"/>
                <a:gd name="T19" fmla="*/ 0 h 126"/>
                <a:gd name="T20" fmla="*/ 4 w 148"/>
                <a:gd name="T21" fmla="*/ 23 h 126"/>
                <a:gd name="T22" fmla="*/ 4 w 148"/>
                <a:gd name="T23" fmla="*/ 29 h 126"/>
                <a:gd name="T24" fmla="*/ 0 w 148"/>
                <a:gd name="T25" fmla="*/ 40 h 126"/>
                <a:gd name="T26" fmla="*/ 0 w 148"/>
                <a:gd name="T27" fmla="*/ 41 h 126"/>
                <a:gd name="T28" fmla="*/ 4 w 148"/>
                <a:gd name="T29" fmla="*/ 81 h 126"/>
                <a:gd name="T30" fmla="*/ 4 w 148"/>
                <a:gd name="T31" fmla="*/ 63 h 126"/>
                <a:gd name="T32" fmla="*/ 4 w 148"/>
                <a:gd name="T33" fmla="*/ 62 h 126"/>
                <a:gd name="T34" fmla="*/ 4 w 148"/>
                <a:gd name="T35" fmla="*/ 87 h 126"/>
                <a:gd name="T36" fmla="*/ 4 w 148"/>
                <a:gd name="T37" fmla="*/ 100 h 126"/>
                <a:gd name="T38" fmla="*/ 4 w 148"/>
                <a:gd name="T39" fmla="*/ 100 h 126"/>
                <a:gd name="T40" fmla="*/ 4 w 148"/>
                <a:gd name="T41" fmla="*/ 97 h 126"/>
                <a:gd name="T42" fmla="*/ 4 w 148"/>
                <a:gd name="T43" fmla="*/ 126 h 126"/>
                <a:gd name="T44" fmla="*/ 4 w 148"/>
                <a:gd name="T45" fmla="*/ 119 h 1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48"/>
                <a:gd name="T70" fmla="*/ 0 h 126"/>
                <a:gd name="T71" fmla="*/ 148 w 148"/>
                <a:gd name="T72" fmla="*/ 126 h 1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48" h="126">
                  <a:moveTo>
                    <a:pt x="132" y="119"/>
                  </a:moveTo>
                  <a:lnTo>
                    <a:pt x="140" y="113"/>
                  </a:lnTo>
                  <a:lnTo>
                    <a:pt x="137" y="102"/>
                  </a:lnTo>
                  <a:lnTo>
                    <a:pt x="148" y="95"/>
                  </a:lnTo>
                  <a:lnTo>
                    <a:pt x="140" y="70"/>
                  </a:lnTo>
                  <a:lnTo>
                    <a:pt x="143" y="57"/>
                  </a:lnTo>
                  <a:lnTo>
                    <a:pt x="120" y="5"/>
                  </a:lnTo>
                  <a:lnTo>
                    <a:pt x="87" y="16"/>
                  </a:lnTo>
                  <a:lnTo>
                    <a:pt x="77" y="6"/>
                  </a:lnTo>
                  <a:lnTo>
                    <a:pt x="29" y="0"/>
                  </a:lnTo>
                  <a:lnTo>
                    <a:pt x="26" y="23"/>
                  </a:lnTo>
                  <a:lnTo>
                    <a:pt x="9" y="29"/>
                  </a:lnTo>
                  <a:lnTo>
                    <a:pt x="0" y="40"/>
                  </a:lnTo>
                  <a:lnTo>
                    <a:pt x="0" y="41"/>
                  </a:lnTo>
                  <a:lnTo>
                    <a:pt x="35" y="81"/>
                  </a:lnTo>
                  <a:lnTo>
                    <a:pt x="54" y="63"/>
                  </a:lnTo>
                  <a:lnTo>
                    <a:pt x="73" y="62"/>
                  </a:lnTo>
                  <a:lnTo>
                    <a:pt x="91" y="87"/>
                  </a:lnTo>
                  <a:lnTo>
                    <a:pt x="89" y="100"/>
                  </a:lnTo>
                  <a:lnTo>
                    <a:pt x="95" y="100"/>
                  </a:lnTo>
                  <a:lnTo>
                    <a:pt x="108" y="97"/>
                  </a:lnTo>
                  <a:lnTo>
                    <a:pt x="120" y="126"/>
                  </a:lnTo>
                  <a:lnTo>
                    <a:pt x="132" y="11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87" name="Freeform 144"/>
            <p:cNvSpPr>
              <a:spLocks noChangeAspect="1"/>
            </p:cNvSpPr>
            <p:nvPr/>
          </p:nvSpPr>
          <p:spPr bwMode="auto">
            <a:xfrm>
              <a:off x="4559188" y="3426206"/>
              <a:ext cx="484818" cy="602684"/>
            </a:xfrm>
            <a:custGeom>
              <a:avLst/>
              <a:gdLst>
                <a:gd name="T0" fmla="*/ 5 w 385"/>
                <a:gd name="T1" fmla="*/ 8 h 420"/>
                <a:gd name="T2" fmla="*/ 5 w 385"/>
                <a:gd name="T3" fmla="*/ 19 h 420"/>
                <a:gd name="T4" fmla="*/ 5 w 385"/>
                <a:gd name="T5" fmla="*/ 15 h 420"/>
                <a:gd name="T6" fmla="*/ 5 w 385"/>
                <a:gd name="T7" fmla="*/ 0 h 420"/>
                <a:gd name="T8" fmla="*/ 5 w 385"/>
                <a:gd name="T9" fmla="*/ 0 h 420"/>
                <a:gd name="T10" fmla="*/ 5 w 385"/>
                <a:gd name="T11" fmla="*/ 34 h 420"/>
                <a:gd name="T12" fmla="*/ 5 w 385"/>
                <a:gd name="T13" fmla="*/ 74 h 420"/>
                <a:gd name="T14" fmla="*/ 5 w 385"/>
                <a:gd name="T15" fmla="*/ 134 h 420"/>
                <a:gd name="T16" fmla="*/ 5 w 385"/>
                <a:gd name="T17" fmla="*/ 166 h 420"/>
                <a:gd name="T18" fmla="*/ 5 w 385"/>
                <a:gd name="T19" fmla="*/ 208 h 420"/>
                <a:gd name="T20" fmla="*/ 5 w 385"/>
                <a:gd name="T21" fmla="*/ 229 h 420"/>
                <a:gd name="T22" fmla="*/ 5 w 385"/>
                <a:gd name="T23" fmla="*/ 220 h 420"/>
                <a:gd name="T24" fmla="*/ 5 w 385"/>
                <a:gd name="T25" fmla="*/ 229 h 420"/>
                <a:gd name="T26" fmla="*/ 5 w 385"/>
                <a:gd name="T27" fmla="*/ 226 h 420"/>
                <a:gd name="T28" fmla="*/ 4 w 385"/>
                <a:gd name="T29" fmla="*/ 232 h 420"/>
                <a:gd name="T30" fmla="*/ 0 w 385"/>
                <a:gd name="T31" fmla="*/ 253 h 420"/>
                <a:gd name="T32" fmla="*/ 4 w 385"/>
                <a:gd name="T33" fmla="*/ 263 h 420"/>
                <a:gd name="T34" fmla="*/ 5 w 385"/>
                <a:gd name="T35" fmla="*/ 252 h 420"/>
                <a:gd name="T36" fmla="*/ 5 w 385"/>
                <a:gd name="T37" fmla="*/ 251 h 420"/>
                <a:gd name="T38" fmla="*/ 5 w 385"/>
                <a:gd name="T39" fmla="*/ 258 h 420"/>
                <a:gd name="T40" fmla="*/ 5 w 385"/>
                <a:gd name="T41" fmla="*/ 286 h 420"/>
                <a:gd name="T42" fmla="*/ 5 w 385"/>
                <a:gd name="T43" fmla="*/ 305 h 420"/>
                <a:gd name="T44" fmla="*/ 5 w 385"/>
                <a:gd name="T45" fmla="*/ 302 h 420"/>
                <a:gd name="T46" fmla="*/ 5 w 385"/>
                <a:gd name="T47" fmla="*/ 280 h 420"/>
                <a:gd name="T48" fmla="*/ 5 w 385"/>
                <a:gd name="T49" fmla="*/ 276 h 420"/>
                <a:gd name="T50" fmla="*/ 5 w 385"/>
                <a:gd name="T51" fmla="*/ 283 h 420"/>
                <a:gd name="T52" fmla="*/ 5 w 385"/>
                <a:gd name="T53" fmla="*/ 286 h 420"/>
                <a:gd name="T54" fmla="*/ 5 w 385"/>
                <a:gd name="T55" fmla="*/ 292 h 420"/>
                <a:gd name="T56" fmla="*/ 5 w 385"/>
                <a:gd name="T57" fmla="*/ 338 h 420"/>
                <a:gd name="T58" fmla="*/ 5 w 385"/>
                <a:gd name="T59" fmla="*/ 360 h 420"/>
                <a:gd name="T60" fmla="*/ 5 w 385"/>
                <a:gd name="T61" fmla="*/ 371 h 420"/>
                <a:gd name="T62" fmla="*/ 5 w 385"/>
                <a:gd name="T63" fmla="*/ 377 h 420"/>
                <a:gd name="T64" fmla="*/ 5 w 385"/>
                <a:gd name="T65" fmla="*/ 367 h 420"/>
                <a:gd name="T66" fmla="*/ 5 w 385"/>
                <a:gd name="T67" fmla="*/ 390 h 420"/>
                <a:gd name="T68" fmla="*/ 5 w 385"/>
                <a:gd name="T69" fmla="*/ 388 h 420"/>
                <a:gd name="T70" fmla="*/ 5 w 385"/>
                <a:gd name="T71" fmla="*/ 416 h 420"/>
                <a:gd name="T72" fmla="*/ 5 w 385"/>
                <a:gd name="T73" fmla="*/ 420 h 420"/>
                <a:gd name="T74" fmla="*/ 5 w 385"/>
                <a:gd name="T75" fmla="*/ 397 h 420"/>
                <a:gd name="T76" fmla="*/ 5 w 385"/>
                <a:gd name="T77" fmla="*/ 399 h 420"/>
                <a:gd name="T78" fmla="*/ 5 w 385"/>
                <a:gd name="T79" fmla="*/ 389 h 420"/>
                <a:gd name="T80" fmla="*/ 5 w 385"/>
                <a:gd name="T81" fmla="*/ 327 h 420"/>
                <a:gd name="T82" fmla="*/ 5 w 385"/>
                <a:gd name="T83" fmla="*/ 315 h 420"/>
                <a:gd name="T84" fmla="*/ 5 w 385"/>
                <a:gd name="T85" fmla="*/ 306 h 420"/>
                <a:gd name="T86" fmla="*/ 5 w 385"/>
                <a:gd name="T87" fmla="*/ 305 h 420"/>
                <a:gd name="T88" fmla="*/ 5 w 385"/>
                <a:gd name="T89" fmla="*/ 260 h 420"/>
                <a:gd name="T90" fmla="*/ 5 w 385"/>
                <a:gd name="T91" fmla="*/ 219 h 420"/>
                <a:gd name="T92" fmla="*/ 5 w 385"/>
                <a:gd name="T93" fmla="*/ 195 h 420"/>
                <a:gd name="T94" fmla="*/ 5 w 385"/>
                <a:gd name="T95" fmla="*/ 180 h 420"/>
                <a:gd name="T96" fmla="*/ 5 w 385"/>
                <a:gd name="T97" fmla="*/ 172 h 420"/>
                <a:gd name="T98" fmla="*/ 5 w 385"/>
                <a:gd name="T99" fmla="*/ 148 h 420"/>
                <a:gd name="T100" fmla="*/ 5 w 385"/>
                <a:gd name="T101" fmla="*/ 108 h 420"/>
                <a:gd name="T102" fmla="*/ 5 w 385"/>
                <a:gd name="T103" fmla="*/ 89 h 420"/>
                <a:gd name="T104" fmla="*/ 5 w 385"/>
                <a:gd name="T105" fmla="*/ 67 h 420"/>
                <a:gd name="T106" fmla="*/ 5 w 385"/>
                <a:gd name="T107" fmla="*/ 57 h 420"/>
                <a:gd name="T108" fmla="*/ 5 w 385"/>
                <a:gd name="T109" fmla="*/ 35 h 420"/>
                <a:gd name="T110" fmla="*/ 5 w 385"/>
                <a:gd name="T111" fmla="*/ 14 h 420"/>
                <a:gd name="T112" fmla="*/ 5 w 385"/>
                <a:gd name="T113" fmla="*/ 17 h 420"/>
                <a:gd name="T114" fmla="*/ 5 w 385"/>
                <a:gd name="T115" fmla="*/ 0 h 420"/>
                <a:gd name="T116" fmla="*/ 5 w 385"/>
                <a:gd name="T117" fmla="*/ 8 h 4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85"/>
                <a:gd name="T178" fmla="*/ 0 h 420"/>
                <a:gd name="T179" fmla="*/ 385 w 385"/>
                <a:gd name="T180" fmla="*/ 420 h 4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85" h="420">
                  <a:moveTo>
                    <a:pt x="213" y="8"/>
                  </a:moveTo>
                  <a:lnTo>
                    <a:pt x="204" y="19"/>
                  </a:lnTo>
                  <a:lnTo>
                    <a:pt x="166" y="15"/>
                  </a:lnTo>
                  <a:lnTo>
                    <a:pt x="156" y="0"/>
                  </a:lnTo>
                  <a:lnTo>
                    <a:pt x="145" y="0"/>
                  </a:lnTo>
                  <a:lnTo>
                    <a:pt x="126" y="34"/>
                  </a:lnTo>
                  <a:lnTo>
                    <a:pt x="114" y="74"/>
                  </a:lnTo>
                  <a:lnTo>
                    <a:pt x="108" y="134"/>
                  </a:lnTo>
                  <a:lnTo>
                    <a:pt x="80" y="166"/>
                  </a:lnTo>
                  <a:lnTo>
                    <a:pt x="71" y="208"/>
                  </a:lnTo>
                  <a:lnTo>
                    <a:pt x="44" y="229"/>
                  </a:lnTo>
                  <a:lnTo>
                    <a:pt x="39" y="220"/>
                  </a:lnTo>
                  <a:lnTo>
                    <a:pt x="23" y="229"/>
                  </a:lnTo>
                  <a:lnTo>
                    <a:pt x="12" y="226"/>
                  </a:lnTo>
                  <a:lnTo>
                    <a:pt x="4" y="232"/>
                  </a:lnTo>
                  <a:lnTo>
                    <a:pt x="0" y="253"/>
                  </a:lnTo>
                  <a:lnTo>
                    <a:pt x="4" y="263"/>
                  </a:lnTo>
                  <a:lnTo>
                    <a:pt x="23" y="252"/>
                  </a:lnTo>
                  <a:lnTo>
                    <a:pt x="73" y="251"/>
                  </a:lnTo>
                  <a:lnTo>
                    <a:pt x="85" y="258"/>
                  </a:lnTo>
                  <a:lnTo>
                    <a:pt x="92" y="286"/>
                  </a:lnTo>
                  <a:lnTo>
                    <a:pt x="112" y="305"/>
                  </a:lnTo>
                  <a:lnTo>
                    <a:pt x="139" y="302"/>
                  </a:lnTo>
                  <a:lnTo>
                    <a:pt x="145" y="280"/>
                  </a:lnTo>
                  <a:lnTo>
                    <a:pt x="170" y="276"/>
                  </a:lnTo>
                  <a:lnTo>
                    <a:pt x="170" y="283"/>
                  </a:lnTo>
                  <a:lnTo>
                    <a:pt x="187" y="286"/>
                  </a:lnTo>
                  <a:lnTo>
                    <a:pt x="189" y="292"/>
                  </a:lnTo>
                  <a:lnTo>
                    <a:pt x="191" y="338"/>
                  </a:lnTo>
                  <a:lnTo>
                    <a:pt x="199" y="360"/>
                  </a:lnTo>
                  <a:lnTo>
                    <a:pt x="193" y="371"/>
                  </a:lnTo>
                  <a:lnTo>
                    <a:pt x="197" y="377"/>
                  </a:lnTo>
                  <a:lnTo>
                    <a:pt x="236" y="367"/>
                  </a:lnTo>
                  <a:lnTo>
                    <a:pt x="277" y="390"/>
                  </a:lnTo>
                  <a:lnTo>
                    <a:pt x="295" y="388"/>
                  </a:lnTo>
                  <a:lnTo>
                    <a:pt x="328" y="416"/>
                  </a:lnTo>
                  <a:lnTo>
                    <a:pt x="345" y="420"/>
                  </a:lnTo>
                  <a:lnTo>
                    <a:pt x="347" y="397"/>
                  </a:lnTo>
                  <a:lnTo>
                    <a:pt x="335" y="399"/>
                  </a:lnTo>
                  <a:lnTo>
                    <a:pt x="327" y="389"/>
                  </a:lnTo>
                  <a:lnTo>
                    <a:pt x="333" y="327"/>
                  </a:lnTo>
                  <a:lnTo>
                    <a:pt x="337" y="315"/>
                  </a:lnTo>
                  <a:lnTo>
                    <a:pt x="368" y="306"/>
                  </a:lnTo>
                  <a:lnTo>
                    <a:pt x="374" y="305"/>
                  </a:lnTo>
                  <a:lnTo>
                    <a:pt x="350" y="260"/>
                  </a:lnTo>
                  <a:lnTo>
                    <a:pt x="348" y="219"/>
                  </a:lnTo>
                  <a:lnTo>
                    <a:pt x="345" y="195"/>
                  </a:lnTo>
                  <a:lnTo>
                    <a:pt x="341" y="180"/>
                  </a:lnTo>
                  <a:lnTo>
                    <a:pt x="339" y="172"/>
                  </a:lnTo>
                  <a:lnTo>
                    <a:pt x="352" y="148"/>
                  </a:lnTo>
                  <a:lnTo>
                    <a:pt x="357" y="108"/>
                  </a:lnTo>
                  <a:lnTo>
                    <a:pt x="369" y="89"/>
                  </a:lnTo>
                  <a:lnTo>
                    <a:pt x="385" y="67"/>
                  </a:lnTo>
                  <a:lnTo>
                    <a:pt x="375" y="57"/>
                  </a:lnTo>
                  <a:lnTo>
                    <a:pt x="376" y="35"/>
                  </a:lnTo>
                  <a:lnTo>
                    <a:pt x="354" y="14"/>
                  </a:lnTo>
                  <a:lnTo>
                    <a:pt x="322" y="17"/>
                  </a:lnTo>
                  <a:lnTo>
                    <a:pt x="308" y="0"/>
                  </a:lnTo>
                  <a:lnTo>
                    <a:pt x="213" y="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88" name="Freeform 145"/>
            <p:cNvSpPr>
              <a:spLocks noChangeAspect="1"/>
            </p:cNvSpPr>
            <p:nvPr/>
          </p:nvSpPr>
          <p:spPr bwMode="auto">
            <a:xfrm>
              <a:off x="4613678" y="3233921"/>
              <a:ext cx="332527" cy="268338"/>
            </a:xfrm>
            <a:custGeom>
              <a:avLst/>
              <a:gdLst>
                <a:gd name="T0" fmla="*/ 3 w 265"/>
                <a:gd name="T1" fmla="*/ 142 h 187"/>
                <a:gd name="T2" fmla="*/ 0 w 265"/>
                <a:gd name="T3" fmla="*/ 120 h 187"/>
                <a:gd name="T4" fmla="*/ 4 w 265"/>
                <a:gd name="T5" fmla="*/ 81 h 187"/>
                <a:gd name="T6" fmla="*/ 4 w 265"/>
                <a:gd name="T7" fmla="*/ 68 h 187"/>
                <a:gd name="T8" fmla="*/ 4 w 265"/>
                <a:gd name="T9" fmla="*/ 55 h 187"/>
                <a:gd name="T10" fmla="*/ 4 w 265"/>
                <a:gd name="T11" fmla="*/ 49 h 187"/>
                <a:gd name="T12" fmla="*/ 4 w 265"/>
                <a:gd name="T13" fmla="*/ 41 h 187"/>
                <a:gd name="T14" fmla="*/ 4 w 265"/>
                <a:gd name="T15" fmla="*/ 6 h 187"/>
                <a:gd name="T16" fmla="*/ 4 w 265"/>
                <a:gd name="T17" fmla="*/ 0 h 187"/>
                <a:gd name="T18" fmla="*/ 4 w 265"/>
                <a:gd name="T19" fmla="*/ 26 h 187"/>
                <a:gd name="T20" fmla="*/ 4 w 265"/>
                <a:gd name="T21" fmla="*/ 47 h 187"/>
                <a:gd name="T22" fmla="*/ 4 w 265"/>
                <a:gd name="T23" fmla="*/ 64 h 187"/>
                <a:gd name="T24" fmla="*/ 4 w 265"/>
                <a:gd name="T25" fmla="*/ 134 h 187"/>
                <a:gd name="T26" fmla="*/ 4 w 265"/>
                <a:gd name="T27" fmla="*/ 142 h 187"/>
                <a:gd name="T28" fmla="*/ 4 w 265"/>
                <a:gd name="T29" fmla="*/ 153 h 187"/>
                <a:gd name="T30" fmla="*/ 4 w 265"/>
                <a:gd name="T31" fmla="*/ 149 h 187"/>
                <a:gd name="T32" fmla="*/ 4 w 265"/>
                <a:gd name="T33" fmla="*/ 134 h 187"/>
                <a:gd name="T34" fmla="*/ 4 w 265"/>
                <a:gd name="T35" fmla="*/ 134 h 187"/>
                <a:gd name="T36" fmla="*/ 4 w 265"/>
                <a:gd name="T37" fmla="*/ 168 h 187"/>
                <a:gd name="T38" fmla="*/ 4 w 265"/>
                <a:gd name="T39" fmla="*/ 174 h 187"/>
                <a:gd name="T40" fmla="*/ 4 w 265"/>
                <a:gd name="T41" fmla="*/ 168 h 187"/>
                <a:gd name="T42" fmla="*/ 4 w 265"/>
                <a:gd name="T43" fmla="*/ 175 h 187"/>
                <a:gd name="T44" fmla="*/ 4 w 265"/>
                <a:gd name="T45" fmla="*/ 187 h 187"/>
                <a:gd name="T46" fmla="*/ 3 w 265"/>
                <a:gd name="T47" fmla="*/ 142 h 18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5"/>
                <a:gd name="T73" fmla="*/ 0 h 187"/>
                <a:gd name="T74" fmla="*/ 265 w 265"/>
                <a:gd name="T75" fmla="*/ 187 h 18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5" h="187">
                  <a:moveTo>
                    <a:pt x="3" y="142"/>
                  </a:moveTo>
                  <a:lnTo>
                    <a:pt x="0" y="120"/>
                  </a:lnTo>
                  <a:lnTo>
                    <a:pt x="17" y="81"/>
                  </a:lnTo>
                  <a:lnTo>
                    <a:pt x="80" y="68"/>
                  </a:lnTo>
                  <a:lnTo>
                    <a:pt x="93" y="55"/>
                  </a:lnTo>
                  <a:lnTo>
                    <a:pt x="89" y="49"/>
                  </a:lnTo>
                  <a:lnTo>
                    <a:pt x="121" y="41"/>
                  </a:lnTo>
                  <a:lnTo>
                    <a:pt x="148" y="6"/>
                  </a:lnTo>
                  <a:lnTo>
                    <a:pt x="167" y="0"/>
                  </a:lnTo>
                  <a:lnTo>
                    <a:pt x="184" y="26"/>
                  </a:lnTo>
                  <a:lnTo>
                    <a:pt x="182" y="47"/>
                  </a:lnTo>
                  <a:lnTo>
                    <a:pt x="212" y="64"/>
                  </a:lnTo>
                  <a:lnTo>
                    <a:pt x="265" y="134"/>
                  </a:lnTo>
                  <a:lnTo>
                    <a:pt x="170" y="142"/>
                  </a:lnTo>
                  <a:lnTo>
                    <a:pt x="161" y="153"/>
                  </a:lnTo>
                  <a:lnTo>
                    <a:pt x="123" y="149"/>
                  </a:lnTo>
                  <a:lnTo>
                    <a:pt x="113" y="134"/>
                  </a:lnTo>
                  <a:lnTo>
                    <a:pt x="102" y="134"/>
                  </a:lnTo>
                  <a:lnTo>
                    <a:pt x="83" y="168"/>
                  </a:lnTo>
                  <a:lnTo>
                    <a:pt x="70" y="174"/>
                  </a:lnTo>
                  <a:lnTo>
                    <a:pt x="58" y="168"/>
                  </a:lnTo>
                  <a:lnTo>
                    <a:pt x="42" y="175"/>
                  </a:lnTo>
                  <a:lnTo>
                    <a:pt x="32" y="187"/>
                  </a:lnTo>
                  <a:lnTo>
                    <a:pt x="3" y="14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89" name="Freeform 146"/>
            <p:cNvSpPr>
              <a:spLocks noChangeAspect="1"/>
            </p:cNvSpPr>
            <p:nvPr/>
          </p:nvSpPr>
          <p:spPr bwMode="auto">
            <a:xfrm>
              <a:off x="4113491" y="3101905"/>
              <a:ext cx="192810" cy="179370"/>
            </a:xfrm>
            <a:custGeom>
              <a:avLst/>
              <a:gdLst>
                <a:gd name="T0" fmla="*/ 5 w 153"/>
                <a:gd name="T1" fmla="*/ 52 h 125"/>
                <a:gd name="T2" fmla="*/ 5 w 153"/>
                <a:gd name="T3" fmla="*/ 53 h 125"/>
                <a:gd name="T4" fmla="*/ 5 w 153"/>
                <a:gd name="T5" fmla="*/ 21 h 125"/>
                <a:gd name="T6" fmla="*/ 5 w 153"/>
                <a:gd name="T7" fmla="*/ 0 h 125"/>
                <a:gd name="T8" fmla="*/ 5 w 153"/>
                <a:gd name="T9" fmla="*/ 2 h 125"/>
                <a:gd name="T10" fmla="*/ 5 w 153"/>
                <a:gd name="T11" fmla="*/ 31 h 125"/>
                <a:gd name="T12" fmla="*/ 5 w 153"/>
                <a:gd name="T13" fmla="*/ 39 h 125"/>
                <a:gd name="T14" fmla="*/ 5 w 153"/>
                <a:gd name="T15" fmla="*/ 79 h 125"/>
                <a:gd name="T16" fmla="*/ 0 w 153"/>
                <a:gd name="T17" fmla="*/ 106 h 125"/>
                <a:gd name="T18" fmla="*/ 5 w 153"/>
                <a:gd name="T19" fmla="*/ 118 h 125"/>
                <a:gd name="T20" fmla="*/ 5 w 153"/>
                <a:gd name="T21" fmla="*/ 114 h 125"/>
                <a:gd name="T22" fmla="*/ 5 w 153"/>
                <a:gd name="T23" fmla="*/ 125 h 125"/>
                <a:gd name="T24" fmla="*/ 5 w 153"/>
                <a:gd name="T25" fmla="*/ 96 h 125"/>
                <a:gd name="T26" fmla="*/ 5 w 153"/>
                <a:gd name="T27" fmla="*/ 91 h 125"/>
                <a:gd name="T28" fmla="*/ 5 w 153"/>
                <a:gd name="T29" fmla="*/ 89 h 125"/>
                <a:gd name="T30" fmla="*/ 5 w 153"/>
                <a:gd name="T31" fmla="*/ 91 h 125"/>
                <a:gd name="T32" fmla="*/ 5 w 153"/>
                <a:gd name="T33" fmla="*/ 80 h 125"/>
                <a:gd name="T34" fmla="*/ 5 w 153"/>
                <a:gd name="T35" fmla="*/ 82 h 125"/>
                <a:gd name="T36" fmla="*/ 5 w 153"/>
                <a:gd name="T37" fmla="*/ 70 h 125"/>
                <a:gd name="T38" fmla="*/ 5 w 153"/>
                <a:gd name="T39" fmla="*/ 52 h 12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53"/>
                <a:gd name="T61" fmla="*/ 0 h 125"/>
                <a:gd name="T62" fmla="*/ 153 w 153"/>
                <a:gd name="T63" fmla="*/ 125 h 12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53" h="125">
                  <a:moveTo>
                    <a:pt x="146" y="52"/>
                  </a:moveTo>
                  <a:lnTo>
                    <a:pt x="134" y="53"/>
                  </a:lnTo>
                  <a:lnTo>
                    <a:pt x="112" y="21"/>
                  </a:lnTo>
                  <a:lnTo>
                    <a:pt x="109" y="0"/>
                  </a:lnTo>
                  <a:lnTo>
                    <a:pt x="91" y="2"/>
                  </a:lnTo>
                  <a:lnTo>
                    <a:pt x="55" y="31"/>
                  </a:lnTo>
                  <a:lnTo>
                    <a:pt x="30" y="39"/>
                  </a:lnTo>
                  <a:lnTo>
                    <a:pt x="5" y="79"/>
                  </a:lnTo>
                  <a:lnTo>
                    <a:pt x="0" y="106"/>
                  </a:lnTo>
                  <a:lnTo>
                    <a:pt x="7" y="118"/>
                  </a:lnTo>
                  <a:lnTo>
                    <a:pt x="33" y="114"/>
                  </a:lnTo>
                  <a:lnTo>
                    <a:pt x="51" y="125"/>
                  </a:lnTo>
                  <a:lnTo>
                    <a:pt x="46" y="96"/>
                  </a:lnTo>
                  <a:lnTo>
                    <a:pt x="51" y="91"/>
                  </a:lnTo>
                  <a:lnTo>
                    <a:pt x="101" y="89"/>
                  </a:lnTo>
                  <a:lnTo>
                    <a:pt x="123" y="91"/>
                  </a:lnTo>
                  <a:lnTo>
                    <a:pt x="134" y="80"/>
                  </a:lnTo>
                  <a:lnTo>
                    <a:pt x="144" y="82"/>
                  </a:lnTo>
                  <a:lnTo>
                    <a:pt x="153" y="70"/>
                  </a:lnTo>
                  <a:lnTo>
                    <a:pt x="146" y="5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90" name="Freeform 147"/>
            <p:cNvSpPr>
              <a:spLocks noChangeAspect="1"/>
            </p:cNvSpPr>
            <p:nvPr/>
          </p:nvSpPr>
          <p:spPr bwMode="auto">
            <a:xfrm>
              <a:off x="4250414" y="2819217"/>
              <a:ext cx="399591" cy="390310"/>
            </a:xfrm>
            <a:custGeom>
              <a:avLst/>
              <a:gdLst>
                <a:gd name="T0" fmla="*/ 5 w 317"/>
                <a:gd name="T1" fmla="*/ 224 h 272"/>
                <a:gd name="T2" fmla="*/ 5 w 317"/>
                <a:gd name="T3" fmla="*/ 212 h 272"/>
                <a:gd name="T4" fmla="*/ 5 w 317"/>
                <a:gd name="T5" fmla="*/ 147 h 272"/>
                <a:gd name="T6" fmla="*/ 5 w 317"/>
                <a:gd name="T7" fmla="*/ 72 h 272"/>
                <a:gd name="T8" fmla="*/ 5 w 317"/>
                <a:gd name="T9" fmla="*/ 65 h 272"/>
                <a:gd name="T10" fmla="*/ 5 w 317"/>
                <a:gd name="T11" fmla="*/ 48 h 272"/>
                <a:gd name="T12" fmla="*/ 5 w 317"/>
                <a:gd name="T13" fmla="*/ 13 h 272"/>
                <a:gd name="T14" fmla="*/ 5 w 317"/>
                <a:gd name="T15" fmla="*/ 3 h 272"/>
                <a:gd name="T16" fmla="*/ 5 w 317"/>
                <a:gd name="T17" fmla="*/ 0 h 272"/>
                <a:gd name="T18" fmla="*/ 5 w 317"/>
                <a:gd name="T19" fmla="*/ 94 h 272"/>
                <a:gd name="T20" fmla="*/ 5 w 317"/>
                <a:gd name="T21" fmla="*/ 101 h 272"/>
                <a:gd name="T22" fmla="*/ 5 w 317"/>
                <a:gd name="T23" fmla="*/ 170 h 272"/>
                <a:gd name="T24" fmla="*/ 5 w 317"/>
                <a:gd name="T25" fmla="*/ 180 h 272"/>
                <a:gd name="T26" fmla="*/ 0 w 317"/>
                <a:gd name="T27" fmla="*/ 197 h 272"/>
                <a:gd name="T28" fmla="*/ 3 w 317"/>
                <a:gd name="T29" fmla="*/ 218 h 272"/>
                <a:gd name="T30" fmla="*/ 5 w 317"/>
                <a:gd name="T31" fmla="*/ 250 h 272"/>
                <a:gd name="T32" fmla="*/ 5 w 317"/>
                <a:gd name="T33" fmla="*/ 249 h 272"/>
                <a:gd name="T34" fmla="*/ 5 w 317"/>
                <a:gd name="T35" fmla="*/ 267 h 272"/>
                <a:gd name="T36" fmla="*/ 5 w 317"/>
                <a:gd name="T37" fmla="*/ 259 h 272"/>
                <a:gd name="T38" fmla="*/ 5 w 317"/>
                <a:gd name="T39" fmla="*/ 258 h 272"/>
                <a:gd name="T40" fmla="*/ 5 w 317"/>
                <a:gd name="T41" fmla="*/ 272 h 272"/>
                <a:gd name="T42" fmla="*/ 5 w 317"/>
                <a:gd name="T43" fmla="*/ 250 h 272"/>
                <a:gd name="T44" fmla="*/ 5 w 317"/>
                <a:gd name="T45" fmla="*/ 226 h 272"/>
                <a:gd name="T46" fmla="*/ 5 w 317"/>
                <a:gd name="T47" fmla="*/ 224 h 272"/>
                <a:gd name="T48" fmla="*/ 5 w 317"/>
                <a:gd name="T49" fmla="*/ 243 h 272"/>
                <a:gd name="T50" fmla="*/ 5 w 317"/>
                <a:gd name="T51" fmla="*/ 235 h 272"/>
                <a:gd name="T52" fmla="*/ 5 w 317"/>
                <a:gd name="T53" fmla="*/ 248 h 272"/>
                <a:gd name="T54" fmla="*/ 5 w 317"/>
                <a:gd name="T55" fmla="*/ 235 h 272"/>
                <a:gd name="T56" fmla="*/ 5 w 317"/>
                <a:gd name="T57" fmla="*/ 238 h 272"/>
                <a:gd name="T58" fmla="*/ 5 w 317"/>
                <a:gd name="T59" fmla="*/ 224 h 272"/>
                <a:gd name="T60" fmla="*/ 5 w 317"/>
                <a:gd name="T61" fmla="*/ 224 h 27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17"/>
                <a:gd name="T94" fmla="*/ 0 h 272"/>
                <a:gd name="T95" fmla="*/ 317 w 317"/>
                <a:gd name="T96" fmla="*/ 272 h 27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17" h="272">
                  <a:moveTo>
                    <a:pt x="267" y="224"/>
                  </a:moveTo>
                  <a:lnTo>
                    <a:pt x="265" y="212"/>
                  </a:lnTo>
                  <a:lnTo>
                    <a:pt x="305" y="147"/>
                  </a:lnTo>
                  <a:lnTo>
                    <a:pt x="317" y="72"/>
                  </a:lnTo>
                  <a:lnTo>
                    <a:pt x="306" y="65"/>
                  </a:lnTo>
                  <a:lnTo>
                    <a:pt x="297" y="48"/>
                  </a:lnTo>
                  <a:lnTo>
                    <a:pt x="297" y="13"/>
                  </a:lnTo>
                  <a:lnTo>
                    <a:pt x="277" y="3"/>
                  </a:lnTo>
                  <a:lnTo>
                    <a:pt x="233" y="0"/>
                  </a:lnTo>
                  <a:lnTo>
                    <a:pt x="109" y="94"/>
                  </a:lnTo>
                  <a:lnTo>
                    <a:pt x="80" y="101"/>
                  </a:lnTo>
                  <a:lnTo>
                    <a:pt x="80" y="170"/>
                  </a:lnTo>
                  <a:lnTo>
                    <a:pt x="73" y="180"/>
                  </a:lnTo>
                  <a:lnTo>
                    <a:pt x="0" y="197"/>
                  </a:lnTo>
                  <a:lnTo>
                    <a:pt x="3" y="218"/>
                  </a:lnTo>
                  <a:lnTo>
                    <a:pt x="25" y="250"/>
                  </a:lnTo>
                  <a:lnTo>
                    <a:pt x="37" y="249"/>
                  </a:lnTo>
                  <a:lnTo>
                    <a:pt x="44" y="267"/>
                  </a:lnTo>
                  <a:lnTo>
                    <a:pt x="49" y="259"/>
                  </a:lnTo>
                  <a:lnTo>
                    <a:pt x="61" y="258"/>
                  </a:lnTo>
                  <a:lnTo>
                    <a:pt x="68" y="272"/>
                  </a:lnTo>
                  <a:lnTo>
                    <a:pt x="71" y="250"/>
                  </a:lnTo>
                  <a:lnTo>
                    <a:pt x="90" y="226"/>
                  </a:lnTo>
                  <a:lnTo>
                    <a:pt x="109" y="224"/>
                  </a:lnTo>
                  <a:lnTo>
                    <a:pt x="137" y="243"/>
                  </a:lnTo>
                  <a:lnTo>
                    <a:pt x="153" y="235"/>
                  </a:lnTo>
                  <a:lnTo>
                    <a:pt x="182" y="248"/>
                  </a:lnTo>
                  <a:lnTo>
                    <a:pt x="206" y="235"/>
                  </a:lnTo>
                  <a:lnTo>
                    <a:pt x="243" y="238"/>
                  </a:lnTo>
                  <a:lnTo>
                    <a:pt x="261" y="224"/>
                  </a:lnTo>
                  <a:lnTo>
                    <a:pt x="267" y="224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91" name="Freeform 148"/>
            <p:cNvSpPr>
              <a:spLocks noChangeAspect="1"/>
            </p:cNvSpPr>
            <p:nvPr/>
          </p:nvSpPr>
          <p:spPr bwMode="auto">
            <a:xfrm>
              <a:off x="3938844" y="2770429"/>
              <a:ext cx="410768" cy="487887"/>
            </a:xfrm>
            <a:custGeom>
              <a:avLst/>
              <a:gdLst>
                <a:gd name="T0" fmla="*/ 4 w 327"/>
                <a:gd name="T1" fmla="*/ 231 h 340"/>
                <a:gd name="T2" fmla="*/ 4 w 327"/>
                <a:gd name="T3" fmla="*/ 214 h 340"/>
                <a:gd name="T4" fmla="*/ 4 w 327"/>
                <a:gd name="T5" fmla="*/ 204 h 340"/>
                <a:gd name="T6" fmla="*/ 4 w 327"/>
                <a:gd name="T7" fmla="*/ 135 h 340"/>
                <a:gd name="T8" fmla="*/ 4 w 327"/>
                <a:gd name="T9" fmla="*/ 138 h 340"/>
                <a:gd name="T10" fmla="*/ 4 w 327"/>
                <a:gd name="T11" fmla="*/ 117 h 340"/>
                <a:gd name="T12" fmla="*/ 4 w 327"/>
                <a:gd name="T13" fmla="*/ 106 h 340"/>
                <a:gd name="T14" fmla="*/ 4 w 327"/>
                <a:gd name="T15" fmla="*/ 87 h 340"/>
                <a:gd name="T16" fmla="*/ 4 w 327"/>
                <a:gd name="T17" fmla="*/ 0 h 340"/>
                <a:gd name="T18" fmla="*/ 4 w 327"/>
                <a:gd name="T19" fmla="*/ 0 h 340"/>
                <a:gd name="T20" fmla="*/ 4 w 327"/>
                <a:gd name="T21" fmla="*/ 218 h 340"/>
                <a:gd name="T22" fmla="*/ 4 w 327"/>
                <a:gd name="T23" fmla="*/ 218 h 340"/>
                <a:gd name="T24" fmla="*/ 4 w 327"/>
                <a:gd name="T25" fmla="*/ 226 h 340"/>
                <a:gd name="T26" fmla="*/ 4 w 327"/>
                <a:gd name="T27" fmla="*/ 210 h 340"/>
                <a:gd name="T28" fmla="*/ 0 w 327"/>
                <a:gd name="T29" fmla="*/ 236 h 340"/>
                <a:gd name="T30" fmla="*/ 4 w 327"/>
                <a:gd name="T31" fmla="*/ 289 h 340"/>
                <a:gd name="T32" fmla="*/ 4 w 327"/>
                <a:gd name="T33" fmla="*/ 299 h 340"/>
                <a:gd name="T34" fmla="*/ 4 w 327"/>
                <a:gd name="T35" fmla="*/ 288 h 340"/>
                <a:gd name="T36" fmla="*/ 4 w 327"/>
                <a:gd name="T37" fmla="*/ 340 h 340"/>
                <a:gd name="T38" fmla="*/ 4 w 327"/>
                <a:gd name="T39" fmla="*/ 335 h 340"/>
                <a:gd name="T40" fmla="*/ 4 w 327"/>
                <a:gd name="T41" fmla="*/ 340 h 340"/>
                <a:gd name="T42" fmla="*/ 4 w 327"/>
                <a:gd name="T43" fmla="*/ 329 h 340"/>
                <a:gd name="T44" fmla="*/ 4 w 327"/>
                <a:gd name="T45" fmla="*/ 339 h 340"/>
                <a:gd name="T46" fmla="*/ 4 w 327"/>
                <a:gd name="T47" fmla="*/ 337 h 340"/>
                <a:gd name="T48" fmla="*/ 4 w 327"/>
                <a:gd name="T49" fmla="*/ 310 h 340"/>
                <a:gd name="T50" fmla="*/ 4 w 327"/>
                <a:gd name="T51" fmla="*/ 270 h 340"/>
                <a:gd name="T52" fmla="*/ 4 w 327"/>
                <a:gd name="T53" fmla="*/ 262 h 340"/>
                <a:gd name="T54" fmla="*/ 4 w 327"/>
                <a:gd name="T55" fmla="*/ 233 h 340"/>
                <a:gd name="T56" fmla="*/ 4 w 327"/>
                <a:gd name="T57" fmla="*/ 231 h 34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27"/>
                <a:gd name="T88" fmla="*/ 0 h 340"/>
                <a:gd name="T89" fmla="*/ 327 w 327"/>
                <a:gd name="T90" fmla="*/ 340 h 34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27" h="340">
                  <a:moveTo>
                    <a:pt x="247" y="231"/>
                  </a:moveTo>
                  <a:lnTo>
                    <a:pt x="320" y="214"/>
                  </a:lnTo>
                  <a:lnTo>
                    <a:pt x="327" y="204"/>
                  </a:lnTo>
                  <a:lnTo>
                    <a:pt x="327" y="135"/>
                  </a:lnTo>
                  <a:lnTo>
                    <a:pt x="309" y="138"/>
                  </a:lnTo>
                  <a:lnTo>
                    <a:pt x="307" y="117"/>
                  </a:lnTo>
                  <a:lnTo>
                    <a:pt x="280" y="106"/>
                  </a:lnTo>
                  <a:lnTo>
                    <a:pt x="265" y="87"/>
                  </a:lnTo>
                  <a:lnTo>
                    <a:pt x="151" y="0"/>
                  </a:lnTo>
                  <a:lnTo>
                    <a:pt x="117" y="0"/>
                  </a:lnTo>
                  <a:lnTo>
                    <a:pt x="133" y="218"/>
                  </a:lnTo>
                  <a:lnTo>
                    <a:pt x="46" y="218"/>
                  </a:lnTo>
                  <a:lnTo>
                    <a:pt x="29" y="226"/>
                  </a:lnTo>
                  <a:lnTo>
                    <a:pt x="17" y="210"/>
                  </a:lnTo>
                  <a:lnTo>
                    <a:pt x="0" y="236"/>
                  </a:lnTo>
                  <a:lnTo>
                    <a:pt x="16" y="289"/>
                  </a:lnTo>
                  <a:lnTo>
                    <a:pt x="26" y="299"/>
                  </a:lnTo>
                  <a:lnTo>
                    <a:pt x="59" y="288"/>
                  </a:lnTo>
                  <a:lnTo>
                    <a:pt x="82" y="340"/>
                  </a:lnTo>
                  <a:lnTo>
                    <a:pt x="87" y="335"/>
                  </a:lnTo>
                  <a:lnTo>
                    <a:pt x="98" y="340"/>
                  </a:lnTo>
                  <a:lnTo>
                    <a:pt x="114" y="329"/>
                  </a:lnTo>
                  <a:lnTo>
                    <a:pt x="121" y="339"/>
                  </a:lnTo>
                  <a:lnTo>
                    <a:pt x="138" y="337"/>
                  </a:lnTo>
                  <a:lnTo>
                    <a:pt x="143" y="310"/>
                  </a:lnTo>
                  <a:lnTo>
                    <a:pt x="168" y="270"/>
                  </a:lnTo>
                  <a:lnTo>
                    <a:pt x="193" y="262"/>
                  </a:lnTo>
                  <a:lnTo>
                    <a:pt x="229" y="233"/>
                  </a:lnTo>
                  <a:lnTo>
                    <a:pt x="247" y="231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92" name="Freeform 149"/>
            <p:cNvSpPr>
              <a:spLocks noChangeAspect="1"/>
            </p:cNvSpPr>
            <p:nvPr/>
          </p:nvSpPr>
          <p:spPr bwMode="auto">
            <a:xfrm>
              <a:off x="4799502" y="2835002"/>
              <a:ext cx="417754" cy="641428"/>
            </a:xfrm>
            <a:custGeom>
              <a:avLst/>
              <a:gdLst>
                <a:gd name="T0" fmla="*/ 5 w 331"/>
                <a:gd name="T1" fmla="*/ 408 h 447"/>
                <a:gd name="T2" fmla="*/ 5 w 331"/>
                <a:gd name="T3" fmla="*/ 402 h 447"/>
                <a:gd name="T4" fmla="*/ 5 w 331"/>
                <a:gd name="T5" fmla="*/ 361 h 447"/>
                <a:gd name="T6" fmla="*/ 5 w 331"/>
                <a:gd name="T7" fmla="*/ 348 h 447"/>
                <a:gd name="T8" fmla="*/ 5 w 331"/>
                <a:gd name="T9" fmla="*/ 336 h 447"/>
                <a:gd name="T10" fmla="*/ 5 w 331"/>
                <a:gd name="T11" fmla="*/ 333 h 447"/>
                <a:gd name="T12" fmla="*/ 5 w 331"/>
                <a:gd name="T13" fmla="*/ 290 h 447"/>
                <a:gd name="T14" fmla="*/ 5 w 331"/>
                <a:gd name="T15" fmla="*/ 233 h 447"/>
                <a:gd name="T16" fmla="*/ 5 w 331"/>
                <a:gd name="T17" fmla="*/ 141 h 447"/>
                <a:gd name="T18" fmla="*/ 5 w 331"/>
                <a:gd name="T19" fmla="*/ 128 h 447"/>
                <a:gd name="T20" fmla="*/ 5 w 331"/>
                <a:gd name="T21" fmla="*/ 117 h 447"/>
                <a:gd name="T22" fmla="*/ 5 w 331"/>
                <a:gd name="T23" fmla="*/ 102 h 447"/>
                <a:gd name="T24" fmla="*/ 5 w 331"/>
                <a:gd name="T25" fmla="*/ 23 h 447"/>
                <a:gd name="T26" fmla="*/ 5 w 331"/>
                <a:gd name="T27" fmla="*/ 8 h 447"/>
                <a:gd name="T28" fmla="*/ 5 w 331"/>
                <a:gd name="T29" fmla="*/ 0 h 447"/>
                <a:gd name="T30" fmla="*/ 5 w 331"/>
                <a:gd name="T31" fmla="*/ 28 h 447"/>
                <a:gd name="T32" fmla="*/ 5 w 331"/>
                <a:gd name="T33" fmla="*/ 23 h 447"/>
                <a:gd name="T34" fmla="*/ 5 w 331"/>
                <a:gd name="T35" fmla="*/ 23 h 447"/>
                <a:gd name="T36" fmla="*/ 5 w 331"/>
                <a:gd name="T37" fmla="*/ 23 h 447"/>
                <a:gd name="T38" fmla="*/ 5 w 331"/>
                <a:gd name="T39" fmla="*/ 66 h 447"/>
                <a:gd name="T40" fmla="*/ 5 w 331"/>
                <a:gd name="T41" fmla="*/ 70 h 447"/>
                <a:gd name="T42" fmla="*/ 5 w 331"/>
                <a:gd name="T43" fmla="*/ 83 h 447"/>
                <a:gd name="T44" fmla="*/ 5 w 331"/>
                <a:gd name="T45" fmla="*/ 162 h 447"/>
                <a:gd name="T46" fmla="*/ 5 w 331"/>
                <a:gd name="T47" fmla="*/ 169 h 447"/>
                <a:gd name="T48" fmla="*/ 5 w 331"/>
                <a:gd name="T49" fmla="*/ 169 h 447"/>
                <a:gd name="T50" fmla="*/ 0 w 331"/>
                <a:gd name="T51" fmla="*/ 232 h 447"/>
                <a:gd name="T52" fmla="*/ 5 w 331"/>
                <a:gd name="T53" fmla="*/ 268 h 447"/>
                <a:gd name="T54" fmla="*/ 5 w 331"/>
                <a:gd name="T55" fmla="*/ 278 h 447"/>
                <a:gd name="T56" fmla="*/ 5 w 331"/>
                <a:gd name="T57" fmla="*/ 304 h 447"/>
                <a:gd name="T58" fmla="*/ 5 w 331"/>
                <a:gd name="T59" fmla="*/ 325 h 447"/>
                <a:gd name="T60" fmla="*/ 5 w 331"/>
                <a:gd name="T61" fmla="*/ 342 h 447"/>
                <a:gd name="T62" fmla="*/ 5 w 331"/>
                <a:gd name="T63" fmla="*/ 412 h 447"/>
                <a:gd name="T64" fmla="*/ 5 w 331"/>
                <a:gd name="T65" fmla="*/ 429 h 447"/>
                <a:gd name="T66" fmla="*/ 5 w 331"/>
                <a:gd name="T67" fmla="*/ 426 h 447"/>
                <a:gd name="T68" fmla="*/ 5 w 331"/>
                <a:gd name="T69" fmla="*/ 447 h 447"/>
                <a:gd name="T70" fmla="*/ 5 w 331"/>
                <a:gd name="T71" fmla="*/ 447 h 447"/>
                <a:gd name="T72" fmla="*/ 5 w 331"/>
                <a:gd name="T73" fmla="*/ 437 h 447"/>
                <a:gd name="T74" fmla="*/ 5 w 331"/>
                <a:gd name="T75" fmla="*/ 425 h 447"/>
                <a:gd name="T76" fmla="*/ 5 w 331"/>
                <a:gd name="T77" fmla="*/ 425 h 447"/>
                <a:gd name="T78" fmla="*/ 5 w 331"/>
                <a:gd name="T79" fmla="*/ 408 h 44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1"/>
                <a:gd name="T121" fmla="*/ 0 h 447"/>
                <a:gd name="T122" fmla="*/ 331 w 331"/>
                <a:gd name="T123" fmla="*/ 447 h 44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1" h="447">
                  <a:moveTo>
                    <a:pt x="284" y="408"/>
                  </a:moveTo>
                  <a:lnTo>
                    <a:pt x="269" y="402"/>
                  </a:lnTo>
                  <a:lnTo>
                    <a:pt x="246" y="361"/>
                  </a:lnTo>
                  <a:lnTo>
                    <a:pt x="226" y="348"/>
                  </a:lnTo>
                  <a:lnTo>
                    <a:pt x="233" y="336"/>
                  </a:lnTo>
                  <a:lnTo>
                    <a:pt x="249" y="333"/>
                  </a:lnTo>
                  <a:lnTo>
                    <a:pt x="251" y="290"/>
                  </a:lnTo>
                  <a:lnTo>
                    <a:pt x="287" y="233"/>
                  </a:lnTo>
                  <a:lnTo>
                    <a:pt x="301" y="141"/>
                  </a:lnTo>
                  <a:lnTo>
                    <a:pt x="325" y="128"/>
                  </a:lnTo>
                  <a:lnTo>
                    <a:pt x="331" y="117"/>
                  </a:lnTo>
                  <a:lnTo>
                    <a:pt x="312" y="102"/>
                  </a:lnTo>
                  <a:lnTo>
                    <a:pt x="295" y="23"/>
                  </a:lnTo>
                  <a:lnTo>
                    <a:pt x="273" y="8"/>
                  </a:lnTo>
                  <a:lnTo>
                    <a:pt x="268" y="0"/>
                  </a:lnTo>
                  <a:lnTo>
                    <a:pt x="239" y="28"/>
                  </a:lnTo>
                  <a:lnTo>
                    <a:pt x="221" y="23"/>
                  </a:lnTo>
                  <a:lnTo>
                    <a:pt x="59" y="23"/>
                  </a:lnTo>
                  <a:lnTo>
                    <a:pt x="58" y="23"/>
                  </a:lnTo>
                  <a:lnTo>
                    <a:pt x="59" y="66"/>
                  </a:lnTo>
                  <a:lnTo>
                    <a:pt x="42" y="70"/>
                  </a:lnTo>
                  <a:lnTo>
                    <a:pt x="40" y="83"/>
                  </a:lnTo>
                  <a:lnTo>
                    <a:pt x="41" y="162"/>
                  </a:lnTo>
                  <a:lnTo>
                    <a:pt x="40" y="169"/>
                  </a:lnTo>
                  <a:lnTo>
                    <a:pt x="22" y="169"/>
                  </a:lnTo>
                  <a:lnTo>
                    <a:pt x="0" y="232"/>
                  </a:lnTo>
                  <a:lnTo>
                    <a:pt x="19" y="268"/>
                  </a:lnTo>
                  <a:lnTo>
                    <a:pt x="18" y="278"/>
                  </a:lnTo>
                  <a:lnTo>
                    <a:pt x="35" y="304"/>
                  </a:lnTo>
                  <a:lnTo>
                    <a:pt x="33" y="325"/>
                  </a:lnTo>
                  <a:lnTo>
                    <a:pt x="63" y="342"/>
                  </a:lnTo>
                  <a:lnTo>
                    <a:pt x="116" y="412"/>
                  </a:lnTo>
                  <a:lnTo>
                    <a:pt x="130" y="429"/>
                  </a:lnTo>
                  <a:lnTo>
                    <a:pt x="162" y="426"/>
                  </a:lnTo>
                  <a:lnTo>
                    <a:pt x="184" y="447"/>
                  </a:lnTo>
                  <a:lnTo>
                    <a:pt x="206" y="447"/>
                  </a:lnTo>
                  <a:lnTo>
                    <a:pt x="246" y="437"/>
                  </a:lnTo>
                  <a:lnTo>
                    <a:pt x="256" y="425"/>
                  </a:lnTo>
                  <a:lnTo>
                    <a:pt x="284" y="425"/>
                  </a:lnTo>
                  <a:lnTo>
                    <a:pt x="284" y="40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93" name="Freeform 150"/>
            <p:cNvSpPr>
              <a:spLocks noChangeAspect="1"/>
            </p:cNvSpPr>
            <p:nvPr/>
          </p:nvSpPr>
          <p:spPr bwMode="auto">
            <a:xfrm>
              <a:off x="4478152" y="2500656"/>
              <a:ext cx="396797" cy="453448"/>
            </a:xfrm>
            <a:custGeom>
              <a:avLst/>
              <a:gdLst>
                <a:gd name="T0" fmla="*/ 5 w 315"/>
                <a:gd name="T1" fmla="*/ 256 h 316"/>
                <a:gd name="T2" fmla="*/ 5 w 315"/>
                <a:gd name="T3" fmla="*/ 105 h 316"/>
                <a:gd name="T4" fmla="*/ 5 w 315"/>
                <a:gd name="T5" fmla="*/ 78 h 316"/>
                <a:gd name="T6" fmla="*/ 5 w 315"/>
                <a:gd name="T7" fmla="*/ 33 h 316"/>
                <a:gd name="T8" fmla="*/ 5 w 315"/>
                <a:gd name="T9" fmla="*/ 25 h 316"/>
                <a:gd name="T10" fmla="*/ 5 w 315"/>
                <a:gd name="T11" fmla="*/ 15 h 316"/>
                <a:gd name="T12" fmla="*/ 5 w 315"/>
                <a:gd name="T13" fmla="*/ 9 h 316"/>
                <a:gd name="T14" fmla="*/ 5 w 315"/>
                <a:gd name="T15" fmla="*/ 25 h 316"/>
                <a:gd name="T16" fmla="*/ 5 w 315"/>
                <a:gd name="T17" fmla="*/ 60 h 316"/>
                <a:gd name="T18" fmla="*/ 5 w 315"/>
                <a:gd name="T19" fmla="*/ 68 h 316"/>
                <a:gd name="T20" fmla="*/ 5 w 315"/>
                <a:gd name="T21" fmla="*/ 67 h 316"/>
                <a:gd name="T22" fmla="*/ 5 w 315"/>
                <a:gd name="T23" fmla="*/ 51 h 316"/>
                <a:gd name="T24" fmla="*/ 5 w 315"/>
                <a:gd name="T25" fmla="*/ 41 h 316"/>
                <a:gd name="T26" fmla="*/ 5 w 315"/>
                <a:gd name="T27" fmla="*/ 24 h 316"/>
                <a:gd name="T28" fmla="*/ 5 w 315"/>
                <a:gd name="T29" fmla="*/ 14 h 316"/>
                <a:gd name="T30" fmla="*/ 5 w 315"/>
                <a:gd name="T31" fmla="*/ 9 h 316"/>
                <a:gd name="T32" fmla="*/ 5 w 315"/>
                <a:gd name="T33" fmla="*/ 0 h 316"/>
                <a:gd name="T34" fmla="*/ 5 w 315"/>
                <a:gd name="T35" fmla="*/ 20 h 316"/>
                <a:gd name="T36" fmla="*/ 5 w 315"/>
                <a:gd name="T37" fmla="*/ 41 h 316"/>
                <a:gd name="T38" fmla="*/ 5 w 315"/>
                <a:gd name="T39" fmla="*/ 61 h 316"/>
                <a:gd name="T40" fmla="*/ 5 w 315"/>
                <a:gd name="T41" fmla="*/ 67 h 316"/>
                <a:gd name="T42" fmla="*/ 0 w 315"/>
                <a:gd name="T43" fmla="*/ 77 h 316"/>
                <a:gd name="T44" fmla="*/ 5 w 315"/>
                <a:gd name="T45" fmla="*/ 89 h 316"/>
                <a:gd name="T46" fmla="*/ 5 w 315"/>
                <a:gd name="T47" fmla="*/ 125 h 316"/>
                <a:gd name="T48" fmla="*/ 5 w 315"/>
                <a:gd name="T49" fmla="*/ 151 h 316"/>
                <a:gd name="T50" fmla="*/ 2 w 315"/>
                <a:gd name="T51" fmla="*/ 162 h 316"/>
                <a:gd name="T52" fmla="*/ 5 w 315"/>
                <a:gd name="T53" fmla="*/ 199 h 316"/>
                <a:gd name="T54" fmla="*/ 5 w 315"/>
                <a:gd name="T55" fmla="*/ 201 h 316"/>
                <a:gd name="T56" fmla="*/ 5 w 315"/>
                <a:gd name="T57" fmla="*/ 222 h 316"/>
                <a:gd name="T58" fmla="*/ 5 w 315"/>
                <a:gd name="T59" fmla="*/ 225 h 316"/>
                <a:gd name="T60" fmla="*/ 5 w 315"/>
                <a:gd name="T61" fmla="*/ 235 h 316"/>
                <a:gd name="T62" fmla="*/ 5 w 315"/>
                <a:gd name="T63" fmla="*/ 230 h 316"/>
                <a:gd name="T64" fmla="*/ 5 w 315"/>
                <a:gd name="T65" fmla="*/ 316 h 316"/>
                <a:gd name="T66" fmla="*/ 5 w 315"/>
                <a:gd name="T67" fmla="*/ 303 h 316"/>
                <a:gd name="T68" fmla="*/ 5 w 315"/>
                <a:gd name="T69" fmla="*/ 299 h 316"/>
                <a:gd name="T70" fmla="*/ 5 w 315"/>
                <a:gd name="T71" fmla="*/ 256 h 3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15"/>
                <a:gd name="T109" fmla="*/ 0 h 316"/>
                <a:gd name="T110" fmla="*/ 315 w 315"/>
                <a:gd name="T111" fmla="*/ 316 h 31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15" h="316">
                  <a:moveTo>
                    <a:pt x="314" y="256"/>
                  </a:moveTo>
                  <a:lnTo>
                    <a:pt x="311" y="105"/>
                  </a:lnTo>
                  <a:lnTo>
                    <a:pt x="302" y="78"/>
                  </a:lnTo>
                  <a:lnTo>
                    <a:pt x="308" y="33"/>
                  </a:lnTo>
                  <a:lnTo>
                    <a:pt x="272" y="25"/>
                  </a:lnTo>
                  <a:lnTo>
                    <a:pt x="269" y="15"/>
                  </a:lnTo>
                  <a:lnTo>
                    <a:pt x="245" y="9"/>
                  </a:lnTo>
                  <a:lnTo>
                    <a:pt x="212" y="25"/>
                  </a:lnTo>
                  <a:lnTo>
                    <a:pt x="210" y="60"/>
                  </a:lnTo>
                  <a:lnTo>
                    <a:pt x="195" y="68"/>
                  </a:lnTo>
                  <a:lnTo>
                    <a:pt x="186" y="67"/>
                  </a:lnTo>
                  <a:lnTo>
                    <a:pt x="163" y="51"/>
                  </a:lnTo>
                  <a:lnTo>
                    <a:pt x="125" y="41"/>
                  </a:lnTo>
                  <a:lnTo>
                    <a:pt x="120" y="24"/>
                  </a:lnTo>
                  <a:lnTo>
                    <a:pt x="97" y="14"/>
                  </a:lnTo>
                  <a:lnTo>
                    <a:pt x="58" y="9"/>
                  </a:lnTo>
                  <a:lnTo>
                    <a:pt x="38" y="0"/>
                  </a:lnTo>
                  <a:lnTo>
                    <a:pt x="40" y="20"/>
                  </a:lnTo>
                  <a:lnTo>
                    <a:pt x="17" y="41"/>
                  </a:lnTo>
                  <a:lnTo>
                    <a:pt x="17" y="61"/>
                  </a:lnTo>
                  <a:lnTo>
                    <a:pt x="5" y="67"/>
                  </a:lnTo>
                  <a:lnTo>
                    <a:pt x="0" y="77"/>
                  </a:lnTo>
                  <a:lnTo>
                    <a:pt x="8" y="89"/>
                  </a:lnTo>
                  <a:lnTo>
                    <a:pt x="11" y="125"/>
                  </a:lnTo>
                  <a:lnTo>
                    <a:pt x="10" y="151"/>
                  </a:lnTo>
                  <a:lnTo>
                    <a:pt x="2" y="162"/>
                  </a:lnTo>
                  <a:lnTo>
                    <a:pt x="21" y="199"/>
                  </a:lnTo>
                  <a:lnTo>
                    <a:pt x="36" y="201"/>
                  </a:lnTo>
                  <a:lnTo>
                    <a:pt x="52" y="222"/>
                  </a:lnTo>
                  <a:lnTo>
                    <a:pt x="96" y="225"/>
                  </a:lnTo>
                  <a:lnTo>
                    <a:pt x="116" y="235"/>
                  </a:lnTo>
                  <a:lnTo>
                    <a:pt x="143" y="230"/>
                  </a:lnTo>
                  <a:lnTo>
                    <a:pt x="296" y="316"/>
                  </a:lnTo>
                  <a:lnTo>
                    <a:pt x="298" y="303"/>
                  </a:lnTo>
                  <a:lnTo>
                    <a:pt x="315" y="299"/>
                  </a:lnTo>
                  <a:lnTo>
                    <a:pt x="314" y="25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94" name="Freeform 151"/>
            <p:cNvSpPr>
              <a:spLocks noChangeAspect="1"/>
            </p:cNvSpPr>
            <p:nvPr/>
          </p:nvSpPr>
          <p:spPr bwMode="auto">
            <a:xfrm>
              <a:off x="4040838" y="2377249"/>
              <a:ext cx="502982" cy="591204"/>
            </a:xfrm>
            <a:custGeom>
              <a:avLst/>
              <a:gdLst>
                <a:gd name="T0" fmla="*/ 5 w 399"/>
                <a:gd name="T1" fmla="*/ 4 h 412"/>
                <a:gd name="T2" fmla="*/ 5 w 399"/>
                <a:gd name="T3" fmla="*/ 0 h 412"/>
                <a:gd name="T4" fmla="*/ 5 w 399"/>
                <a:gd name="T5" fmla="*/ 8 h 412"/>
                <a:gd name="T6" fmla="*/ 5 w 399"/>
                <a:gd name="T7" fmla="*/ 2 h 412"/>
                <a:gd name="T8" fmla="*/ 5 w 399"/>
                <a:gd name="T9" fmla="*/ 11 h 412"/>
                <a:gd name="T10" fmla="*/ 5 w 399"/>
                <a:gd name="T11" fmla="*/ 40 h 412"/>
                <a:gd name="T12" fmla="*/ 5 w 399"/>
                <a:gd name="T13" fmla="*/ 50 h 412"/>
                <a:gd name="T14" fmla="*/ 5 w 399"/>
                <a:gd name="T15" fmla="*/ 106 h 412"/>
                <a:gd name="T16" fmla="*/ 5 w 399"/>
                <a:gd name="T17" fmla="*/ 120 h 412"/>
                <a:gd name="T18" fmla="*/ 5 w 399"/>
                <a:gd name="T19" fmla="*/ 134 h 412"/>
                <a:gd name="T20" fmla="*/ 5 w 399"/>
                <a:gd name="T21" fmla="*/ 159 h 412"/>
                <a:gd name="T22" fmla="*/ 5 w 399"/>
                <a:gd name="T23" fmla="*/ 177 h 412"/>
                <a:gd name="T24" fmla="*/ 3 w 399"/>
                <a:gd name="T25" fmla="*/ 186 h 412"/>
                <a:gd name="T26" fmla="*/ 0 w 399"/>
                <a:gd name="T27" fmla="*/ 213 h 412"/>
                <a:gd name="T28" fmla="*/ 0 w 399"/>
                <a:gd name="T29" fmla="*/ 224 h 412"/>
                <a:gd name="T30" fmla="*/ 5 w 399"/>
                <a:gd name="T31" fmla="*/ 274 h 412"/>
                <a:gd name="T32" fmla="*/ 5 w 399"/>
                <a:gd name="T33" fmla="*/ 361 h 412"/>
                <a:gd name="T34" fmla="*/ 5 w 399"/>
                <a:gd name="T35" fmla="*/ 380 h 412"/>
                <a:gd name="T36" fmla="*/ 5 w 399"/>
                <a:gd name="T37" fmla="*/ 391 h 412"/>
                <a:gd name="T38" fmla="*/ 5 w 399"/>
                <a:gd name="T39" fmla="*/ 412 h 412"/>
                <a:gd name="T40" fmla="*/ 5 w 399"/>
                <a:gd name="T41" fmla="*/ 409 h 412"/>
                <a:gd name="T42" fmla="*/ 5 w 399"/>
                <a:gd name="T43" fmla="*/ 402 h 412"/>
                <a:gd name="T44" fmla="*/ 5 w 399"/>
                <a:gd name="T45" fmla="*/ 308 h 412"/>
                <a:gd name="T46" fmla="*/ 5 w 399"/>
                <a:gd name="T47" fmla="*/ 287 h 412"/>
                <a:gd name="T48" fmla="*/ 5 w 399"/>
                <a:gd name="T49" fmla="*/ 285 h 412"/>
                <a:gd name="T50" fmla="*/ 5 w 399"/>
                <a:gd name="T51" fmla="*/ 248 h 412"/>
                <a:gd name="T52" fmla="*/ 5 w 399"/>
                <a:gd name="T53" fmla="*/ 237 h 412"/>
                <a:gd name="T54" fmla="*/ 5 w 399"/>
                <a:gd name="T55" fmla="*/ 211 h 412"/>
                <a:gd name="T56" fmla="*/ 5 w 399"/>
                <a:gd name="T57" fmla="*/ 175 h 412"/>
                <a:gd name="T58" fmla="*/ 5 w 399"/>
                <a:gd name="T59" fmla="*/ 163 h 412"/>
                <a:gd name="T60" fmla="*/ 5 w 399"/>
                <a:gd name="T61" fmla="*/ 153 h 412"/>
                <a:gd name="T62" fmla="*/ 5 w 399"/>
                <a:gd name="T63" fmla="*/ 117 h 412"/>
                <a:gd name="T64" fmla="*/ 5 w 399"/>
                <a:gd name="T65" fmla="*/ 103 h 412"/>
                <a:gd name="T66" fmla="*/ 5 w 399"/>
                <a:gd name="T67" fmla="*/ 76 h 412"/>
                <a:gd name="T68" fmla="*/ 5 w 399"/>
                <a:gd name="T69" fmla="*/ 50 h 412"/>
                <a:gd name="T70" fmla="*/ 5 w 399"/>
                <a:gd name="T71" fmla="*/ 10 h 412"/>
                <a:gd name="T72" fmla="*/ 5 w 399"/>
                <a:gd name="T73" fmla="*/ 0 h 412"/>
                <a:gd name="T74" fmla="*/ 5 w 399"/>
                <a:gd name="T75" fmla="*/ 4 h 41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99"/>
                <a:gd name="T115" fmla="*/ 0 h 412"/>
                <a:gd name="T116" fmla="*/ 399 w 399"/>
                <a:gd name="T117" fmla="*/ 412 h 41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99" h="412">
                  <a:moveTo>
                    <a:pt x="330" y="4"/>
                  </a:moveTo>
                  <a:lnTo>
                    <a:pt x="294" y="0"/>
                  </a:lnTo>
                  <a:lnTo>
                    <a:pt x="275" y="8"/>
                  </a:lnTo>
                  <a:lnTo>
                    <a:pt x="248" y="2"/>
                  </a:lnTo>
                  <a:lnTo>
                    <a:pt x="193" y="11"/>
                  </a:lnTo>
                  <a:lnTo>
                    <a:pt x="134" y="40"/>
                  </a:lnTo>
                  <a:lnTo>
                    <a:pt x="141" y="50"/>
                  </a:lnTo>
                  <a:lnTo>
                    <a:pt x="148" y="106"/>
                  </a:lnTo>
                  <a:lnTo>
                    <a:pt x="98" y="120"/>
                  </a:lnTo>
                  <a:lnTo>
                    <a:pt x="100" y="134"/>
                  </a:lnTo>
                  <a:lnTo>
                    <a:pt x="64" y="159"/>
                  </a:lnTo>
                  <a:lnTo>
                    <a:pt x="12" y="177"/>
                  </a:lnTo>
                  <a:lnTo>
                    <a:pt x="3" y="186"/>
                  </a:lnTo>
                  <a:lnTo>
                    <a:pt x="0" y="213"/>
                  </a:lnTo>
                  <a:lnTo>
                    <a:pt x="0" y="224"/>
                  </a:lnTo>
                  <a:lnTo>
                    <a:pt x="70" y="274"/>
                  </a:lnTo>
                  <a:lnTo>
                    <a:pt x="184" y="361"/>
                  </a:lnTo>
                  <a:lnTo>
                    <a:pt x="199" y="380"/>
                  </a:lnTo>
                  <a:lnTo>
                    <a:pt x="226" y="391"/>
                  </a:lnTo>
                  <a:lnTo>
                    <a:pt x="228" y="412"/>
                  </a:lnTo>
                  <a:lnTo>
                    <a:pt x="246" y="409"/>
                  </a:lnTo>
                  <a:lnTo>
                    <a:pt x="275" y="402"/>
                  </a:lnTo>
                  <a:lnTo>
                    <a:pt x="399" y="308"/>
                  </a:lnTo>
                  <a:lnTo>
                    <a:pt x="383" y="287"/>
                  </a:lnTo>
                  <a:lnTo>
                    <a:pt x="368" y="285"/>
                  </a:lnTo>
                  <a:lnTo>
                    <a:pt x="349" y="248"/>
                  </a:lnTo>
                  <a:lnTo>
                    <a:pt x="357" y="237"/>
                  </a:lnTo>
                  <a:lnTo>
                    <a:pt x="358" y="211"/>
                  </a:lnTo>
                  <a:lnTo>
                    <a:pt x="355" y="175"/>
                  </a:lnTo>
                  <a:lnTo>
                    <a:pt x="347" y="163"/>
                  </a:lnTo>
                  <a:lnTo>
                    <a:pt x="352" y="153"/>
                  </a:lnTo>
                  <a:lnTo>
                    <a:pt x="346" y="117"/>
                  </a:lnTo>
                  <a:lnTo>
                    <a:pt x="329" y="103"/>
                  </a:lnTo>
                  <a:lnTo>
                    <a:pt x="315" y="76"/>
                  </a:lnTo>
                  <a:lnTo>
                    <a:pt x="332" y="50"/>
                  </a:lnTo>
                  <a:lnTo>
                    <a:pt x="332" y="10"/>
                  </a:lnTo>
                  <a:lnTo>
                    <a:pt x="342" y="0"/>
                  </a:lnTo>
                  <a:lnTo>
                    <a:pt x="330" y="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95" name="Freeform 152"/>
            <p:cNvSpPr>
              <a:spLocks noChangeAspect="1"/>
            </p:cNvSpPr>
            <p:nvPr/>
          </p:nvSpPr>
          <p:spPr bwMode="auto">
            <a:xfrm>
              <a:off x="4582940" y="2830697"/>
              <a:ext cx="269654" cy="519456"/>
            </a:xfrm>
            <a:custGeom>
              <a:avLst/>
              <a:gdLst>
                <a:gd name="T0" fmla="*/ 5 w 213"/>
                <a:gd name="T1" fmla="*/ 40 h 362"/>
                <a:gd name="T2" fmla="*/ 5 w 213"/>
                <a:gd name="T3" fmla="*/ 57 h 362"/>
                <a:gd name="T4" fmla="*/ 5 w 213"/>
                <a:gd name="T5" fmla="*/ 64 h 362"/>
                <a:gd name="T6" fmla="*/ 5 w 213"/>
                <a:gd name="T7" fmla="*/ 139 h 362"/>
                <a:gd name="T8" fmla="*/ 0 w 213"/>
                <a:gd name="T9" fmla="*/ 204 h 362"/>
                <a:gd name="T10" fmla="*/ 2 w 213"/>
                <a:gd name="T11" fmla="*/ 216 h 362"/>
                <a:gd name="T12" fmla="*/ 5 w 213"/>
                <a:gd name="T13" fmla="*/ 231 h 362"/>
                <a:gd name="T14" fmla="*/ 5 w 213"/>
                <a:gd name="T15" fmla="*/ 239 h 362"/>
                <a:gd name="T16" fmla="*/ 5 w 213"/>
                <a:gd name="T17" fmla="*/ 279 h 362"/>
                <a:gd name="T18" fmla="*/ 5 w 213"/>
                <a:gd name="T19" fmla="*/ 299 h 362"/>
                <a:gd name="T20" fmla="*/ 5 w 213"/>
                <a:gd name="T21" fmla="*/ 303 h 362"/>
                <a:gd name="T22" fmla="*/ 5 w 213"/>
                <a:gd name="T23" fmla="*/ 318 h 362"/>
                <a:gd name="T24" fmla="*/ 5 w 213"/>
                <a:gd name="T25" fmla="*/ 335 h 362"/>
                <a:gd name="T26" fmla="*/ 5 w 213"/>
                <a:gd name="T27" fmla="*/ 362 h 362"/>
                <a:gd name="T28" fmla="*/ 5 w 213"/>
                <a:gd name="T29" fmla="*/ 349 h 362"/>
                <a:gd name="T30" fmla="*/ 5 w 213"/>
                <a:gd name="T31" fmla="*/ 336 h 362"/>
                <a:gd name="T32" fmla="*/ 5 w 213"/>
                <a:gd name="T33" fmla="*/ 330 h 362"/>
                <a:gd name="T34" fmla="*/ 5 w 213"/>
                <a:gd name="T35" fmla="*/ 322 h 362"/>
                <a:gd name="T36" fmla="*/ 5 w 213"/>
                <a:gd name="T37" fmla="*/ 287 h 362"/>
                <a:gd name="T38" fmla="*/ 5 w 213"/>
                <a:gd name="T39" fmla="*/ 281 h 362"/>
                <a:gd name="T40" fmla="*/ 5 w 213"/>
                <a:gd name="T41" fmla="*/ 271 h 362"/>
                <a:gd name="T42" fmla="*/ 5 w 213"/>
                <a:gd name="T43" fmla="*/ 235 h 362"/>
                <a:gd name="T44" fmla="*/ 5 w 213"/>
                <a:gd name="T45" fmla="*/ 172 h 362"/>
                <a:gd name="T46" fmla="*/ 5 w 213"/>
                <a:gd name="T47" fmla="*/ 172 h 362"/>
                <a:gd name="T48" fmla="*/ 5 w 213"/>
                <a:gd name="T49" fmla="*/ 165 h 362"/>
                <a:gd name="T50" fmla="*/ 5 w 213"/>
                <a:gd name="T51" fmla="*/ 86 h 362"/>
                <a:gd name="T52" fmla="*/ 5 w 213"/>
                <a:gd name="T53" fmla="*/ 0 h 362"/>
                <a:gd name="T54" fmla="*/ 5 w 213"/>
                <a:gd name="T55" fmla="*/ 5 h 362"/>
                <a:gd name="T56" fmla="*/ 5 w 213"/>
                <a:gd name="T57" fmla="*/ 40 h 3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3"/>
                <a:gd name="T88" fmla="*/ 0 h 362"/>
                <a:gd name="T89" fmla="*/ 213 w 213"/>
                <a:gd name="T90" fmla="*/ 362 h 36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3" h="362">
                  <a:moveTo>
                    <a:pt x="32" y="40"/>
                  </a:moveTo>
                  <a:lnTo>
                    <a:pt x="41" y="57"/>
                  </a:lnTo>
                  <a:lnTo>
                    <a:pt x="52" y="64"/>
                  </a:lnTo>
                  <a:lnTo>
                    <a:pt x="40" y="139"/>
                  </a:lnTo>
                  <a:lnTo>
                    <a:pt x="0" y="204"/>
                  </a:lnTo>
                  <a:lnTo>
                    <a:pt x="2" y="216"/>
                  </a:lnTo>
                  <a:lnTo>
                    <a:pt x="14" y="231"/>
                  </a:lnTo>
                  <a:lnTo>
                    <a:pt x="23" y="239"/>
                  </a:lnTo>
                  <a:lnTo>
                    <a:pt x="29" y="279"/>
                  </a:lnTo>
                  <a:lnTo>
                    <a:pt x="38" y="299"/>
                  </a:lnTo>
                  <a:lnTo>
                    <a:pt x="20" y="303"/>
                  </a:lnTo>
                  <a:lnTo>
                    <a:pt x="14" y="318"/>
                  </a:lnTo>
                  <a:lnTo>
                    <a:pt x="32" y="335"/>
                  </a:lnTo>
                  <a:lnTo>
                    <a:pt x="40" y="362"/>
                  </a:lnTo>
                  <a:lnTo>
                    <a:pt x="103" y="349"/>
                  </a:lnTo>
                  <a:lnTo>
                    <a:pt x="116" y="336"/>
                  </a:lnTo>
                  <a:lnTo>
                    <a:pt x="112" y="330"/>
                  </a:lnTo>
                  <a:lnTo>
                    <a:pt x="144" y="322"/>
                  </a:lnTo>
                  <a:lnTo>
                    <a:pt x="171" y="287"/>
                  </a:lnTo>
                  <a:lnTo>
                    <a:pt x="190" y="281"/>
                  </a:lnTo>
                  <a:lnTo>
                    <a:pt x="191" y="271"/>
                  </a:lnTo>
                  <a:lnTo>
                    <a:pt x="172" y="235"/>
                  </a:lnTo>
                  <a:lnTo>
                    <a:pt x="194" y="172"/>
                  </a:lnTo>
                  <a:lnTo>
                    <a:pt x="212" y="172"/>
                  </a:lnTo>
                  <a:lnTo>
                    <a:pt x="213" y="165"/>
                  </a:lnTo>
                  <a:lnTo>
                    <a:pt x="212" y="86"/>
                  </a:lnTo>
                  <a:lnTo>
                    <a:pt x="59" y="0"/>
                  </a:lnTo>
                  <a:lnTo>
                    <a:pt x="32" y="5"/>
                  </a:lnTo>
                  <a:lnTo>
                    <a:pt x="32" y="40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96" name="Freeform 153"/>
            <p:cNvSpPr>
              <a:spLocks noChangeAspect="1"/>
            </p:cNvSpPr>
            <p:nvPr/>
          </p:nvSpPr>
          <p:spPr bwMode="auto">
            <a:xfrm>
              <a:off x="5322044" y="3012937"/>
              <a:ext cx="261271" cy="163586"/>
            </a:xfrm>
            <a:custGeom>
              <a:avLst/>
              <a:gdLst>
                <a:gd name="T0" fmla="*/ 1 w 208"/>
                <a:gd name="T1" fmla="*/ 29 h 114"/>
                <a:gd name="T2" fmla="*/ 4 w 208"/>
                <a:gd name="T3" fmla="*/ 15 h 114"/>
                <a:gd name="T4" fmla="*/ 4 w 208"/>
                <a:gd name="T5" fmla="*/ 63 h 114"/>
                <a:gd name="T6" fmla="*/ 4 w 208"/>
                <a:gd name="T7" fmla="*/ 13 h 114"/>
                <a:gd name="T8" fmla="*/ 4 w 208"/>
                <a:gd name="T9" fmla="*/ 0 h 114"/>
                <a:gd name="T10" fmla="*/ 4 w 208"/>
                <a:gd name="T11" fmla="*/ 26 h 114"/>
                <a:gd name="T12" fmla="*/ 4 w 208"/>
                <a:gd name="T13" fmla="*/ 28 h 114"/>
                <a:gd name="T14" fmla="*/ 4 w 208"/>
                <a:gd name="T15" fmla="*/ 33 h 114"/>
                <a:gd name="T16" fmla="*/ 4 w 208"/>
                <a:gd name="T17" fmla="*/ 49 h 114"/>
                <a:gd name="T18" fmla="*/ 4 w 208"/>
                <a:gd name="T19" fmla="*/ 68 h 114"/>
                <a:gd name="T20" fmla="*/ 4 w 208"/>
                <a:gd name="T21" fmla="*/ 101 h 114"/>
                <a:gd name="T22" fmla="*/ 4 w 208"/>
                <a:gd name="T23" fmla="*/ 101 h 114"/>
                <a:gd name="T24" fmla="*/ 4 w 208"/>
                <a:gd name="T25" fmla="*/ 112 h 114"/>
                <a:gd name="T26" fmla="*/ 4 w 208"/>
                <a:gd name="T27" fmla="*/ 114 h 114"/>
                <a:gd name="T28" fmla="*/ 0 w 208"/>
                <a:gd name="T29" fmla="*/ 32 h 114"/>
                <a:gd name="T30" fmla="*/ 1 w 208"/>
                <a:gd name="T31" fmla="*/ 29 h 11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"/>
                <a:gd name="T49" fmla="*/ 0 h 114"/>
                <a:gd name="T50" fmla="*/ 208 w 208"/>
                <a:gd name="T51" fmla="*/ 114 h 11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" h="114">
                  <a:moveTo>
                    <a:pt x="1" y="29"/>
                  </a:moveTo>
                  <a:lnTo>
                    <a:pt x="20" y="15"/>
                  </a:lnTo>
                  <a:lnTo>
                    <a:pt x="61" y="63"/>
                  </a:lnTo>
                  <a:lnTo>
                    <a:pt x="132" y="13"/>
                  </a:lnTo>
                  <a:lnTo>
                    <a:pt x="196" y="0"/>
                  </a:lnTo>
                  <a:lnTo>
                    <a:pt x="208" y="26"/>
                  </a:lnTo>
                  <a:lnTo>
                    <a:pt x="206" y="28"/>
                  </a:lnTo>
                  <a:lnTo>
                    <a:pt x="196" y="33"/>
                  </a:lnTo>
                  <a:lnTo>
                    <a:pt x="194" y="49"/>
                  </a:lnTo>
                  <a:lnTo>
                    <a:pt x="143" y="68"/>
                  </a:lnTo>
                  <a:lnTo>
                    <a:pt x="92" y="101"/>
                  </a:lnTo>
                  <a:lnTo>
                    <a:pt x="64" y="101"/>
                  </a:lnTo>
                  <a:lnTo>
                    <a:pt x="49" y="112"/>
                  </a:lnTo>
                  <a:lnTo>
                    <a:pt x="20" y="114"/>
                  </a:lnTo>
                  <a:lnTo>
                    <a:pt x="0" y="32"/>
                  </a:lnTo>
                  <a:lnTo>
                    <a:pt x="1" y="2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97" name="Freeform 154"/>
            <p:cNvSpPr>
              <a:spLocks noChangeAspect="1"/>
            </p:cNvSpPr>
            <p:nvPr/>
          </p:nvSpPr>
          <p:spPr bwMode="auto">
            <a:xfrm>
              <a:off x="5569343" y="2780473"/>
              <a:ext cx="174646" cy="269773"/>
            </a:xfrm>
            <a:custGeom>
              <a:avLst/>
              <a:gdLst>
                <a:gd name="T0" fmla="*/ 4 w 139"/>
                <a:gd name="T1" fmla="*/ 180 h 188"/>
                <a:gd name="T2" fmla="*/ 4 w 139"/>
                <a:gd name="T3" fmla="*/ 180 h 188"/>
                <a:gd name="T4" fmla="*/ 4 w 139"/>
                <a:gd name="T5" fmla="*/ 163 h 188"/>
                <a:gd name="T6" fmla="*/ 4 w 139"/>
                <a:gd name="T7" fmla="*/ 157 h 188"/>
                <a:gd name="T8" fmla="*/ 4 w 139"/>
                <a:gd name="T9" fmla="*/ 137 h 188"/>
                <a:gd name="T10" fmla="*/ 4 w 139"/>
                <a:gd name="T11" fmla="*/ 131 h 188"/>
                <a:gd name="T12" fmla="*/ 4 w 139"/>
                <a:gd name="T13" fmla="*/ 109 h 188"/>
                <a:gd name="T14" fmla="*/ 4 w 139"/>
                <a:gd name="T15" fmla="*/ 77 h 188"/>
                <a:gd name="T16" fmla="*/ 4 w 139"/>
                <a:gd name="T17" fmla="*/ 54 h 188"/>
                <a:gd name="T18" fmla="*/ 4 w 139"/>
                <a:gd name="T19" fmla="*/ 29 h 188"/>
                <a:gd name="T20" fmla="*/ 4 w 139"/>
                <a:gd name="T21" fmla="*/ 18 h 188"/>
                <a:gd name="T22" fmla="*/ 4 w 139"/>
                <a:gd name="T23" fmla="*/ 0 h 188"/>
                <a:gd name="T24" fmla="*/ 4 w 139"/>
                <a:gd name="T25" fmla="*/ 15 h 188"/>
                <a:gd name="T26" fmla="*/ 4 w 139"/>
                <a:gd name="T27" fmla="*/ 27 h 188"/>
                <a:gd name="T28" fmla="*/ 4 w 139"/>
                <a:gd name="T29" fmla="*/ 30 h 188"/>
                <a:gd name="T30" fmla="*/ 4 w 139"/>
                <a:gd name="T31" fmla="*/ 30 h 188"/>
                <a:gd name="T32" fmla="*/ 4 w 139"/>
                <a:gd name="T33" fmla="*/ 36 h 188"/>
                <a:gd name="T34" fmla="*/ 4 w 139"/>
                <a:gd name="T35" fmla="*/ 52 h 188"/>
                <a:gd name="T36" fmla="*/ 4 w 139"/>
                <a:gd name="T37" fmla="*/ 77 h 188"/>
                <a:gd name="T38" fmla="*/ 4 w 139"/>
                <a:gd name="T39" fmla="*/ 117 h 188"/>
                <a:gd name="T40" fmla="*/ 0 w 139"/>
                <a:gd name="T41" fmla="*/ 162 h 188"/>
                <a:gd name="T42" fmla="*/ 4 w 139"/>
                <a:gd name="T43" fmla="*/ 188 h 188"/>
                <a:gd name="T44" fmla="*/ 4 w 139"/>
                <a:gd name="T45" fmla="*/ 180 h 18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39"/>
                <a:gd name="T70" fmla="*/ 0 h 188"/>
                <a:gd name="T71" fmla="*/ 139 w 139"/>
                <a:gd name="T72" fmla="*/ 188 h 18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39" h="188">
                  <a:moveTo>
                    <a:pt x="30" y="180"/>
                  </a:moveTo>
                  <a:lnTo>
                    <a:pt x="50" y="180"/>
                  </a:lnTo>
                  <a:lnTo>
                    <a:pt x="59" y="163"/>
                  </a:lnTo>
                  <a:lnTo>
                    <a:pt x="77" y="157"/>
                  </a:lnTo>
                  <a:lnTo>
                    <a:pt x="91" y="137"/>
                  </a:lnTo>
                  <a:lnTo>
                    <a:pt x="108" y="131"/>
                  </a:lnTo>
                  <a:lnTo>
                    <a:pt x="104" y="109"/>
                  </a:lnTo>
                  <a:lnTo>
                    <a:pt x="132" y="77"/>
                  </a:lnTo>
                  <a:lnTo>
                    <a:pt x="139" y="54"/>
                  </a:lnTo>
                  <a:lnTo>
                    <a:pt x="119" y="29"/>
                  </a:lnTo>
                  <a:lnTo>
                    <a:pt x="86" y="18"/>
                  </a:lnTo>
                  <a:lnTo>
                    <a:pt x="69" y="0"/>
                  </a:lnTo>
                  <a:lnTo>
                    <a:pt x="57" y="15"/>
                  </a:lnTo>
                  <a:lnTo>
                    <a:pt x="56" y="27"/>
                  </a:lnTo>
                  <a:lnTo>
                    <a:pt x="52" y="30"/>
                  </a:lnTo>
                  <a:lnTo>
                    <a:pt x="51" y="30"/>
                  </a:lnTo>
                  <a:lnTo>
                    <a:pt x="58" y="36"/>
                  </a:lnTo>
                  <a:lnTo>
                    <a:pt x="65" y="52"/>
                  </a:lnTo>
                  <a:lnTo>
                    <a:pt x="69" y="77"/>
                  </a:lnTo>
                  <a:lnTo>
                    <a:pt x="48" y="117"/>
                  </a:lnTo>
                  <a:lnTo>
                    <a:pt x="0" y="162"/>
                  </a:lnTo>
                  <a:lnTo>
                    <a:pt x="12" y="188"/>
                  </a:lnTo>
                  <a:lnTo>
                    <a:pt x="30" y="18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98" name="Freeform 155"/>
            <p:cNvSpPr>
              <a:spLocks noChangeAspect="1"/>
            </p:cNvSpPr>
            <p:nvPr/>
          </p:nvSpPr>
          <p:spPr bwMode="auto">
            <a:xfrm>
              <a:off x="5108277" y="2535095"/>
              <a:ext cx="547691" cy="568245"/>
            </a:xfrm>
            <a:custGeom>
              <a:avLst/>
              <a:gdLst>
                <a:gd name="T0" fmla="*/ 5 w 435"/>
                <a:gd name="T1" fmla="*/ 69 h 396"/>
                <a:gd name="T2" fmla="*/ 5 w 435"/>
                <a:gd name="T3" fmla="*/ 78 h 396"/>
                <a:gd name="T4" fmla="*/ 5 w 435"/>
                <a:gd name="T5" fmla="*/ 70 h 396"/>
                <a:gd name="T6" fmla="*/ 5 w 435"/>
                <a:gd name="T7" fmla="*/ 83 h 396"/>
                <a:gd name="T8" fmla="*/ 5 w 435"/>
                <a:gd name="T9" fmla="*/ 85 h 396"/>
                <a:gd name="T10" fmla="*/ 5 w 435"/>
                <a:gd name="T11" fmla="*/ 127 h 396"/>
                <a:gd name="T12" fmla="*/ 5 w 435"/>
                <a:gd name="T13" fmla="*/ 162 h 396"/>
                <a:gd name="T14" fmla="*/ 5 w 435"/>
                <a:gd name="T15" fmla="*/ 182 h 396"/>
                <a:gd name="T16" fmla="*/ 5 w 435"/>
                <a:gd name="T17" fmla="*/ 195 h 396"/>
                <a:gd name="T18" fmla="*/ 5 w 435"/>
                <a:gd name="T19" fmla="*/ 203 h 396"/>
                <a:gd name="T20" fmla="*/ 5 w 435"/>
                <a:gd name="T21" fmla="*/ 208 h 396"/>
                <a:gd name="T22" fmla="*/ 5 w 435"/>
                <a:gd name="T23" fmla="*/ 208 h 396"/>
                <a:gd name="T24" fmla="*/ 5 w 435"/>
                <a:gd name="T25" fmla="*/ 208 h 396"/>
                <a:gd name="T26" fmla="*/ 5 w 435"/>
                <a:gd name="T27" fmla="*/ 206 h 396"/>
                <a:gd name="T28" fmla="*/ 5 w 435"/>
                <a:gd name="T29" fmla="*/ 203 h 396"/>
                <a:gd name="T30" fmla="*/ 5 w 435"/>
                <a:gd name="T31" fmla="*/ 201 h 396"/>
                <a:gd name="T32" fmla="*/ 5 w 435"/>
                <a:gd name="T33" fmla="*/ 199 h 396"/>
                <a:gd name="T34" fmla="*/ 5 w 435"/>
                <a:gd name="T35" fmla="*/ 201 h 396"/>
                <a:gd name="T36" fmla="*/ 5 w 435"/>
                <a:gd name="T37" fmla="*/ 207 h 396"/>
                <a:gd name="T38" fmla="*/ 5 w 435"/>
                <a:gd name="T39" fmla="*/ 223 h 396"/>
                <a:gd name="T40" fmla="*/ 5 w 435"/>
                <a:gd name="T41" fmla="*/ 248 h 396"/>
                <a:gd name="T42" fmla="*/ 5 w 435"/>
                <a:gd name="T43" fmla="*/ 288 h 396"/>
                <a:gd name="T44" fmla="*/ 5 w 435"/>
                <a:gd name="T45" fmla="*/ 333 h 396"/>
                <a:gd name="T46" fmla="*/ 5 w 435"/>
                <a:gd name="T47" fmla="*/ 347 h 396"/>
                <a:gd name="T48" fmla="*/ 5 w 435"/>
                <a:gd name="T49" fmla="*/ 396 h 396"/>
                <a:gd name="T50" fmla="*/ 5 w 435"/>
                <a:gd name="T51" fmla="*/ 348 h 396"/>
                <a:gd name="T52" fmla="*/ 5 w 435"/>
                <a:gd name="T53" fmla="*/ 362 h 396"/>
                <a:gd name="T54" fmla="*/ 5 w 435"/>
                <a:gd name="T55" fmla="*/ 365 h 396"/>
                <a:gd name="T56" fmla="*/ 5 w 435"/>
                <a:gd name="T57" fmla="*/ 349 h 396"/>
                <a:gd name="T58" fmla="*/ 5 w 435"/>
                <a:gd name="T59" fmla="*/ 288 h 396"/>
                <a:gd name="T60" fmla="*/ 5 w 435"/>
                <a:gd name="T61" fmla="*/ 275 h 396"/>
                <a:gd name="T62" fmla="*/ 5 w 435"/>
                <a:gd name="T63" fmla="*/ 259 h 396"/>
                <a:gd name="T64" fmla="*/ 5 w 435"/>
                <a:gd name="T65" fmla="*/ 217 h 396"/>
                <a:gd name="T66" fmla="*/ 5 w 435"/>
                <a:gd name="T67" fmla="*/ 194 h 396"/>
                <a:gd name="T68" fmla="*/ 5 w 435"/>
                <a:gd name="T69" fmla="*/ 180 h 396"/>
                <a:gd name="T70" fmla="*/ 5 w 435"/>
                <a:gd name="T71" fmla="*/ 97 h 396"/>
                <a:gd name="T72" fmla="*/ 0 w 435"/>
                <a:gd name="T73" fmla="*/ 97 h 396"/>
                <a:gd name="T74" fmla="*/ 2 w 435"/>
                <a:gd name="T75" fmla="*/ 65 h 396"/>
                <a:gd name="T76" fmla="*/ 5 w 435"/>
                <a:gd name="T77" fmla="*/ 68 h 396"/>
                <a:gd name="T78" fmla="*/ 5 w 435"/>
                <a:gd name="T79" fmla="*/ 53 h 396"/>
                <a:gd name="T80" fmla="*/ 5 w 435"/>
                <a:gd name="T81" fmla="*/ 52 h 396"/>
                <a:gd name="T82" fmla="*/ 5 w 435"/>
                <a:gd name="T83" fmla="*/ 37 h 396"/>
                <a:gd name="T84" fmla="*/ 5 w 435"/>
                <a:gd name="T85" fmla="*/ 17 h 396"/>
                <a:gd name="T86" fmla="*/ 5 w 435"/>
                <a:gd name="T87" fmla="*/ 0 h 396"/>
                <a:gd name="T88" fmla="*/ 5 w 435"/>
                <a:gd name="T89" fmla="*/ 8 h 396"/>
                <a:gd name="T90" fmla="*/ 5 w 435"/>
                <a:gd name="T91" fmla="*/ 32 h 396"/>
                <a:gd name="T92" fmla="*/ 5 w 435"/>
                <a:gd name="T93" fmla="*/ 42 h 396"/>
                <a:gd name="T94" fmla="*/ 5 w 435"/>
                <a:gd name="T95" fmla="*/ 57 h 396"/>
                <a:gd name="T96" fmla="*/ 5 w 435"/>
                <a:gd name="T97" fmla="*/ 69 h 39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5"/>
                <a:gd name="T148" fmla="*/ 0 h 396"/>
                <a:gd name="T149" fmla="*/ 435 w 435"/>
                <a:gd name="T150" fmla="*/ 396 h 39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5" h="396">
                  <a:moveTo>
                    <a:pt x="196" y="69"/>
                  </a:moveTo>
                  <a:lnTo>
                    <a:pt x="211" y="78"/>
                  </a:lnTo>
                  <a:lnTo>
                    <a:pt x="232" y="70"/>
                  </a:lnTo>
                  <a:lnTo>
                    <a:pt x="267" y="83"/>
                  </a:lnTo>
                  <a:lnTo>
                    <a:pt x="268" y="85"/>
                  </a:lnTo>
                  <a:lnTo>
                    <a:pt x="304" y="127"/>
                  </a:lnTo>
                  <a:lnTo>
                    <a:pt x="319" y="162"/>
                  </a:lnTo>
                  <a:lnTo>
                    <a:pt x="332" y="182"/>
                  </a:lnTo>
                  <a:lnTo>
                    <a:pt x="322" y="195"/>
                  </a:lnTo>
                  <a:lnTo>
                    <a:pt x="322" y="203"/>
                  </a:lnTo>
                  <a:lnTo>
                    <a:pt x="336" y="208"/>
                  </a:lnTo>
                  <a:lnTo>
                    <a:pt x="358" y="208"/>
                  </a:lnTo>
                  <a:lnTo>
                    <a:pt x="382" y="208"/>
                  </a:lnTo>
                  <a:lnTo>
                    <a:pt x="388" y="206"/>
                  </a:lnTo>
                  <a:lnTo>
                    <a:pt x="395" y="203"/>
                  </a:lnTo>
                  <a:lnTo>
                    <a:pt x="400" y="201"/>
                  </a:lnTo>
                  <a:lnTo>
                    <a:pt x="404" y="199"/>
                  </a:lnTo>
                  <a:lnTo>
                    <a:pt x="417" y="201"/>
                  </a:lnTo>
                  <a:lnTo>
                    <a:pt x="424" y="207"/>
                  </a:lnTo>
                  <a:lnTo>
                    <a:pt x="431" y="223"/>
                  </a:lnTo>
                  <a:lnTo>
                    <a:pt x="435" y="248"/>
                  </a:lnTo>
                  <a:lnTo>
                    <a:pt x="414" y="288"/>
                  </a:lnTo>
                  <a:lnTo>
                    <a:pt x="366" y="333"/>
                  </a:lnTo>
                  <a:lnTo>
                    <a:pt x="302" y="347"/>
                  </a:lnTo>
                  <a:lnTo>
                    <a:pt x="232" y="396"/>
                  </a:lnTo>
                  <a:lnTo>
                    <a:pt x="190" y="348"/>
                  </a:lnTo>
                  <a:lnTo>
                    <a:pt x="171" y="362"/>
                  </a:lnTo>
                  <a:lnTo>
                    <a:pt x="170" y="365"/>
                  </a:lnTo>
                  <a:lnTo>
                    <a:pt x="165" y="349"/>
                  </a:lnTo>
                  <a:lnTo>
                    <a:pt x="130" y="288"/>
                  </a:lnTo>
                  <a:lnTo>
                    <a:pt x="108" y="275"/>
                  </a:lnTo>
                  <a:lnTo>
                    <a:pt x="97" y="259"/>
                  </a:lnTo>
                  <a:lnTo>
                    <a:pt x="92" y="217"/>
                  </a:lnTo>
                  <a:lnTo>
                    <a:pt x="79" y="194"/>
                  </a:lnTo>
                  <a:lnTo>
                    <a:pt x="60" y="180"/>
                  </a:lnTo>
                  <a:lnTo>
                    <a:pt x="10" y="97"/>
                  </a:lnTo>
                  <a:lnTo>
                    <a:pt x="0" y="97"/>
                  </a:lnTo>
                  <a:lnTo>
                    <a:pt x="2" y="65"/>
                  </a:lnTo>
                  <a:lnTo>
                    <a:pt x="25" y="68"/>
                  </a:lnTo>
                  <a:lnTo>
                    <a:pt x="36" y="53"/>
                  </a:lnTo>
                  <a:lnTo>
                    <a:pt x="48" y="52"/>
                  </a:lnTo>
                  <a:lnTo>
                    <a:pt x="59" y="37"/>
                  </a:lnTo>
                  <a:lnTo>
                    <a:pt x="40" y="17"/>
                  </a:lnTo>
                  <a:lnTo>
                    <a:pt x="80" y="0"/>
                  </a:lnTo>
                  <a:lnTo>
                    <a:pt x="110" y="8"/>
                  </a:lnTo>
                  <a:lnTo>
                    <a:pt x="154" y="32"/>
                  </a:lnTo>
                  <a:lnTo>
                    <a:pt x="168" y="42"/>
                  </a:lnTo>
                  <a:lnTo>
                    <a:pt x="172" y="57"/>
                  </a:lnTo>
                  <a:lnTo>
                    <a:pt x="196" y="6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599" name="Freeform 156"/>
            <p:cNvSpPr>
              <a:spLocks noChangeAspect="1"/>
            </p:cNvSpPr>
            <p:nvPr/>
          </p:nvSpPr>
          <p:spPr bwMode="auto">
            <a:xfrm>
              <a:off x="5513456" y="2743164"/>
              <a:ext cx="142511" cy="90403"/>
            </a:xfrm>
            <a:custGeom>
              <a:avLst/>
              <a:gdLst>
                <a:gd name="T0" fmla="*/ 5 w 113"/>
                <a:gd name="T1" fmla="*/ 17 h 63"/>
                <a:gd name="T2" fmla="*/ 5 w 113"/>
                <a:gd name="T3" fmla="*/ 26 h 63"/>
                <a:gd name="T4" fmla="*/ 5 w 113"/>
                <a:gd name="T5" fmla="*/ 41 h 63"/>
                <a:gd name="T6" fmla="*/ 5 w 113"/>
                <a:gd name="T7" fmla="*/ 54 h 63"/>
                <a:gd name="T8" fmla="*/ 5 w 113"/>
                <a:gd name="T9" fmla="*/ 56 h 63"/>
                <a:gd name="T10" fmla="*/ 5 w 113"/>
                <a:gd name="T11" fmla="*/ 56 h 63"/>
                <a:gd name="T12" fmla="*/ 5 w 113"/>
                <a:gd name="T13" fmla="*/ 54 h 63"/>
                <a:gd name="T14" fmla="*/ 5 w 113"/>
                <a:gd name="T15" fmla="*/ 56 h 63"/>
                <a:gd name="T16" fmla="*/ 5 w 113"/>
                <a:gd name="T17" fmla="*/ 58 h 63"/>
                <a:gd name="T18" fmla="*/ 5 w 113"/>
                <a:gd name="T19" fmla="*/ 58 h 63"/>
                <a:gd name="T20" fmla="*/ 5 w 113"/>
                <a:gd name="T21" fmla="*/ 61 h 63"/>
                <a:gd name="T22" fmla="*/ 5 w 113"/>
                <a:gd name="T23" fmla="*/ 63 h 63"/>
                <a:gd name="T24" fmla="*/ 5 w 113"/>
                <a:gd name="T25" fmla="*/ 63 h 63"/>
                <a:gd name="T26" fmla="*/ 5 w 113"/>
                <a:gd name="T27" fmla="*/ 63 h 63"/>
                <a:gd name="T28" fmla="*/ 0 w 113"/>
                <a:gd name="T29" fmla="*/ 58 h 63"/>
                <a:gd name="T30" fmla="*/ 0 w 113"/>
                <a:gd name="T31" fmla="*/ 50 h 63"/>
                <a:gd name="T32" fmla="*/ 5 w 113"/>
                <a:gd name="T33" fmla="*/ 37 h 63"/>
                <a:gd name="T34" fmla="*/ 5 w 113"/>
                <a:gd name="T35" fmla="*/ 45 h 63"/>
                <a:gd name="T36" fmla="*/ 5 w 113"/>
                <a:gd name="T37" fmla="*/ 40 h 63"/>
                <a:gd name="T38" fmla="*/ 5 w 113"/>
                <a:gd name="T39" fmla="*/ 40 h 63"/>
                <a:gd name="T40" fmla="*/ 5 w 113"/>
                <a:gd name="T41" fmla="*/ 0 h 63"/>
                <a:gd name="T42" fmla="*/ 5 w 113"/>
                <a:gd name="T43" fmla="*/ 17 h 6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13"/>
                <a:gd name="T67" fmla="*/ 0 h 63"/>
                <a:gd name="T68" fmla="*/ 113 w 113"/>
                <a:gd name="T69" fmla="*/ 63 h 6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13" h="63">
                  <a:moveTo>
                    <a:pt x="112" y="17"/>
                  </a:moveTo>
                  <a:lnTo>
                    <a:pt x="113" y="26"/>
                  </a:lnTo>
                  <a:lnTo>
                    <a:pt x="101" y="41"/>
                  </a:lnTo>
                  <a:lnTo>
                    <a:pt x="100" y="54"/>
                  </a:lnTo>
                  <a:lnTo>
                    <a:pt x="96" y="56"/>
                  </a:lnTo>
                  <a:lnTo>
                    <a:pt x="95" y="56"/>
                  </a:lnTo>
                  <a:lnTo>
                    <a:pt x="82" y="54"/>
                  </a:lnTo>
                  <a:lnTo>
                    <a:pt x="78" y="56"/>
                  </a:lnTo>
                  <a:lnTo>
                    <a:pt x="75" y="58"/>
                  </a:lnTo>
                  <a:lnTo>
                    <a:pt x="73" y="58"/>
                  </a:lnTo>
                  <a:lnTo>
                    <a:pt x="66" y="61"/>
                  </a:lnTo>
                  <a:lnTo>
                    <a:pt x="60" y="63"/>
                  </a:lnTo>
                  <a:lnTo>
                    <a:pt x="36" y="63"/>
                  </a:lnTo>
                  <a:lnTo>
                    <a:pt x="14" y="63"/>
                  </a:lnTo>
                  <a:lnTo>
                    <a:pt x="0" y="58"/>
                  </a:lnTo>
                  <a:lnTo>
                    <a:pt x="0" y="50"/>
                  </a:lnTo>
                  <a:lnTo>
                    <a:pt x="10" y="37"/>
                  </a:lnTo>
                  <a:lnTo>
                    <a:pt x="33" y="45"/>
                  </a:lnTo>
                  <a:lnTo>
                    <a:pt x="39" y="40"/>
                  </a:lnTo>
                  <a:lnTo>
                    <a:pt x="70" y="40"/>
                  </a:lnTo>
                  <a:lnTo>
                    <a:pt x="101" y="0"/>
                  </a:lnTo>
                  <a:lnTo>
                    <a:pt x="112" y="17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00" name="Freeform 157"/>
            <p:cNvSpPr>
              <a:spLocks noChangeAspect="1"/>
            </p:cNvSpPr>
            <p:nvPr/>
          </p:nvSpPr>
          <p:spPr bwMode="auto">
            <a:xfrm>
              <a:off x="7841143" y="3684499"/>
              <a:ext cx="237519" cy="262598"/>
            </a:xfrm>
            <a:custGeom>
              <a:avLst/>
              <a:gdLst>
                <a:gd name="T0" fmla="*/ 2 w 188"/>
                <a:gd name="T1" fmla="*/ 0 h 183"/>
                <a:gd name="T2" fmla="*/ 5 w 188"/>
                <a:gd name="T3" fmla="*/ 17 h 183"/>
                <a:gd name="T4" fmla="*/ 5 w 188"/>
                <a:gd name="T5" fmla="*/ 42 h 183"/>
                <a:gd name="T6" fmla="*/ 5 w 188"/>
                <a:gd name="T7" fmla="*/ 65 h 183"/>
                <a:gd name="T8" fmla="*/ 5 w 188"/>
                <a:gd name="T9" fmla="*/ 74 h 183"/>
                <a:gd name="T10" fmla="*/ 5 w 188"/>
                <a:gd name="T11" fmla="*/ 72 h 183"/>
                <a:gd name="T12" fmla="*/ 5 w 188"/>
                <a:gd name="T13" fmla="*/ 80 h 183"/>
                <a:gd name="T14" fmla="*/ 5 w 188"/>
                <a:gd name="T15" fmla="*/ 91 h 183"/>
                <a:gd name="T16" fmla="*/ 5 w 188"/>
                <a:gd name="T17" fmla="*/ 95 h 183"/>
                <a:gd name="T18" fmla="*/ 5 w 188"/>
                <a:gd name="T19" fmla="*/ 105 h 183"/>
                <a:gd name="T20" fmla="*/ 5 w 188"/>
                <a:gd name="T21" fmla="*/ 122 h 183"/>
                <a:gd name="T22" fmla="*/ 5 w 188"/>
                <a:gd name="T23" fmla="*/ 147 h 183"/>
                <a:gd name="T24" fmla="*/ 5 w 188"/>
                <a:gd name="T25" fmla="*/ 145 h 183"/>
                <a:gd name="T26" fmla="*/ 5 w 188"/>
                <a:gd name="T27" fmla="*/ 154 h 183"/>
                <a:gd name="T28" fmla="*/ 5 w 188"/>
                <a:gd name="T29" fmla="*/ 158 h 183"/>
                <a:gd name="T30" fmla="*/ 5 w 188"/>
                <a:gd name="T31" fmla="*/ 166 h 183"/>
                <a:gd name="T32" fmla="*/ 5 w 188"/>
                <a:gd name="T33" fmla="*/ 171 h 183"/>
                <a:gd name="T34" fmla="*/ 5 w 188"/>
                <a:gd name="T35" fmla="*/ 181 h 183"/>
                <a:gd name="T36" fmla="*/ 5 w 188"/>
                <a:gd name="T37" fmla="*/ 183 h 183"/>
                <a:gd name="T38" fmla="*/ 5 w 188"/>
                <a:gd name="T39" fmla="*/ 176 h 183"/>
                <a:gd name="T40" fmla="*/ 5 w 188"/>
                <a:gd name="T41" fmla="*/ 168 h 183"/>
                <a:gd name="T42" fmla="*/ 5 w 188"/>
                <a:gd name="T43" fmla="*/ 122 h 183"/>
                <a:gd name="T44" fmla="*/ 5 w 188"/>
                <a:gd name="T45" fmla="*/ 111 h 183"/>
                <a:gd name="T46" fmla="*/ 5 w 188"/>
                <a:gd name="T47" fmla="*/ 111 h 183"/>
                <a:gd name="T48" fmla="*/ 5 w 188"/>
                <a:gd name="T49" fmla="*/ 130 h 183"/>
                <a:gd name="T50" fmla="*/ 5 w 188"/>
                <a:gd name="T51" fmla="*/ 140 h 183"/>
                <a:gd name="T52" fmla="*/ 5 w 188"/>
                <a:gd name="T53" fmla="*/ 151 h 183"/>
                <a:gd name="T54" fmla="*/ 0 w 188"/>
                <a:gd name="T55" fmla="*/ 149 h 183"/>
                <a:gd name="T56" fmla="*/ 2 w 188"/>
                <a:gd name="T57" fmla="*/ 0 h 1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88"/>
                <a:gd name="T88" fmla="*/ 0 h 183"/>
                <a:gd name="T89" fmla="*/ 188 w 188"/>
                <a:gd name="T90" fmla="*/ 183 h 1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88" h="183">
                  <a:moveTo>
                    <a:pt x="2" y="0"/>
                  </a:moveTo>
                  <a:lnTo>
                    <a:pt x="52" y="17"/>
                  </a:lnTo>
                  <a:lnTo>
                    <a:pt x="89" y="42"/>
                  </a:lnTo>
                  <a:lnTo>
                    <a:pt x="94" y="65"/>
                  </a:lnTo>
                  <a:lnTo>
                    <a:pt x="116" y="74"/>
                  </a:lnTo>
                  <a:lnTo>
                    <a:pt x="128" y="72"/>
                  </a:lnTo>
                  <a:lnTo>
                    <a:pt x="136" y="80"/>
                  </a:lnTo>
                  <a:lnTo>
                    <a:pt x="136" y="91"/>
                  </a:lnTo>
                  <a:lnTo>
                    <a:pt x="119" y="95"/>
                  </a:lnTo>
                  <a:lnTo>
                    <a:pt x="121" y="105"/>
                  </a:lnTo>
                  <a:lnTo>
                    <a:pt x="139" y="122"/>
                  </a:lnTo>
                  <a:lnTo>
                    <a:pt x="145" y="147"/>
                  </a:lnTo>
                  <a:lnTo>
                    <a:pt x="160" y="145"/>
                  </a:lnTo>
                  <a:lnTo>
                    <a:pt x="155" y="154"/>
                  </a:lnTo>
                  <a:lnTo>
                    <a:pt x="173" y="158"/>
                  </a:lnTo>
                  <a:lnTo>
                    <a:pt x="167" y="166"/>
                  </a:lnTo>
                  <a:lnTo>
                    <a:pt x="188" y="171"/>
                  </a:lnTo>
                  <a:lnTo>
                    <a:pt x="183" y="181"/>
                  </a:lnTo>
                  <a:lnTo>
                    <a:pt x="171" y="183"/>
                  </a:lnTo>
                  <a:lnTo>
                    <a:pt x="167" y="176"/>
                  </a:lnTo>
                  <a:lnTo>
                    <a:pt x="123" y="168"/>
                  </a:lnTo>
                  <a:lnTo>
                    <a:pt x="96" y="122"/>
                  </a:lnTo>
                  <a:lnTo>
                    <a:pt x="70" y="111"/>
                  </a:lnTo>
                  <a:lnTo>
                    <a:pt x="59" y="111"/>
                  </a:lnTo>
                  <a:lnTo>
                    <a:pt x="37" y="130"/>
                  </a:lnTo>
                  <a:lnTo>
                    <a:pt x="40" y="140"/>
                  </a:lnTo>
                  <a:lnTo>
                    <a:pt x="24" y="151"/>
                  </a:lnTo>
                  <a:lnTo>
                    <a:pt x="0" y="14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rgbClr val="92D05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01" name="Freeform 158"/>
            <p:cNvSpPr>
              <a:spLocks noChangeAspect="1"/>
            </p:cNvSpPr>
            <p:nvPr/>
          </p:nvSpPr>
          <p:spPr bwMode="auto">
            <a:xfrm>
              <a:off x="6559937" y="2669981"/>
              <a:ext cx="220753" cy="606989"/>
            </a:xfrm>
            <a:custGeom>
              <a:avLst/>
              <a:gdLst>
                <a:gd name="T0" fmla="*/ 5 w 175"/>
                <a:gd name="T1" fmla="*/ 373 h 423"/>
                <a:gd name="T2" fmla="*/ 5 w 175"/>
                <a:gd name="T3" fmla="*/ 323 h 423"/>
                <a:gd name="T4" fmla="*/ 5 w 175"/>
                <a:gd name="T5" fmla="*/ 305 h 423"/>
                <a:gd name="T6" fmla="*/ 5 w 175"/>
                <a:gd name="T7" fmla="*/ 274 h 423"/>
                <a:gd name="T8" fmla="*/ 5 w 175"/>
                <a:gd name="T9" fmla="*/ 228 h 423"/>
                <a:gd name="T10" fmla="*/ 5 w 175"/>
                <a:gd name="T11" fmla="*/ 203 h 423"/>
                <a:gd name="T12" fmla="*/ 5 w 175"/>
                <a:gd name="T13" fmla="*/ 170 h 423"/>
                <a:gd name="T14" fmla="*/ 5 w 175"/>
                <a:gd name="T15" fmla="*/ 147 h 423"/>
                <a:gd name="T16" fmla="*/ 5 w 175"/>
                <a:gd name="T17" fmla="*/ 151 h 423"/>
                <a:gd name="T18" fmla="*/ 5 w 175"/>
                <a:gd name="T19" fmla="*/ 136 h 423"/>
                <a:gd name="T20" fmla="*/ 5 w 175"/>
                <a:gd name="T21" fmla="*/ 118 h 423"/>
                <a:gd name="T22" fmla="*/ 5 w 175"/>
                <a:gd name="T23" fmla="*/ 111 h 423"/>
                <a:gd name="T24" fmla="*/ 5 w 175"/>
                <a:gd name="T25" fmla="*/ 92 h 423"/>
                <a:gd name="T26" fmla="*/ 5 w 175"/>
                <a:gd name="T27" fmla="*/ 100 h 423"/>
                <a:gd name="T28" fmla="*/ 5 w 175"/>
                <a:gd name="T29" fmla="*/ 33 h 423"/>
                <a:gd name="T30" fmla="*/ 5 w 175"/>
                <a:gd name="T31" fmla="*/ 4 h 423"/>
                <a:gd name="T32" fmla="*/ 5 w 175"/>
                <a:gd name="T33" fmla="*/ 0 h 423"/>
                <a:gd name="T34" fmla="*/ 5 w 175"/>
                <a:gd name="T35" fmla="*/ 22 h 423"/>
                <a:gd name="T36" fmla="*/ 5 w 175"/>
                <a:gd name="T37" fmla="*/ 22 h 423"/>
                <a:gd name="T38" fmla="*/ 5 w 175"/>
                <a:gd name="T39" fmla="*/ 38 h 423"/>
                <a:gd name="T40" fmla="*/ 5 w 175"/>
                <a:gd name="T41" fmla="*/ 96 h 423"/>
                <a:gd name="T42" fmla="*/ 5 w 175"/>
                <a:gd name="T43" fmla="*/ 101 h 423"/>
                <a:gd name="T44" fmla="*/ 5 w 175"/>
                <a:gd name="T45" fmla="*/ 136 h 423"/>
                <a:gd name="T46" fmla="*/ 4 w 175"/>
                <a:gd name="T47" fmla="*/ 142 h 423"/>
                <a:gd name="T48" fmla="*/ 0 w 175"/>
                <a:gd name="T49" fmla="*/ 168 h 423"/>
                <a:gd name="T50" fmla="*/ 5 w 175"/>
                <a:gd name="T51" fmla="*/ 188 h 423"/>
                <a:gd name="T52" fmla="*/ 5 w 175"/>
                <a:gd name="T53" fmla="*/ 188 h 423"/>
                <a:gd name="T54" fmla="*/ 5 w 175"/>
                <a:gd name="T55" fmla="*/ 214 h 423"/>
                <a:gd name="T56" fmla="*/ 5 w 175"/>
                <a:gd name="T57" fmla="*/ 214 h 423"/>
                <a:gd name="T58" fmla="*/ 5 w 175"/>
                <a:gd name="T59" fmla="*/ 251 h 423"/>
                <a:gd name="T60" fmla="*/ 5 w 175"/>
                <a:gd name="T61" fmla="*/ 277 h 423"/>
                <a:gd name="T62" fmla="*/ 5 w 175"/>
                <a:gd name="T63" fmla="*/ 284 h 423"/>
                <a:gd name="T64" fmla="*/ 5 w 175"/>
                <a:gd name="T65" fmla="*/ 257 h 423"/>
                <a:gd name="T66" fmla="*/ 5 w 175"/>
                <a:gd name="T67" fmla="*/ 271 h 423"/>
                <a:gd name="T68" fmla="*/ 5 w 175"/>
                <a:gd name="T69" fmla="*/ 358 h 423"/>
                <a:gd name="T70" fmla="*/ 5 w 175"/>
                <a:gd name="T71" fmla="*/ 371 h 423"/>
                <a:gd name="T72" fmla="*/ 5 w 175"/>
                <a:gd name="T73" fmla="*/ 393 h 423"/>
                <a:gd name="T74" fmla="*/ 5 w 175"/>
                <a:gd name="T75" fmla="*/ 423 h 423"/>
                <a:gd name="T76" fmla="*/ 5 w 175"/>
                <a:gd name="T77" fmla="*/ 373 h 42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75"/>
                <a:gd name="T118" fmla="*/ 0 h 423"/>
                <a:gd name="T119" fmla="*/ 175 w 175"/>
                <a:gd name="T120" fmla="*/ 423 h 42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75" h="423">
                  <a:moveTo>
                    <a:pt x="170" y="373"/>
                  </a:moveTo>
                  <a:lnTo>
                    <a:pt x="152" y="323"/>
                  </a:lnTo>
                  <a:lnTo>
                    <a:pt x="135" y="305"/>
                  </a:lnTo>
                  <a:lnTo>
                    <a:pt x="145" y="274"/>
                  </a:lnTo>
                  <a:lnTo>
                    <a:pt x="115" y="228"/>
                  </a:lnTo>
                  <a:lnTo>
                    <a:pt x="118" y="203"/>
                  </a:lnTo>
                  <a:lnTo>
                    <a:pt x="159" y="170"/>
                  </a:lnTo>
                  <a:lnTo>
                    <a:pt x="175" y="147"/>
                  </a:lnTo>
                  <a:lnTo>
                    <a:pt x="157" y="151"/>
                  </a:lnTo>
                  <a:lnTo>
                    <a:pt x="136" y="136"/>
                  </a:lnTo>
                  <a:lnTo>
                    <a:pt x="137" y="118"/>
                  </a:lnTo>
                  <a:lnTo>
                    <a:pt x="125" y="111"/>
                  </a:lnTo>
                  <a:lnTo>
                    <a:pt x="120" y="92"/>
                  </a:lnTo>
                  <a:lnTo>
                    <a:pt x="97" y="100"/>
                  </a:lnTo>
                  <a:lnTo>
                    <a:pt x="108" y="33"/>
                  </a:lnTo>
                  <a:lnTo>
                    <a:pt x="91" y="4"/>
                  </a:lnTo>
                  <a:lnTo>
                    <a:pt x="74" y="0"/>
                  </a:lnTo>
                  <a:lnTo>
                    <a:pt x="71" y="22"/>
                  </a:lnTo>
                  <a:lnTo>
                    <a:pt x="55" y="22"/>
                  </a:lnTo>
                  <a:lnTo>
                    <a:pt x="40" y="38"/>
                  </a:lnTo>
                  <a:lnTo>
                    <a:pt x="28" y="96"/>
                  </a:lnTo>
                  <a:lnTo>
                    <a:pt x="12" y="101"/>
                  </a:lnTo>
                  <a:lnTo>
                    <a:pt x="10" y="136"/>
                  </a:lnTo>
                  <a:lnTo>
                    <a:pt x="4" y="142"/>
                  </a:lnTo>
                  <a:lnTo>
                    <a:pt x="0" y="168"/>
                  </a:lnTo>
                  <a:lnTo>
                    <a:pt x="21" y="188"/>
                  </a:lnTo>
                  <a:lnTo>
                    <a:pt x="27" y="188"/>
                  </a:lnTo>
                  <a:lnTo>
                    <a:pt x="37" y="214"/>
                  </a:lnTo>
                  <a:lnTo>
                    <a:pt x="44" y="214"/>
                  </a:lnTo>
                  <a:lnTo>
                    <a:pt x="56" y="251"/>
                  </a:lnTo>
                  <a:lnTo>
                    <a:pt x="52" y="277"/>
                  </a:lnTo>
                  <a:lnTo>
                    <a:pt x="78" y="284"/>
                  </a:lnTo>
                  <a:lnTo>
                    <a:pt x="103" y="257"/>
                  </a:lnTo>
                  <a:lnTo>
                    <a:pt x="118" y="271"/>
                  </a:lnTo>
                  <a:lnTo>
                    <a:pt x="151" y="358"/>
                  </a:lnTo>
                  <a:lnTo>
                    <a:pt x="147" y="371"/>
                  </a:lnTo>
                  <a:lnTo>
                    <a:pt x="153" y="393"/>
                  </a:lnTo>
                  <a:lnTo>
                    <a:pt x="148" y="423"/>
                  </a:lnTo>
                  <a:lnTo>
                    <a:pt x="170" y="373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02" name="Freeform 159"/>
            <p:cNvSpPr>
              <a:spLocks noChangeAspect="1"/>
            </p:cNvSpPr>
            <p:nvPr/>
          </p:nvSpPr>
          <p:spPr bwMode="auto">
            <a:xfrm>
              <a:off x="6839371" y="3111950"/>
              <a:ext cx="135526" cy="140626"/>
            </a:xfrm>
            <a:custGeom>
              <a:avLst/>
              <a:gdLst>
                <a:gd name="T0" fmla="*/ 0 w 107"/>
                <a:gd name="T1" fmla="*/ 34 h 98"/>
                <a:gd name="T2" fmla="*/ 5 w 107"/>
                <a:gd name="T3" fmla="*/ 11 h 98"/>
                <a:gd name="T4" fmla="*/ 5 w 107"/>
                <a:gd name="T5" fmla="*/ 10 h 98"/>
                <a:gd name="T6" fmla="*/ 5 w 107"/>
                <a:gd name="T7" fmla="*/ 15 h 98"/>
                <a:gd name="T8" fmla="*/ 5 w 107"/>
                <a:gd name="T9" fmla="*/ 8 h 98"/>
                <a:gd name="T10" fmla="*/ 5 w 107"/>
                <a:gd name="T11" fmla="*/ 0 h 98"/>
                <a:gd name="T12" fmla="*/ 5 w 107"/>
                <a:gd name="T13" fmla="*/ 52 h 98"/>
                <a:gd name="T14" fmla="*/ 5 w 107"/>
                <a:gd name="T15" fmla="*/ 69 h 98"/>
                <a:gd name="T16" fmla="*/ 5 w 107"/>
                <a:gd name="T17" fmla="*/ 85 h 98"/>
                <a:gd name="T18" fmla="*/ 5 w 107"/>
                <a:gd name="T19" fmla="*/ 98 h 98"/>
                <a:gd name="T20" fmla="*/ 5 w 107"/>
                <a:gd name="T21" fmla="*/ 86 h 98"/>
                <a:gd name="T22" fmla="*/ 5 w 107"/>
                <a:gd name="T23" fmla="*/ 60 h 98"/>
                <a:gd name="T24" fmla="*/ 0 w 107"/>
                <a:gd name="T25" fmla="*/ 34 h 9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7"/>
                <a:gd name="T40" fmla="*/ 0 h 98"/>
                <a:gd name="T41" fmla="*/ 107 w 107"/>
                <a:gd name="T42" fmla="*/ 98 h 9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7" h="98">
                  <a:moveTo>
                    <a:pt x="0" y="34"/>
                  </a:moveTo>
                  <a:lnTo>
                    <a:pt x="11" y="11"/>
                  </a:lnTo>
                  <a:lnTo>
                    <a:pt x="56" y="10"/>
                  </a:lnTo>
                  <a:lnTo>
                    <a:pt x="74" y="15"/>
                  </a:lnTo>
                  <a:lnTo>
                    <a:pt x="75" y="8"/>
                  </a:lnTo>
                  <a:lnTo>
                    <a:pt x="99" y="0"/>
                  </a:lnTo>
                  <a:lnTo>
                    <a:pt x="107" y="52"/>
                  </a:lnTo>
                  <a:lnTo>
                    <a:pt x="76" y="69"/>
                  </a:lnTo>
                  <a:lnTo>
                    <a:pt x="73" y="85"/>
                  </a:lnTo>
                  <a:lnTo>
                    <a:pt x="50" y="98"/>
                  </a:lnTo>
                  <a:lnTo>
                    <a:pt x="23" y="86"/>
                  </a:lnTo>
                  <a:lnTo>
                    <a:pt x="7" y="6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03" name="Freeform 160"/>
            <p:cNvSpPr>
              <a:spLocks noChangeAspect="1"/>
            </p:cNvSpPr>
            <p:nvPr/>
          </p:nvSpPr>
          <p:spPr bwMode="auto">
            <a:xfrm>
              <a:off x="6761130" y="2855091"/>
              <a:ext cx="202590" cy="278383"/>
            </a:xfrm>
            <a:custGeom>
              <a:avLst/>
              <a:gdLst>
                <a:gd name="T0" fmla="*/ 5 w 161"/>
                <a:gd name="T1" fmla="*/ 179 h 194"/>
                <a:gd name="T2" fmla="*/ 5 w 161"/>
                <a:gd name="T3" fmla="*/ 157 h 194"/>
                <a:gd name="T4" fmla="*/ 5 w 161"/>
                <a:gd name="T5" fmla="*/ 131 h 194"/>
                <a:gd name="T6" fmla="*/ 5 w 161"/>
                <a:gd name="T7" fmla="*/ 120 h 194"/>
                <a:gd name="T8" fmla="*/ 5 w 161"/>
                <a:gd name="T9" fmla="*/ 70 h 194"/>
                <a:gd name="T10" fmla="*/ 5 w 161"/>
                <a:gd name="T11" fmla="*/ 63 h 194"/>
                <a:gd name="T12" fmla="*/ 5 w 161"/>
                <a:gd name="T13" fmla="*/ 41 h 194"/>
                <a:gd name="T14" fmla="*/ 5 w 161"/>
                <a:gd name="T15" fmla="*/ 36 h 194"/>
                <a:gd name="T16" fmla="*/ 5 w 161"/>
                <a:gd name="T17" fmla="*/ 2 h 194"/>
                <a:gd name="T18" fmla="*/ 5 w 161"/>
                <a:gd name="T19" fmla="*/ 0 h 194"/>
                <a:gd name="T20" fmla="*/ 5 w 161"/>
                <a:gd name="T21" fmla="*/ 26 h 194"/>
                <a:gd name="T22" fmla="*/ 5 w 161"/>
                <a:gd name="T23" fmla="*/ 29 h 194"/>
                <a:gd name="T24" fmla="*/ 5 w 161"/>
                <a:gd name="T25" fmla="*/ 18 h 194"/>
                <a:gd name="T26" fmla="*/ 0 w 161"/>
                <a:gd name="T27" fmla="*/ 41 h 194"/>
                <a:gd name="T28" fmla="*/ 5 w 161"/>
                <a:gd name="T29" fmla="*/ 63 h 194"/>
                <a:gd name="T30" fmla="*/ 5 w 161"/>
                <a:gd name="T31" fmla="*/ 70 h 194"/>
                <a:gd name="T32" fmla="*/ 5 w 161"/>
                <a:gd name="T33" fmla="*/ 109 h 194"/>
                <a:gd name="T34" fmla="*/ 5 w 161"/>
                <a:gd name="T35" fmla="*/ 98 h 194"/>
                <a:gd name="T36" fmla="*/ 5 w 161"/>
                <a:gd name="T37" fmla="*/ 105 h 194"/>
                <a:gd name="T38" fmla="*/ 5 w 161"/>
                <a:gd name="T39" fmla="*/ 94 h 194"/>
                <a:gd name="T40" fmla="*/ 5 w 161"/>
                <a:gd name="T41" fmla="*/ 113 h 194"/>
                <a:gd name="T42" fmla="*/ 5 w 161"/>
                <a:gd name="T43" fmla="*/ 142 h 194"/>
                <a:gd name="T44" fmla="*/ 5 w 161"/>
                <a:gd name="T45" fmla="*/ 162 h 194"/>
                <a:gd name="T46" fmla="*/ 5 w 161"/>
                <a:gd name="T47" fmla="*/ 189 h 194"/>
                <a:gd name="T48" fmla="*/ 5 w 161"/>
                <a:gd name="T49" fmla="*/ 194 h 194"/>
                <a:gd name="T50" fmla="*/ 5 w 161"/>
                <a:gd name="T51" fmla="*/ 187 h 194"/>
                <a:gd name="T52" fmla="*/ 5 w 161"/>
                <a:gd name="T53" fmla="*/ 179 h 19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61"/>
                <a:gd name="T82" fmla="*/ 0 h 194"/>
                <a:gd name="T83" fmla="*/ 161 w 161"/>
                <a:gd name="T84" fmla="*/ 194 h 19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61" h="194">
                  <a:moveTo>
                    <a:pt x="161" y="179"/>
                  </a:moveTo>
                  <a:lnTo>
                    <a:pt x="157" y="157"/>
                  </a:lnTo>
                  <a:lnTo>
                    <a:pt x="136" y="131"/>
                  </a:lnTo>
                  <a:lnTo>
                    <a:pt x="132" y="120"/>
                  </a:lnTo>
                  <a:lnTo>
                    <a:pt x="78" y="70"/>
                  </a:lnTo>
                  <a:lnTo>
                    <a:pt x="90" y="63"/>
                  </a:lnTo>
                  <a:lnTo>
                    <a:pt x="81" y="41"/>
                  </a:lnTo>
                  <a:lnTo>
                    <a:pt x="58" y="36"/>
                  </a:lnTo>
                  <a:lnTo>
                    <a:pt x="34" y="2"/>
                  </a:lnTo>
                  <a:lnTo>
                    <a:pt x="24" y="0"/>
                  </a:lnTo>
                  <a:lnTo>
                    <a:pt x="26" y="26"/>
                  </a:lnTo>
                  <a:lnTo>
                    <a:pt x="20" y="29"/>
                  </a:lnTo>
                  <a:lnTo>
                    <a:pt x="16" y="18"/>
                  </a:lnTo>
                  <a:lnTo>
                    <a:pt x="0" y="41"/>
                  </a:lnTo>
                  <a:lnTo>
                    <a:pt x="10" y="63"/>
                  </a:lnTo>
                  <a:lnTo>
                    <a:pt x="22" y="70"/>
                  </a:lnTo>
                  <a:lnTo>
                    <a:pt x="23" y="109"/>
                  </a:lnTo>
                  <a:lnTo>
                    <a:pt x="44" y="98"/>
                  </a:lnTo>
                  <a:lnTo>
                    <a:pt x="56" y="105"/>
                  </a:lnTo>
                  <a:lnTo>
                    <a:pt x="73" y="94"/>
                  </a:lnTo>
                  <a:lnTo>
                    <a:pt x="95" y="113"/>
                  </a:lnTo>
                  <a:lnTo>
                    <a:pt x="103" y="142"/>
                  </a:lnTo>
                  <a:lnTo>
                    <a:pt x="120" y="162"/>
                  </a:lnTo>
                  <a:lnTo>
                    <a:pt x="118" y="189"/>
                  </a:lnTo>
                  <a:lnTo>
                    <a:pt x="136" y="194"/>
                  </a:lnTo>
                  <a:lnTo>
                    <a:pt x="137" y="187"/>
                  </a:lnTo>
                  <a:lnTo>
                    <a:pt x="161" y="17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04" name="Freeform 161"/>
            <p:cNvSpPr>
              <a:spLocks noChangeAspect="1"/>
            </p:cNvSpPr>
            <p:nvPr/>
          </p:nvSpPr>
          <p:spPr bwMode="auto">
            <a:xfrm>
              <a:off x="6435589" y="2725945"/>
              <a:ext cx="129937" cy="185110"/>
            </a:xfrm>
            <a:custGeom>
              <a:avLst/>
              <a:gdLst>
                <a:gd name="T0" fmla="*/ 5 w 103"/>
                <a:gd name="T1" fmla="*/ 48 h 129"/>
                <a:gd name="T2" fmla="*/ 0 w 103"/>
                <a:gd name="T3" fmla="*/ 39 h 129"/>
                <a:gd name="T4" fmla="*/ 5 w 103"/>
                <a:gd name="T5" fmla="*/ 21 h 129"/>
                <a:gd name="T6" fmla="*/ 2 w 103"/>
                <a:gd name="T7" fmla="*/ 19 h 129"/>
                <a:gd name="T8" fmla="*/ 1 w 103"/>
                <a:gd name="T9" fmla="*/ 7 h 129"/>
                <a:gd name="T10" fmla="*/ 5 w 103"/>
                <a:gd name="T11" fmla="*/ 0 h 129"/>
                <a:gd name="T12" fmla="*/ 5 w 103"/>
                <a:gd name="T13" fmla="*/ 7 h 129"/>
                <a:gd name="T14" fmla="*/ 5 w 103"/>
                <a:gd name="T15" fmla="*/ 0 h 129"/>
                <a:gd name="T16" fmla="*/ 5 w 103"/>
                <a:gd name="T17" fmla="*/ 6 h 129"/>
                <a:gd name="T18" fmla="*/ 5 w 103"/>
                <a:gd name="T19" fmla="*/ 25 h 129"/>
                <a:gd name="T20" fmla="*/ 5 w 103"/>
                <a:gd name="T21" fmla="*/ 31 h 129"/>
                <a:gd name="T22" fmla="*/ 5 w 103"/>
                <a:gd name="T23" fmla="*/ 55 h 129"/>
                <a:gd name="T24" fmla="*/ 5 w 103"/>
                <a:gd name="T25" fmla="*/ 63 h 129"/>
                <a:gd name="T26" fmla="*/ 5 w 103"/>
                <a:gd name="T27" fmla="*/ 74 h 129"/>
                <a:gd name="T28" fmla="*/ 5 w 103"/>
                <a:gd name="T29" fmla="*/ 61 h 129"/>
                <a:gd name="T30" fmla="*/ 5 w 103"/>
                <a:gd name="T31" fmla="*/ 67 h 129"/>
                <a:gd name="T32" fmla="*/ 5 w 103"/>
                <a:gd name="T33" fmla="*/ 103 h 129"/>
                <a:gd name="T34" fmla="*/ 5 w 103"/>
                <a:gd name="T35" fmla="*/ 129 h 129"/>
                <a:gd name="T36" fmla="*/ 5 w 103"/>
                <a:gd name="T37" fmla="*/ 84 h 129"/>
                <a:gd name="T38" fmla="*/ 5 w 103"/>
                <a:gd name="T39" fmla="*/ 105 h 129"/>
                <a:gd name="T40" fmla="*/ 5 w 103"/>
                <a:gd name="T41" fmla="*/ 110 h 129"/>
                <a:gd name="T42" fmla="*/ 5 w 103"/>
                <a:gd name="T43" fmla="*/ 48 h 12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3"/>
                <a:gd name="T67" fmla="*/ 0 h 129"/>
                <a:gd name="T68" fmla="*/ 103 w 103"/>
                <a:gd name="T69" fmla="*/ 129 h 12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3" h="129">
                  <a:moveTo>
                    <a:pt x="13" y="48"/>
                  </a:moveTo>
                  <a:lnTo>
                    <a:pt x="0" y="39"/>
                  </a:lnTo>
                  <a:lnTo>
                    <a:pt x="9" y="21"/>
                  </a:lnTo>
                  <a:lnTo>
                    <a:pt x="2" y="19"/>
                  </a:lnTo>
                  <a:lnTo>
                    <a:pt x="1" y="7"/>
                  </a:lnTo>
                  <a:lnTo>
                    <a:pt x="7" y="0"/>
                  </a:lnTo>
                  <a:lnTo>
                    <a:pt x="12" y="7"/>
                  </a:lnTo>
                  <a:lnTo>
                    <a:pt x="14" y="0"/>
                  </a:lnTo>
                  <a:lnTo>
                    <a:pt x="28" y="6"/>
                  </a:lnTo>
                  <a:lnTo>
                    <a:pt x="40" y="25"/>
                  </a:lnTo>
                  <a:lnTo>
                    <a:pt x="85" y="31"/>
                  </a:lnTo>
                  <a:lnTo>
                    <a:pt x="65" y="55"/>
                  </a:lnTo>
                  <a:lnTo>
                    <a:pt x="67" y="63"/>
                  </a:lnTo>
                  <a:lnTo>
                    <a:pt x="80" y="74"/>
                  </a:lnTo>
                  <a:lnTo>
                    <a:pt x="85" y="61"/>
                  </a:lnTo>
                  <a:lnTo>
                    <a:pt x="91" y="67"/>
                  </a:lnTo>
                  <a:lnTo>
                    <a:pt x="103" y="103"/>
                  </a:lnTo>
                  <a:lnTo>
                    <a:pt x="99" y="129"/>
                  </a:lnTo>
                  <a:lnTo>
                    <a:pt x="76" y="84"/>
                  </a:lnTo>
                  <a:lnTo>
                    <a:pt x="56" y="105"/>
                  </a:lnTo>
                  <a:lnTo>
                    <a:pt x="30" y="110"/>
                  </a:lnTo>
                  <a:lnTo>
                    <a:pt x="13" y="48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05" name="Freeform 162"/>
            <p:cNvSpPr>
              <a:spLocks noChangeAspect="1"/>
            </p:cNvSpPr>
            <p:nvPr/>
          </p:nvSpPr>
          <p:spPr bwMode="auto">
            <a:xfrm>
              <a:off x="6448164" y="2664242"/>
              <a:ext cx="82433" cy="51659"/>
            </a:xfrm>
            <a:custGeom>
              <a:avLst/>
              <a:gdLst>
                <a:gd name="T0" fmla="*/ 4 w 67"/>
                <a:gd name="T1" fmla="*/ 11 h 36"/>
                <a:gd name="T2" fmla="*/ 4 w 67"/>
                <a:gd name="T3" fmla="*/ 0 h 36"/>
                <a:gd name="T4" fmla="*/ 3 w 67"/>
                <a:gd name="T5" fmla="*/ 22 h 36"/>
                <a:gd name="T6" fmla="*/ 0 w 67"/>
                <a:gd name="T7" fmla="*/ 27 h 36"/>
                <a:gd name="T8" fmla="*/ 4 w 67"/>
                <a:gd name="T9" fmla="*/ 36 h 36"/>
                <a:gd name="T10" fmla="*/ 4 w 67"/>
                <a:gd name="T11" fmla="*/ 33 h 36"/>
                <a:gd name="T12" fmla="*/ 4 w 67"/>
                <a:gd name="T13" fmla="*/ 25 h 36"/>
                <a:gd name="T14" fmla="*/ 4 w 67"/>
                <a:gd name="T15" fmla="*/ 11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7"/>
                <a:gd name="T25" fmla="*/ 0 h 36"/>
                <a:gd name="T26" fmla="*/ 67 w 67"/>
                <a:gd name="T27" fmla="*/ 36 h 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7" h="36">
                  <a:moveTo>
                    <a:pt x="56" y="11"/>
                  </a:moveTo>
                  <a:lnTo>
                    <a:pt x="20" y="0"/>
                  </a:lnTo>
                  <a:lnTo>
                    <a:pt x="3" y="22"/>
                  </a:lnTo>
                  <a:lnTo>
                    <a:pt x="0" y="27"/>
                  </a:lnTo>
                  <a:lnTo>
                    <a:pt x="11" y="36"/>
                  </a:lnTo>
                  <a:lnTo>
                    <a:pt x="60" y="33"/>
                  </a:lnTo>
                  <a:lnTo>
                    <a:pt x="67" y="25"/>
                  </a:lnTo>
                  <a:lnTo>
                    <a:pt x="56" y="11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06" name="Freeform 163"/>
            <p:cNvSpPr>
              <a:spLocks noChangeAspect="1"/>
            </p:cNvSpPr>
            <p:nvPr/>
          </p:nvSpPr>
          <p:spPr bwMode="auto">
            <a:xfrm>
              <a:off x="6224616" y="2599668"/>
              <a:ext cx="205384" cy="126277"/>
            </a:xfrm>
            <a:custGeom>
              <a:avLst/>
              <a:gdLst>
                <a:gd name="T0" fmla="*/ 4 w 164"/>
                <a:gd name="T1" fmla="*/ 72 h 88"/>
                <a:gd name="T2" fmla="*/ 4 w 164"/>
                <a:gd name="T3" fmla="*/ 54 h 88"/>
                <a:gd name="T4" fmla="*/ 4 w 164"/>
                <a:gd name="T5" fmla="*/ 54 h 88"/>
                <a:gd name="T6" fmla="*/ 4 w 164"/>
                <a:gd name="T7" fmla="*/ 22 h 88"/>
                <a:gd name="T8" fmla="*/ 4 w 164"/>
                <a:gd name="T9" fmla="*/ 26 h 88"/>
                <a:gd name="T10" fmla="*/ 4 w 164"/>
                <a:gd name="T11" fmla="*/ 3 h 88"/>
                <a:gd name="T12" fmla="*/ 4 w 164"/>
                <a:gd name="T13" fmla="*/ 0 h 88"/>
                <a:gd name="T14" fmla="*/ 0 w 164"/>
                <a:gd name="T15" fmla="*/ 33 h 88"/>
                <a:gd name="T16" fmla="*/ 4 w 164"/>
                <a:gd name="T17" fmla="*/ 66 h 88"/>
                <a:gd name="T18" fmla="*/ 4 w 164"/>
                <a:gd name="T19" fmla="*/ 67 h 88"/>
                <a:gd name="T20" fmla="*/ 4 w 164"/>
                <a:gd name="T21" fmla="*/ 81 h 88"/>
                <a:gd name="T22" fmla="*/ 4 w 164"/>
                <a:gd name="T23" fmla="*/ 88 h 88"/>
                <a:gd name="T24" fmla="*/ 4 w 164"/>
                <a:gd name="T25" fmla="*/ 88 h 88"/>
                <a:gd name="T26" fmla="*/ 4 w 164"/>
                <a:gd name="T27" fmla="*/ 72 h 8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4"/>
                <a:gd name="T43" fmla="*/ 0 h 88"/>
                <a:gd name="T44" fmla="*/ 164 w 164"/>
                <a:gd name="T45" fmla="*/ 88 h 8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4" h="88">
                  <a:moveTo>
                    <a:pt x="161" y="72"/>
                  </a:moveTo>
                  <a:lnTo>
                    <a:pt x="161" y="54"/>
                  </a:lnTo>
                  <a:lnTo>
                    <a:pt x="117" y="54"/>
                  </a:lnTo>
                  <a:lnTo>
                    <a:pt x="74" y="22"/>
                  </a:lnTo>
                  <a:lnTo>
                    <a:pt x="65" y="26"/>
                  </a:lnTo>
                  <a:lnTo>
                    <a:pt x="39" y="3"/>
                  </a:lnTo>
                  <a:lnTo>
                    <a:pt x="13" y="0"/>
                  </a:lnTo>
                  <a:lnTo>
                    <a:pt x="0" y="33"/>
                  </a:lnTo>
                  <a:lnTo>
                    <a:pt x="60" y="66"/>
                  </a:lnTo>
                  <a:lnTo>
                    <a:pt x="85" y="67"/>
                  </a:lnTo>
                  <a:lnTo>
                    <a:pt x="105" y="81"/>
                  </a:lnTo>
                  <a:lnTo>
                    <a:pt x="146" y="88"/>
                  </a:lnTo>
                  <a:lnTo>
                    <a:pt x="164" y="88"/>
                  </a:lnTo>
                  <a:lnTo>
                    <a:pt x="161" y="72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07" name="Freeform 164"/>
            <p:cNvSpPr>
              <a:spLocks noChangeAspect="1"/>
            </p:cNvSpPr>
            <p:nvPr/>
          </p:nvSpPr>
          <p:spPr bwMode="auto">
            <a:xfrm>
              <a:off x="5305278" y="2282542"/>
              <a:ext cx="512762" cy="482147"/>
            </a:xfrm>
            <a:custGeom>
              <a:avLst/>
              <a:gdLst>
                <a:gd name="T0" fmla="*/ 5 w 407"/>
                <a:gd name="T1" fmla="*/ 325 h 336"/>
                <a:gd name="T2" fmla="*/ 5 w 407"/>
                <a:gd name="T3" fmla="*/ 296 h 336"/>
                <a:gd name="T4" fmla="*/ 5 w 407"/>
                <a:gd name="T5" fmla="*/ 309 h 336"/>
                <a:gd name="T6" fmla="*/ 5 w 407"/>
                <a:gd name="T7" fmla="*/ 305 h 336"/>
                <a:gd name="T8" fmla="*/ 5 w 407"/>
                <a:gd name="T9" fmla="*/ 276 h 336"/>
                <a:gd name="T10" fmla="*/ 5 w 407"/>
                <a:gd name="T11" fmla="*/ 230 h 336"/>
                <a:gd name="T12" fmla="*/ 5 w 407"/>
                <a:gd name="T13" fmla="*/ 216 h 336"/>
                <a:gd name="T14" fmla="*/ 5 w 407"/>
                <a:gd name="T15" fmla="*/ 226 h 336"/>
                <a:gd name="T16" fmla="*/ 5 w 407"/>
                <a:gd name="T17" fmla="*/ 203 h 336"/>
                <a:gd name="T18" fmla="*/ 5 w 407"/>
                <a:gd name="T19" fmla="*/ 171 h 336"/>
                <a:gd name="T20" fmla="*/ 5 w 407"/>
                <a:gd name="T21" fmla="*/ 155 h 336"/>
                <a:gd name="T22" fmla="*/ 5 w 407"/>
                <a:gd name="T23" fmla="*/ 134 h 336"/>
                <a:gd name="T24" fmla="*/ 5 w 407"/>
                <a:gd name="T25" fmla="*/ 105 h 336"/>
                <a:gd name="T26" fmla="*/ 5 w 407"/>
                <a:gd name="T27" fmla="*/ 59 h 336"/>
                <a:gd name="T28" fmla="*/ 0 w 407"/>
                <a:gd name="T29" fmla="*/ 11 h 336"/>
                <a:gd name="T30" fmla="*/ 5 w 407"/>
                <a:gd name="T31" fmla="*/ 0 h 336"/>
                <a:gd name="T32" fmla="*/ 5 w 407"/>
                <a:gd name="T33" fmla="*/ 20 h 336"/>
                <a:gd name="T34" fmla="*/ 5 w 407"/>
                <a:gd name="T35" fmla="*/ 21 h 336"/>
                <a:gd name="T36" fmla="*/ 5 w 407"/>
                <a:gd name="T37" fmla="*/ 21 h 336"/>
                <a:gd name="T38" fmla="*/ 5 w 407"/>
                <a:gd name="T39" fmla="*/ 21 h 336"/>
                <a:gd name="T40" fmla="*/ 5 w 407"/>
                <a:gd name="T41" fmla="*/ 4 h 336"/>
                <a:gd name="T42" fmla="*/ 5 w 407"/>
                <a:gd name="T43" fmla="*/ 7 h 336"/>
                <a:gd name="T44" fmla="*/ 5 w 407"/>
                <a:gd name="T45" fmla="*/ 21 h 336"/>
                <a:gd name="T46" fmla="*/ 5 w 407"/>
                <a:gd name="T47" fmla="*/ 31 h 336"/>
                <a:gd name="T48" fmla="*/ 5 w 407"/>
                <a:gd name="T49" fmla="*/ 53 h 336"/>
                <a:gd name="T50" fmla="*/ 5 w 407"/>
                <a:gd name="T51" fmla="*/ 76 h 336"/>
                <a:gd name="T52" fmla="*/ 5 w 407"/>
                <a:gd name="T53" fmla="*/ 70 h 336"/>
                <a:gd name="T54" fmla="*/ 5 w 407"/>
                <a:gd name="T55" fmla="*/ 55 h 336"/>
                <a:gd name="T56" fmla="*/ 5 w 407"/>
                <a:gd name="T57" fmla="*/ 40 h 336"/>
                <a:gd name="T58" fmla="*/ 5 w 407"/>
                <a:gd name="T59" fmla="*/ 36 h 336"/>
                <a:gd name="T60" fmla="*/ 5 w 407"/>
                <a:gd name="T61" fmla="*/ 80 h 336"/>
                <a:gd name="T62" fmla="*/ 5 w 407"/>
                <a:gd name="T63" fmla="*/ 92 h 336"/>
                <a:gd name="T64" fmla="*/ 5 w 407"/>
                <a:gd name="T65" fmla="*/ 114 h 336"/>
                <a:gd name="T66" fmla="*/ 5 w 407"/>
                <a:gd name="T67" fmla="*/ 133 h 336"/>
                <a:gd name="T68" fmla="*/ 5 w 407"/>
                <a:gd name="T69" fmla="*/ 135 h 336"/>
                <a:gd name="T70" fmla="*/ 5 w 407"/>
                <a:gd name="T71" fmla="*/ 185 h 336"/>
                <a:gd name="T72" fmla="*/ 5 w 407"/>
                <a:gd name="T73" fmla="*/ 194 h 336"/>
                <a:gd name="T74" fmla="*/ 5 w 407"/>
                <a:gd name="T75" fmla="*/ 205 h 336"/>
                <a:gd name="T76" fmla="*/ 5 w 407"/>
                <a:gd name="T77" fmla="*/ 230 h 336"/>
                <a:gd name="T78" fmla="*/ 5 w 407"/>
                <a:gd name="T79" fmla="*/ 260 h 336"/>
                <a:gd name="T80" fmla="*/ 5 w 407"/>
                <a:gd name="T81" fmla="*/ 266 h 336"/>
                <a:gd name="T82" fmla="*/ 5 w 407"/>
                <a:gd name="T83" fmla="*/ 292 h 336"/>
                <a:gd name="T84" fmla="*/ 5 w 407"/>
                <a:gd name="T85" fmla="*/ 300 h 336"/>
                <a:gd name="T86" fmla="*/ 5 w 407"/>
                <a:gd name="T87" fmla="*/ 316 h 336"/>
                <a:gd name="T88" fmla="*/ 5 w 407"/>
                <a:gd name="T89" fmla="*/ 336 h 336"/>
                <a:gd name="T90" fmla="*/ 5 w 407"/>
                <a:gd name="T91" fmla="*/ 325 h 3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7"/>
                <a:gd name="T139" fmla="*/ 0 h 336"/>
                <a:gd name="T140" fmla="*/ 407 w 407"/>
                <a:gd name="T141" fmla="*/ 336 h 3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7" h="336">
                  <a:moveTo>
                    <a:pt x="293" y="325"/>
                  </a:moveTo>
                  <a:lnTo>
                    <a:pt x="279" y="296"/>
                  </a:lnTo>
                  <a:lnTo>
                    <a:pt x="240" y="309"/>
                  </a:lnTo>
                  <a:lnTo>
                    <a:pt x="221" y="305"/>
                  </a:lnTo>
                  <a:lnTo>
                    <a:pt x="173" y="276"/>
                  </a:lnTo>
                  <a:lnTo>
                    <a:pt x="146" y="230"/>
                  </a:lnTo>
                  <a:lnTo>
                    <a:pt x="117" y="216"/>
                  </a:lnTo>
                  <a:lnTo>
                    <a:pt x="112" y="226"/>
                  </a:lnTo>
                  <a:lnTo>
                    <a:pt x="90" y="203"/>
                  </a:lnTo>
                  <a:lnTo>
                    <a:pt x="80" y="171"/>
                  </a:lnTo>
                  <a:lnTo>
                    <a:pt x="54" y="155"/>
                  </a:lnTo>
                  <a:lnTo>
                    <a:pt x="39" y="134"/>
                  </a:lnTo>
                  <a:lnTo>
                    <a:pt x="51" y="105"/>
                  </a:lnTo>
                  <a:lnTo>
                    <a:pt x="20" y="59"/>
                  </a:lnTo>
                  <a:lnTo>
                    <a:pt x="0" y="11"/>
                  </a:lnTo>
                  <a:lnTo>
                    <a:pt x="8" y="0"/>
                  </a:lnTo>
                  <a:lnTo>
                    <a:pt x="26" y="20"/>
                  </a:lnTo>
                  <a:lnTo>
                    <a:pt x="38" y="21"/>
                  </a:lnTo>
                  <a:lnTo>
                    <a:pt x="45" y="21"/>
                  </a:lnTo>
                  <a:lnTo>
                    <a:pt x="50" y="21"/>
                  </a:lnTo>
                  <a:lnTo>
                    <a:pt x="70" y="4"/>
                  </a:lnTo>
                  <a:lnTo>
                    <a:pt x="76" y="7"/>
                  </a:lnTo>
                  <a:lnTo>
                    <a:pt x="76" y="21"/>
                  </a:lnTo>
                  <a:lnTo>
                    <a:pt x="91" y="31"/>
                  </a:lnTo>
                  <a:lnTo>
                    <a:pt x="97" y="53"/>
                  </a:lnTo>
                  <a:lnTo>
                    <a:pt x="150" y="76"/>
                  </a:lnTo>
                  <a:lnTo>
                    <a:pt x="193" y="70"/>
                  </a:lnTo>
                  <a:lnTo>
                    <a:pt x="192" y="55"/>
                  </a:lnTo>
                  <a:lnTo>
                    <a:pt x="218" y="40"/>
                  </a:lnTo>
                  <a:lnTo>
                    <a:pt x="249" y="36"/>
                  </a:lnTo>
                  <a:lnTo>
                    <a:pt x="336" y="80"/>
                  </a:lnTo>
                  <a:lnTo>
                    <a:pt x="339" y="92"/>
                  </a:lnTo>
                  <a:lnTo>
                    <a:pt x="339" y="114"/>
                  </a:lnTo>
                  <a:lnTo>
                    <a:pt x="330" y="133"/>
                  </a:lnTo>
                  <a:lnTo>
                    <a:pt x="330" y="135"/>
                  </a:lnTo>
                  <a:lnTo>
                    <a:pt x="343" y="185"/>
                  </a:lnTo>
                  <a:lnTo>
                    <a:pt x="360" y="194"/>
                  </a:lnTo>
                  <a:lnTo>
                    <a:pt x="364" y="205"/>
                  </a:lnTo>
                  <a:lnTo>
                    <a:pt x="353" y="230"/>
                  </a:lnTo>
                  <a:lnTo>
                    <a:pt x="375" y="260"/>
                  </a:lnTo>
                  <a:lnTo>
                    <a:pt x="391" y="266"/>
                  </a:lnTo>
                  <a:lnTo>
                    <a:pt x="407" y="292"/>
                  </a:lnTo>
                  <a:lnTo>
                    <a:pt x="404" y="300"/>
                  </a:lnTo>
                  <a:lnTo>
                    <a:pt x="381" y="316"/>
                  </a:lnTo>
                  <a:lnTo>
                    <a:pt x="379" y="336"/>
                  </a:lnTo>
                  <a:lnTo>
                    <a:pt x="293" y="32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08" name="Freeform 165"/>
            <p:cNvSpPr>
              <a:spLocks noChangeAspect="1"/>
            </p:cNvSpPr>
            <p:nvPr/>
          </p:nvSpPr>
          <p:spPr bwMode="auto">
            <a:xfrm>
              <a:off x="5750975" y="2377249"/>
              <a:ext cx="377236" cy="437663"/>
            </a:xfrm>
            <a:custGeom>
              <a:avLst/>
              <a:gdLst>
                <a:gd name="T0" fmla="*/ 4 w 300"/>
                <a:gd name="T1" fmla="*/ 293 h 305"/>
                <a:gd name="T2" fmla="*/ 4 w 300"/>
                <a:gd name="T3" fmla="*/ 291 h 305"/>
                <a:gd name="T4" fmla="*/ 4 w 300"/>
                <a:gd name="T5" fmla="*/ 278 h 305"/>
                <a:gd name="T6" fmla="*/ 4 w 300"/>
                <a:gd name="T7" fmla="*/ 260 h 305"/>
                <a:gd name="T8" fmla="*/ 4 w 300"/>
                <a:gd name="T9" fmla="*/ 254 h 305"/>
                <a:gd name="T10" fmla="*/ 4 w 300"/>
                <a:gd name="T11" fmla="*/ 241 h 305"/>
                <a:gd name="T12" fmla="*/ 4 w 300"/>
                <a:gd name="T13" fmla="*/ 238 h 305"/>
                <a:gd name="T14" fmla="*/ 4 w 300"/>
                <a:gd name="T15" fmla="*/ 224 h 305"/>
                <a:gd name="T16" fmla="*/ 4 w 300"/>
                <a:gd name="T17" fmla="*/ 208 h 305"/>
                <a:gd name="T18" fmla="*/ 4 w 300"/>
                <a:gd name="T19" fmla="*/ 214 h 305"/>
                <a:gd name="T20" fmla="*/ 4 w 300"/>
                <a:gd name="T21" fmla="*/ 208 h 305"/>
                <a:gd name="T22" fmla="*/ 4 w 300"/>
                <a:gd name="T23" fmla="*/ 135 h 305"/>
                <a:gd name="T24" fmla="*/ 4 w 300"/>
                <a:gd name="T25" fmla="*/ 117 h 305"/>
                <a:gd name="T26" fmla="*/ 4 w 300"/>
                <a:gd name="T27" fmla="*/ 113 h 305"/>
                <a:gd name="T28" fmla="*/ 4 w 300"/>
                <a:gd name="T29" fmla="*/ 107 h 305"/>
                <a:gd name="T30" fmla="*/ 4 w 300"/>
                <a:gd name="T31" fmla="*/ 90 h 305"/>
                <a:gd name="T32" fmla="*/ 4 w 300"/>
                <a:gd name="T33" fmla="*/ 67 h 305"/>
                <a:gd name="T34" fmla="*/ 4 w 300"/>
                <a:gd name="T35" fmla="*/ 56 h 305"/>
                <a:gd name="T36" fmla="*/ 4 w 300"/>
                <a:gd name="T37" fmla="*/ 50 h 305"/>
                <a:gd name="T38" fmla="*/ 4 w 300"/>
                <a:gd name="T39" fmla="*/ 56 h 305"/>
                <a:gd name="T40" fmla="*/ 4 w 300"/>
                <a:gd name="T41" fmla="*/ 49 h 305"/>
                <a:gd name="T42" fmla="*/ 4 w 300"/>
                <a:gd name="T43" fmla="*/ 36 h 305"/>
                <a:gd name="T44" fmla="*/ 4 w 300"/>
                <a:gd name="T45" fmla="*/ 25 h 305"/>
                <a:gd name="T46" fmla="*/ 4 w 300"/>
                <a:gd name="T47" fmla="*/ 5 h 305"/>
                <a:gd name="T48" fmla="*/ 4 w 300"/>
                <a:gd name="T49" fmla="*/ 0 h 305"/>
                <a:gd name="T50" fmla="*/ 4 w 300"/>
                <a:gd name="T51" fmla="*/ 3 h 305"/>
                <a:gd name="T52" fmla="*/ 4 w 300"/>
                <a:gd name="T53" fmla="*/ 3 h 305"/>
                <a:gd name="T54" fmla="*/ 4 w 300"/>
                <a:gd name="T55" fmla="*/ 17 h 305"/>
                <a:gd name="T56" fmla="*/ 4 w 300"/>
                <a:gd name="T57" fmla="*/ 45 h 305"/>
                <a:gd name="T58" fmla="*/ 4 w 300"/>
                <a:gd name="T59" fmla="*/ 68 h 305"/>
                <a:gd name="T60" fmla="*/ 4 w 300"/>
                <a:gd name="T61" fmla="*/ 68 h 305"/>
                <a:gd name="T62" fmla="*/ 4 w 300"/>
                <a:gd name="T63" fmla="*/ 80 h 305"/>
                <a:gd name="T64" fmla="*/ 4 w 300"/>
                <a:gd name="T65" fmla="*/ 93 h 305"/>
                <a:gd name="T66" fmla="*/ 4 w 300"/>
                <a:gd name="T67" fmla="*/ 119 h 305"/>
                <a:gd name="T68" fmla="*/ 4 w 300"/>
                <a:gd name="T69" fmla="*/ 130 h 305"/>
                <a:gd name="T70" fmla="*/ 4 w 300"/>
                <a:gd name="T71" fmla="*/ 139 h 305"/>
                <a:gd name="T72" fmla="*/ 4 w 300"/>
                <a:gd name="T73" fmla="*/ 164 h 305"/>
                <a:gd name="T74" fmla="*/ 4 w 300"/>
                <a:gd name="T75" fmla="*/ 174 h 305"/>
                <a:gd name="T76" fmla="*/ 0 w 300"/>
                <a:gd name="T77" fmla="*/ 164 h 305"/>
                <a:gd name="T78" fmla="*/ 4 w 300"/>
                <a:gd name="T79" fmla="*/ 194 h 305"/>
                <a:gd name="T80" fmla="*/ 4 w 300"/>
                <a:gd name="T81" fmla="*/ 200 h 305"/>
                <a:gd name="T82" fmla="*/ 4 w 300"/>
                <a:gd name="T83" fmla="*/ 226 h 305"/>
                <a:gd name="T84" fmla="*/ 4 w 300"/>
                <a:gd name="T85" fmla="*/ 234 h 305"/>
                <a:gd name="T86" fmla="*/ 4 w 300"/>
                <a:gd name="T87" fmla="*/ 250 h 305"/>
                <a:gd name="T88" fmla="*/ 4 w 300"/>
                <a:gd name="T89" fmla="*/ 270 h 305"/>
                <a:gd name="T90" fmla="*/ 4 w 300"/>
                <a:gd name="T91" fmla="*/ 266 h 305"/>
                <a:gd name="T92" fmla="*/ 4 w 300"/>
                <a:gd name="T93" fmla="*/ 272 h 305"/>
                <a:gd name="T94" fmla="*/ 4 w 300"/>
                <a:gd name="T95" fmla="*/ 267 h 305"/>
                <a:gd name="T96" fmla="*/ 4 w 300"/>
                <a:gd name="T97" fmla="*/ 300 h 305"/>
                <a:gd name="T98" fmla="*/ 4 w 300"/>
                <a:gd name="T99" fmla="*/ 305 h 305"/>
                <a:gd name="T100" fmla="*/ 4 w 300"/>
                <a:gd name="T101" fmla="*/ 293 h 30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305"/>
                <a:gd name="T155" fmla="*/ 300 w 300"/>
                <a:gd name="T156" fmla="*/ 305 h 30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305">
                  <a:moveTo>
                    <a:pt x="171" y="293"/>
                  </a:moveTo>
                  <a:lnTo>
                    <a:pt x="211" y="291"/>
                  </a:lnTo>
                  <a:lnTo>
                    <a:pt x="211" y="278"/>
                  </a:lnTo>
                  <a:lnTo>
                    <a:pt x="202" y="260"/>
                  </a:lnTo>
                  <a:lnTo>
                    <a:pt x="191" y="254"/>
                  </a:lnTo>
                  <a:lnTo>
                    <a:pt x="191" y="241"/>
                  </a:lnTo>
                  <a:lnTo>
                    <a:pt x="178" y="238"/>
                  </a:lnTo>
                  <a:lnTo>
                    <a:pt x="178" y="224"/>
                  </a:lnTo>
                  <a:lnTo>
                    <a:pt x="189" y="208"/>
                  </a:lnTo>
                  <a:lnTo>
                    <a:pt x="202" y="214"/>
                  </a:lnTo>
                  <a:lnTo>
                    <a:pt x="219" y="208"/>
                  </a:lnTo>
                  <a:lnTo>
                    <a:pt x="265" y="135"/>
                  </a:lnTo>
                  <a:lnTo>
                    <a:pt x="260" y="117"/>
                  </a:lnTo>
                  <a:lnTo>
                    <a:pt x="269" y="113"/>
                  </a:lnTo>
                  <a:lnTo>
                    <a:pt x="269" y="107"/>
                  </a:lnTo>
                  <a:lnTo>
                    <a:pt x="244" y="90"/>
                  </a:lnTo>
                  <a:lnTo>
                    <a:pt x="240" y="67"/>
                  </a:lnTo>
                  <a:lnTo>
                    <a:pt x="231" y="56"/>
                  </a:lnTo>
                  <a:lnTo>
                    <a:pt x="234" y="50"/>
                  </a:lnTo>
                  <a:lnTo>
                    <a:pt x="268" y="56"/>
                  </a:lnTo>
                  <a:lnTo>
                    <a:pt x="289" y="49"/>
                  </a:lnTo>
                  <a:lnTo>
                    <a:pt x="300" y="36"/>
                  </a:lnTo>
                  <a:lnTo>
                    <a:pt x="268" y="25"/>
                  </a:lnTo>
                  <a:lnTo>
                    <a:pt x="256" y="5"/>
                  </a:lnTo>
                  <a:lnTo>
                    <a:pt x="234" y="0"/>
                  </a:lnTo>
                  <a:lnTo>
                    <a:pt x="217" y="3"/>
                  </a:lnTo>
                  <a:lnTo>
                    <a:pt x="200" y="3"/>
                  </a:lnTo>
                  <a:lnTo>
                    <a:pt x="177" y="17"/>
                  </a:lnTo>
                  <a:lnTo>
                    <a:pt x="185" y="45"/>
                  </a:lnTo>
                  <a:lnTo>
                    <a:pt x="178" y="68"/>
                  </a:lnTo>
                  <a:lnTo>
                    <a:pt x="159" y="68"/>
                  </a:lnTo>
                  <a:lnTo>
                    <a:pt x="166" y="80"/>
                  </a:lnTo>
                  <a:lnTo>
                    <a:pt x="157" y="93"/>
                  </a:lnTo>
                  <a:lnTo>
                    <a:pt x="153" y="119"/>
                  </a:lnTo>
                  <a:lnTo>
                    <a:pt x="113" y="130"/>
                  </a:lnTo>
                  <a:lnTo>
                    <a:pt x="104" y="139"/>
                  </a:lnTo>
                  <a:lnTo>
                    <a:pt x="103" y="164"/>
                  </a:lnTo>
                  <a:lnTo>
                    <a:pt x="29" y="174"/>
                  </a:lnTo>
                  <a:lnTo>
                    <a:pt x="0" y="164"/>
                  </a:lnTo>
                  <a:lnTo>
                    <a:pt x="22" y="194"/>
                  </a:lnTo>
                  <a:lnTo>
                    <a:pt x="38" y="200"/>
                  </a:lnTo>
                  <a:lnTo>
                    <a:pt x="54" y="226"/>
                  </a:lnTo>
                  <a:lnTo>
                    <a:pt x="51" y="234"/>
                  </a:lnTo>
                  <a:lnTo>
                    <a:pt x="28" y="250"/>
                  </a:lnTo>
                  <a:lnTo>
                    <a:pt x="26" y="270"/>
                  </a:lnTo>
                  <a:lnTo>
                    <a:pt x="69" y="266"/>
                  </a:lnTo>
                  <a:lnTo>
                    <a:pt x="86" y="272"/>
                  </a:lnTo>
                  <a:lnTo>
                    <a:pt x="124" y="267"/>
                  </a:lnTo>
                  <a:lnTo>
                    <a:pt x="143" y="300"/>
                  </a:lnTo>
                  <a:lnTo>
                    <a:pt x="157" y="305"/>
                  </a:lnTo>
                  <a:lnTo>
                    <a:pt x="171" y="293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09" name="Freeform 166"/>
            <p:cNvSpPr>
              <a:spLocks noChangeAspect="1"/>
            </p:cNvSpPr>
            <p:nvPr/>
          </p:nvSpPr>
          <p:spPr bwMode="auto">
            <a:xfrm>
              <a:off x="5721635" y="2328460"/>
              <a:ext cx="326938" cy="298472"/>
            </a:xfrm>
            <a:custGeom>
              <a:avLst/>
              <a:gdLst>
                <a:gd name="T0" fmla="*/ 5 w 258"/>
                <a:gd name="T1" fmla="*/ 26 h 208"/>
                <a:gd name="T2" fmla="*/ 5 w 258"/>
                <a:gd name="T3" fmla="*/ 32 h 208"/>
                <a:gd name="T4" fmla="*/ 5 w 258"/>
                <a:gd name="T5" fmla="*/ 33 h 208"/>
                <a:gd name="T6" fmla="*/ 5 w 258"/>
                <a:gd name="T7" fmla="*/ 30 h 208"/>
                <a:gd name="T8" fmla="*/ 5 w 258"/>
                <a:gd name="T9" fmla="*/ 20 h 208"/>
                <a:gd name="T10" fmla="*/ 5 w 258"/>
                <a:gd name="T11" fmla="*/ 21 h 208"/>
                <a:gd name="T12" fmla="*/ 5 w 258"/>
                <a:gd name="T13" fmla="*/ 0 h 208"/>
                <a:gd name="T14" fmla="*/ 5 w 258"/>
                <a:gd name="T15" fmla="*/ 13 h 208"/>
                <a:gd name="T16" fmla="*/ 5 w 258"/>
                <a:gd name="T17" fmla="*/ 39 h 208"/>
                <a:gd name="T18" fmla="*/ 5 w 258"/>
                <a:gd name="T19" fmla="*/ 23 h 208"/>
                <a:gd name="T20" fmla="*/ 5 w 258"/>
                <a:gd name="T21" fmla="*/ 28 h 208"/>
                <a:gd name="T22" fmla="*/ 5 w 258"/>
                <a:gd name="T23" fmla="*/ 32 h 208"/>
                <a:gd name="T24" fmla="*/ 5 w 258"/>
                <a:gd name="T25" fmla="*/ 34 h 208"/>
                <a:gd name="T26" fmla="*/ 5 w 258"/>
                <a:gd name="T27" fmla="*/ 37 h 208"/>
                <a:gd name="T28" fmla="*/ 5 w 258"/>
                <a:gd name="T29" fmla="*/ 37 h 208"/>
                <a:gd name="T30" fmla="*/ 5 w 258"/>
                <a:gd name="T31" fmla="*/ 51 h 208"/>
                <a:gd name="T32" fmla="*/ 5 w 258"/>
                <a:gd name="T33" fmla="*/ 79 h 208"/>
                <a:gd name="T34" fmla="*/ 5 w 258"/>
                <a:gd name="T35" fmla="*/ 102 h 208"/>
                <a:gd name="T36" fmla="*/ 5 w 258"/>
                <a:gd name="T37" fmla="*/ 102 h 208"/>
                <a:gd name="T38" fmla="*/ 5 w 258"/>
                <a:gd name="T39" fmla="*/ 114 h 208"/>
                <a:gd name="T40" fmla="*/ 5 w 258"/>
                <a:gd name="T41" fmla="*/ 127 h 208"/>
                <a:gd name="T42" fmla="*/ 5 w 258"/>
                <a:gd name="T43" fmla="*/ 153 h 208"/>
                <a:gd name="T44" fmla="*/ 5 w 258"/>
                <a:gd name="T45" fmla="*/ 164 h 208"/>
                <a:gd name="T46" fmla="*/ 5 w 258"/>
                <a:gd name="T47" fmla="*/ 173 h 208"/>
                <a:gd name="T48" fmla="*/ 5 w 258"/>
                <a:gd name="T49" fmla="*/ 198 h 208"/>
                <a:gd name="T50" fmla="*/ 5 w 258"/>
                <a:gd name="T51" fmla="*/ 208 h 208"/>
                <a:gd name="T52" fmla="*/ 5 w 258"/>
                <a:gd name="T53" fmla="*/ 198 h 208"/>
                <a:gd name="T54" fmla="*/ 5 w 258"/>
                <a:gd name="T55" fmla="*/ 173 h 208"/>
                <a:gd name="T56" fmla="*/ 5 w 258"/>
                <a:gd name="T57" fmla="*/ 162 h 208"/>
                <a:gd name="T58" fmla="*/ 5 w 258"/>
                <a:gd name="T59" fmla="*/ 153 h 208"/>
                <a:gd name="T60" fmla="*/ 0 w 258"/>
                <a:gd name="T61" fmla="*/ 103 h 208"/>
                <a:gd name="T62" fmla="*/ 0 w 258"/>
                <a:gd name="T63" fmla="*/ 101 h 208"/>
                <a:gd name="T64" fmla="*/ 5 w 258"/>
                <a:gd name="T65" fmla="*/ 82 h 208"/>
                <a:gd name="T66" fmla="*/ 5 w 258"/>
                <a:gd name="T67" fmla="*/ 60 h 208"/>
                <a:gd name="T68" fmla="*/ 5 w 258"/>
                <a:gd name="T69" fmla="*/ 68 h 208"/>
                <a:gd name="T70" fmla="*/ 5 w 258"/>
                <a:gd name="T71" fmla="*/ 60 h 208"/>
                <a:gd name="T72" fmla="*/ 5 w 258"/>
                <a:gd name="T73" fmla="*/ 50 h 208"/>
                <a:gd name="T74" fmla="*/ 5 w 258"/>
                <a:gd name="T75" fmla="*/ 28 h 208"/>
                <a:gd name="T76" fmla="*/ 5 w 258"/>
                <a:gd name="T77" fmla="*/ 27 h 208"/>
                <a:gd name="T78" fmla="*/ 5 w 258"/>
                <a:gd name="T79" fmla="*/ 21 h 208"/>
                <a:gd name="T80" fmla="*/ 5 w 258"/>
                <a:gd name="T81" fmla="*/ 26 h 20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58"/>
                <a:gd name="T124" fmla="*/ 0 h 208"/>
                <a:gd name="T125" fmla="*/ 258 w 258"/>
                <a:gd name="T126" fmla="*/ 208 h 20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58" h="208">
                  <a:moveTo>
                    <a:pt x="100" y="26"/>
                  </a:moveTo>
                  <a:lnTo>
                    <a:pt x="123" y="32"/>
                  </a:lnTo>
                  <a:lnTo>
                    <a:pt x="131" y="33"/>
                  </a:lnTo>
                  <a:lnTo>
                    <a:pt x="152" y="30"/>
                  </a:lnTo>
                  <a:lnTo>
                    <a:pt x="157" y="20"/>
                  </a:lnTo>
                  <a:lnTo>
                    <a:pt x="169" y="21"/>
                  </a:lnTo>
                  <a:lnTo>
                    <a:pt x="177" y="0"/>
                  </a:lnTo>
                  <a:lnTo>
                    <a:pt x="193" y="13"/>
                  </a:lnTo>
                  <a:lnTo>
                    <a:pt x="200" y="39"/>
                  </a:lnTo>
                  <a:lnTo>
                    <a:pt x="231" y="23"/>
                  </a:lnTo>
                  <a:lnTo>
                    <a:pt x="258" y="28"/>
                  </a:lnTo>
                  <a:lnTo>
                    <a:pt x="255" y="32"/>
                  </a:lnTo>
                  <a:lnTo>
                    <a:pt x="257" y="34"/>
                  </a:lnTo>
                  <a:lnTo>
                    <a:pt x="240" y="37"/>
                  </a:lnTo>
                  <a:lnTo>
                    <a:pt x="223" y="37"/>
                  </a:lnTo>
                  <a:lnTo>
                    <a:pt x="200" y="51"/>
                  </a:lnTo>
                  <a:lnTo>
                    <a:pt x="208" y="79"/>
                  </a:lnTo>
                  <a:lnTo>
                    <a:pt x="201" y="102"/>
                  </a:lnTo>
                  <a:lnTo>
                    <a:pt x="182" y="102"/>
                  </a:lnTo>
                  <a:lnTo>
                    <a:pt x="189" y="114"/>
                  </a:lnTo>
                  <a:lnTo>
                    <a:pt x="180" y="127"/>
                  </a:lnTo>
                  <a:lnTo>
                    <a:pt x="176" y="153"/>
                  </a:lnTo>
                  <a:lnTo>
                    <a:pt x="136" y="164"/>
                  </a:lnTo>
                  <a:lnTo>
                    <a:pt x="127" y="173"/>
                  </a:lnTo>
                  <a:lnTo>
                    <a:pt x="126" y="198"/>
                  </a:lnTo>
                  <a:lnTo>
                    <a:pt x="52" y="208"/>
                  </a:lnTo>
                  <a:lnTo>
                    <a:pt x="23" y="198"/>
                  </a:lnTo>
                  <a:lnTo>
                    <a:pt x="34" y="173"/>
                  </a:lnTo>
                  <a:lnTo>
                    <a:pt x="30" y="162"/>
                  </a:lnTo>
                  <a:lnTo>
                    <a:pt x="13" y="153"/>
                  </a:lnTo>
                  <a:lnTo>
                    <a:pt x="0" y="103"/>
                  </a:lnTo>
                  <a:lnTo>
                    <a:pt x="0" y="101"/>
                  </a:lnTo>
                  <a:lnTo>
                    <a:pt x="9" y="82"/>
                  </a:lnTo>
                  <a:lnTo>
                    <a:pt x="9" y="60"/>
                  </a:lnTo>
                  <a:lnTo>
                    <a:pt x="38" y="68"/>
                  </a:lnTo>
                  <a:lnTo>
                    <a:pt x="47" y="60"/>
                  </a:lnTo>
                  <a:lnTo>
                    <a:pt x="68" y="50"/>
                  </a:lnTo>
                  <a:lnTo>
                    <a:pt x="72" y="28"/>
                  </a:lnTo>
                  <a:lnTo>
                    <a:pt x="83" y="27"/>
                  </a:lnTo>
                  <a:lnTo>
                    <a:pt x="84" y="21"/>
                  </a:lnTo>
                  <a:lnTo>
                    <a:pt x="100" y="2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10" name="Freeform 16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190061" y="2186399"/>
              <a:ext cx="121554" cy="166456"/>
            </a:xfrm>
            <a:custGeom>
              <a:avLst/>
              <a:gdLst>
                <a:gd name="T0" fmla="*/ 5 w 96"/>
                <a:gd name="T1" fmla="*/ 0 h 116"/>
                <a:gd name="T2" fmla="*/ 5 w 96"/>
                <a:gd name="T3" fmla="*/ 19 h 116"/>
                <a:gd name="T4" fmla="*/ 5 w 96"/>
                <a:gd name="T5" fmla="*/ 21 h 116"/>
                <a:gd name="T6" fmla="*/ 5 w 96"/>
                <a:gd name="T7" fmla="*/ 34 h 116"/>
                <a:gd name="T8" fmla="*/ 5 w 96"/>
                <a:gd name="T9" fmla="*/ 29 h 116"/>
                <a:gd name="T10" fmla="*/ 0 w 96"/>
                <a:gd name="T11" fmla="*/ 73 h 116"/>
                <a:gd name="T12" fmla="*/ 5 w 96"/>
                <a:gd name="T13" fmla="*/ 78 h 116"/>
                <a:gd name="T14" fmla="*/ 5 w 96"/>
                <a:gd name="T15" fmla="*/ 108 h 116"/>
                <a:gd name="T16" fmla="*/ 5 w 96"/>
                <a:gd name="T17" fmla="*/ 116 h 116"/>
                <a:gd name="T18" fmla="*/ 5 w 96"/>
                <a:gd name="T19" fmla="*/ 105 h 116"/>
                <a:gd name="T20" fmla="*/ 5 w 96"/>
                <a:gd name="T21" fmla="*/ 99 h 116"/>
                <a:gd name="T22" fmla="*/ 5 w 96"/>
                <a:gd name="T23" fmla="*/ 81 h 116"/>
                <a:gd name="T24" fmla="*/ 5 w 96"/>
                <a:gd name="T25" fmla="*/ 68 h 116"/>
                <a:gd name="T26" fmla="*/ 5 w 96"/>
                <a:gd name="T27" fmla="*/ 46 h 116"/>
                <a:gd name="T28" fmla="*/ 5 w 96"/>
                <a:gd name="T29" fmla="*/ 29 h 116"/>
                <a:gd name="T30" fmla="*/ 5 w 96"/>
                <a:gd name="T31" fmla="*/ 6 h 116"/>
                <a:gd name="T32" fmla="*/ 5 w 96"/>
                <a:gd name="T33" fmla="*/ 0 h 1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6"/>
                <a:gd name="T52" fmla="*/ 0 h 116"/>
                <a:gd name="T53" fmla="*/ 96 w 96"/>
                <a:gd name="T54" fmla="*/ 116 h 11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6" h="116">
                  <a:moveTo>
                    <a:pt x="73" y="0"/>
                  </a:moveTo>
                  <a:lnTo>
                    <a:pt x="67" y="19"/>
                  </a:lnTo>
                  <a:lnTo>
                    <a:pt x="52" y="21"/>
                  </a:lnTo>
                  <a:lnTo>
                    <a:pt x="53" y="34"/>
                  </a:lnTo>
                  <a:lnTo>
                    <a:pt x="32" y="29"/>
                  </a:lnTo>
                  <a:lnTo>
                    <a:pt x="0" y="73"/>
                  </a:lnTo>
                  <a:lnTo>
                    <a:pt x="28" y="78"/>
                  </a:lnTo>
                  <a:lnTo>
                    <a:pt x="29" y="108"/>
                  </a:lnTo>
                  <a:lnTo>
                    <a:pt x="67" y="116"/>
                  </a:lnTo>
                  <a:lnTo>
                    <a:pt x="75" y="105"/>
                  </a:lnTo>
                  <a:lnTo>
                    <a:pt x="96" y="99"/>
                  </a:lnTo>
                  <a:lnTo>
                    <a:pt x="65" y="81"/>
                  </a:lnTo>
                  <a:lnTo>
                    <a:pt x="59" y="68"/>
                  </a:lnTo>
                  <a:lnTo>
                    <a:pt x="92" y="46"/>
                  </a:lnTo>
                  <a:lnTo>
                    <a:pt x="81" y="29"/>
                  </a:lnTo>
                  <a:lnTo>
                    <a:pt x="93" y="6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11" name="Freeform 168"/>
            <p:cNvSpPr>
              <a:spLocks noChangeAspect="1"/>
            </p:cNvSpPr>
            <p:nvPr/>
          </p:nvSpPr>
          <p:spPr bwMode="auto">
            <a:xfrm>
              <a:off x="6238588" y="1885057"/>
              <a:ext cx="739103" cy="341521"/>
            </a:xfrm>
            <a:custGeom>
              <a:avLst/>
              <a:gdLst>
                <a:gd name="T0" fmla="*/ 5 w 587"/>
                <a:gd name="T1" fmla="*/ 63 h 238"/>
                <a:gd name="T2" fmla="*/ 5 w 587"/>
                <a:gd name="T3" fmla="*/ 100 h 238"/>
                <a:gd name="T4" fmla="*/ 5 w 587"/>
                <a:gd name="T5" fmla="*/ 102 h 238"/>
                <a:gd name="T6" fmla="*/ 5 w 587"/>
                <a:gd name="T7" fmla="*/ 95 h 238"/>
                <a:gd name="T8" fmla="*/ 5 w 587"/>
                <a:gd name="T9" fmla="*/ 105 h 238"/>
                <a:gd name="T10" fmla="*/ 5 w 587"/>
                <a:gd name="T11" fmla="*/ 123 h 238"/>
                <a:gd name="T12" fmla="*/ 5 w 587"/>
                <a:gd name="T13" fmla="*/ 124 h 238"/>
                <a:gd name="T14" fmla="*/ 5 w 587"/>
                <a:gd name="T15" fmla="*/ 143 h 238"/>
                <a:gd name="T16" fmla="*/ 5 w 587"/>
                <a:gd name="T17" fmla="*/ 149 h 238"/>
                <a:gd name="T18" fmla="*/ 5 w 587"/>
                <a:gd name="T19" fmla="*/ 165 h 238"/>
                <a:gd name="T20" fmla="*/ 5 w 587"/>
                <a:gd name="T21" fmla="*/ 158 h 238"/>
                <a:gd name="T22" fmla="*/ 5 w 587"/>
                <a:gd name="T23" fmla="*/ 172 h 238"/>
                <a:gd name="T24" fmla="*/ 5 w 587"/>
                <a:gd name="T25" fmla="*/ 189 h 238"/>
                <a:gd name="T26" fmla="*/ 5 w 587"/>
                <a:gd name="T27" fmla="*/ 215 h 238"/>
                <a:gd name="T28" fmla="*/ 5 w 587"/>
                <a:gd name="T29" fmla="*/ 217 h 238"/>
                <a:gd name="T30" fmla="*/ 5 w 587"/>
                <a:gd name="T31" fmla="*/ 220 h 238"/>
                <a:gd name="T32" fmla="*/ 5 w 587"/>
                <a:gd name="T33" fmla="*/ 238 h 238"/>
                <a:gd name="T34" fmla="*/ 5 w 587"/>
                <a:gd name="T35" fmla="*/ 210 h 238"/>
                <a:gd name="T36" fmla="*/ 5 w 587"/>
                <a:gd name="T37" fmla="*/ 211 h 238"/>
                <a:gd name="T38" fmla="*/ 5 w 587"/>
                <a:gd name="T39" fmla="*/ 175 h 238"/>
                <a:gd name="T40" fmla="*/ 5 w 587"/>
                <a:gd name="T41" fmla="*/ 152 h 238"/>
                <a:gd name="T42" fmla="*/ 5 w 587"/>
                <a:gd name="T43" fmla="*/ 119 h 238"/>
                <a:gd name="T44" fmla="*/ 5 w 587"/>
                <a:gd name="T45" fmla="*/ 97 h 238"/>
                <a:gd name="T46" fmla="*/ 5 w 587"/>
                <a:gd name="T47" fmla="*/ 94 h 238"/>
                <a:gd name="T48" fmla="*/ 0 w 587"/>
                <a:gd name="T49" fmla="*/ 71 h 238"/>
                <a:gd name="T50" fmla="*/ 5 w 587"/>
                <a:gd name="T51" fmla="*/ 60 h 238"/>
                <a:gd name="T52" fmla="*/ 5 w 587"/>
                <a:gd name="T53" fmla="*/ 34 h 238"/>
                <a:gd name="T54" fmla="*/ 5 w 587"/>
                <a:gd name="T55" fmla="*/ 38 h 238"/>
                <a:gd name="T56" fmla="*/ 5 w 587"/>
                <a:gd name="T57" fmla="*/ 49 h 238"/>
                <a:gd name="T58" fmla="*/ 5 w 587"/>
                <a:gd name="T59" fmla="*/ 48 h 238"/>
                <a:gd name="T60" fmla="*/ 5 w 587"/>
                <a:gd name="T61" fmla="*/ 33 h 238"/>
                <a:gd name="T62" fmla="*/ 5 w 587"/>
                <a:gd name="T63" fmla="*/ 16 h 238"/>
                <a:gd name="T64" fmla="*/ 5 w 587"/>
                <a:gd name="T65" fmla="*/ 0 h 238"/>
                <a:gd name="T66" fmla="*/ 5 w 587"/>
                <a:gd name="T67" fmla="*/ 15 h 238"/>
                <a:gd name="T68" fmla="*/ 5 w 587"/>
                <a:gd name="T69" fmla="*/ 39 h 238"/>
                <a:gd name="T70" fmla="*/ 5 w 587"/>
                <a:gd name="T71" fmla="*/ 35 h 238"/>
                <a:gd name="T72" fmla="*/ 5 w 587"/>
                <a:gd name="T73" fmla="*/ 65 h 238"/>
                <a:gd name="T74" fmla="*/ 5 w 587"/>
                <a:gd name="T75" fmla="*/ 57 h 238"/>
                <a:gd name="T76" fmla="*/ 5 w 587"/>
                <a:gd name="T77" fmla="*/ 43 h 238"/>
                <a:gd name="T78" fmla="*/ 5 w 587"/>
                <a:gd name="T79" fmla="*/ 49 h 238"/>
                <a:gd name="T80" fmla="*/ 5 w 587"/>
                <a:gd name="T81" fmla="*/ 63 h 2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87"/>
                <a:gd name="T124" fmla="*/ 0 h 238"/>
                <a:gd name="T125" fmla="*/ 587 w 587"/>
                <a:gd name="T126" fmla="*/ 238 h 2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87" h="238">
                  <a:moveTo>
                    <a:pt x="490" y="63"/>
                  </a:moveTo>
                  <a:lnTo>
                    <a:pt x="511" y="100"/>
                  </a:lnTo>
                  <a:lnTo>
                    <a:pt x="534" y="102"/>
                  </a:lnTo>
                  <a:lnTo>
                    <a:pt x="555" y="95"/>
                  </a:lnTo>
                  <a:lnTo>
                    <a:pt x="575" y="105"/>
                  </a:lnTo>
                  <a:lnTo>
                    <a:pt x="587" y="123"/>
                  </a:lnTo>
                  <a:lnTo>
                    <a:pt x="544" y="124"/>
                  </a:lnTo>
                  <a:lnTo>
                    <a:pt x="533" y="143"/>
                  </a:lnTo>
                  <a:lnTo>
                    <a:pt x="518" y="149"/>
                  </a:lnTo>
                  <a:lnTo>
                    <a:pt x="506" y="165"/>
                  </a:lnTo>
                  <a:lnTo>
                    <a:pt x="481" y="158"/>
                  </a:lnTo>
                  <a:lnTo>
                    <a:pt x="472" y="172"/>
                  </a:lnTo>
                  <a:lnTo>
                    <a:pt x="488" y="189"/>
                  </a:lnTo>
                  <a:lnTo>
                    <a:pt x="466" y="215"/>
                  </a:lnTo>
                  <a:lnTo>
                    <a:pt x="461" y="217"/>
                  </a:lnTo>
                  <a:lnTo>
                    <a:pt x="422" y="220"/>
                  </a:lnTo>
                  <a:lnTo>
                    <a:pt x="381" y="238"/>
                  </a:lnTo>
                  <a:lnTo>
                    <a:pt x="291" y="210"/>
                  </a:lnTo>
                  <a:lnTo>
                    <a:pt x="219" y="211"/>
                  </a:lnTo>
                  <a:lnTo>
                    <a:pt x="173" y="175"/>
                  </a:lnTo>
                  <a:lnTo>
                    <a:pt x="84" y="152"/>
                  </a:lnTo>
                  <a:lnTo>
                    <a:pt x="72" y="119"/>
                  </a:lnTo>
                  <a:lnTo>
                    <a:pt x="52" y="97"/>
                  </a:lnTo>
                  <a:lnTo>
                    <a:pt x="28" y="94"/>
                  </a:lnTo>
                  <a:lnTo>
                    <a:pt x="0" y="71"/>
                  </a:lnTo>
                  <a:lnTo>
                    <a:pt x="5" y="60"/>
                  </a:lnTo>
                  <a:lnTo>
                    <a:pt x="56" y="34"/>
                  </a:lnTo>
                  <a:lnTo>
                    <a:pt x="100" y="38"/>
                  </a:lnTo>
                  <a:lnTo>
                    <a:pt x="122" y="49"/>
                  </a:lnTo>
                  <a:lnTo>
                    <a:pt x="166" y="48"/>
                  </a:lnTo>
                  <a:lnTo>
                    <a:pt x="165" y="33"/>
                  </a:lnTo>
                  <a:lnTo>
                    <a:pt x="153" y="16"/>
                  </a:lnTo>
                  <a:lnTo>
                    <a:pt x="168" y="0"/>
                  </a:lnTo>
                  <a:lnTo>
                    <a:pt x="222" y="15"/>
                  </a:lnTo>
                  <a:lnTo>
                    <a:pt x="254" y="39"/>
                  </a:lnTo>
                  <a:lnTo>
                    <a:pt x="297" y="35"/>
                  </a:lnTo>
                  <a:lnTo>
                    <a:pt x="390" y="65"/>
                  </a:lnTo>
                  <a:lnTo>
                    <a:pt x="439" y="57"/>
                  </a:lnTo>
                  <a:lnTo>
                    <a:pt x="461" y="43"/>
                  </a:lnTo>
                  <a:lnTo>
                    <a:pt x="495" y="49"/>
                  </a:lnTo>
                  <a:lnTo>
                    <a:pt x="490" y="63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12" name="Freeform 169"/>
            <p:cNvSpPr>
              <a:spLocks noChangeAspect="1"/>
            </p:cNvSpPr>
            <p:nvPr/>
          </p:nvSpPr>
          <p:spPr bwMode="auto">
            <a:xfrm>
              <a:off x="5118057" y="2371509"/>
              <a:ext cx="156483" cy="159281"/>
            </a:xfrm>
            <a:custGeom>
              <a:avLst/>
              <a:gdLst>
                <a:gd name="T0" fmla="*/ 4 w 125"/>
                <a:gd name="T1" fmla="*/ 0 h 111"/>
                <a:gd name="T2" fmla="*/ 4 w 125"/>
                <a:gd name="T3" fmla="*/ 1 h 111"/>
                <a:gd name="T4" fmla="*/ 4 w 125"/>
                <a:gd name="T5" fmla="*/ 10 h 111"/>
                <a:gd name="T6" fmla="*/ 4 w 125"/>
                <a:gd name="T7" fmla="*/ 4 h 111"/>
                <a:gd name="T8" fmla="*/ 4 w 125"/>
                <a:gd name="T9" fmla="*/ 8 h 111"/>
                <a:gd name="T10" fmla="*/ 4 w 125"/>
                <a:gd name="T11" fmla="*/ 20 h 111"/>
                <a:gd name="T12" fmla="*/ 4 w 125"/>
                <a:gd name="T13" fmla="*/ 27 h 111"/>
                <a:gd name="T14" fmla="*/ 4 w 125"/>
                <a:gd name="T15" fmla="*/ 63 h 111"/>
                <a:gd name="T16" fmla="*/ 4 w 125"/>
                <a:gd name="T17" fmla="*/ 66 h 111"/>
                <a:gd name="T18" fmla="*/ 1 w 125"/>
                <a:gd name="T19" fmla="*/ 90 h 111"/>
                <a:gd name="T20" fmla="*/ 0 w 125"/>
                <a:gd name="T21" fmla="*/ 103 h 111"/>
                <a:gd name="T22" fmla="*/ 4 w 125"/>
                <a:gd name="T23" fmla="*/ 111 h 111"/>
                <a:gd name="T24" fmla="*/ 4 w 125"/>
                <a:gd name="T25" fmla="*/ 87 h 111"/>
                <a:gd name="T26" fmla="*/ 4 w 125"/>
                <a:gd name="T27" fmla="*/ 61 h 111"/>
                <a:gd name="T28" fmla="*/ 4 w 125"/>
                <a:gd name="T29" fmla="*/ 16 h 111"/>
                <a:gd name="T30" fmla="*/ 4 w 125"/>
                <a:gd name="T31" fmla="*/ 0 h 1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5"/>
                <a:gd name="T49" fmla="*/ 0 h 111"/>
                <a:gd name="T50" fmla="*/ 125 w 125"/>
                <a:gd name="T51" fmla="*/ 111 h 1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5" h="111">
                  <a:moveTo>
                    <a:pt x="125" y="0"/>
                  </a:moveTo>
                  <a:lnTo>
                    <a:pt x="94" y="1"/>
                  </a:lnTo>
                  <a:lnTo>
                    <a:pt x="65" y="10"/>
                  </a:lnTo>
                  <a:lnTo>
                    <a:pt x="48" y="4"/>
                  </a:lnTo>
                  <a:lnTo>
                    <a:pt x="15" y="8"/>
                  </a:lnTo>
                  <a:lnTo>
                    <a:pt x="17" y="20"/>
                  </a:lnTo>
                  <a:lnTo>
                    <a:pt x="4" y="27"/>
                  </a:lnTo>
                  <a:lnTo>
                    <a:pt x="5" y="63"/>
                  </a:lnTo>
                  <a:lnTo>
                    <a:pt x="20" y="66"/>
                  </a:lnTo>
                  <a:lnTo>
                    <a:pt x="1" y="90"/>
                  </a:lnTo>
                  <a:lnTo>
                    <a:pt x="0" y="103"/>
                  </a:lnTo>
                  <a:lnTo>
                    <a:pt x="18" y="111"/>
                  </a:lnTo>
                  <a:lnTo>
                    <a:pt x="60" y="87"/>
                  </a:lnTo>
                  <a:lnTo>
                    <a:pt x="105" y="61"/>
                  </a:lnTo>
                  <a:lnTo>
                    <a:pt x="106" y="16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13" name="Freeform 170"/>
            <p:cNvSpPr>
              <a:spLocks noChangeAspect="1"/>
            </p:cNvSpPr>
            <p:nvPr/>
          </p:nvSpPr>
          <p:spPr bwMode="auto">
            <a:xfrm>
              <a:off x="5106879" y="2496351"/>
              <a:ext cx="100596" cy="134886"/>
            </a:xfrm>
            <a:custGeom>
              <a:avLst/>
              <a:gdLst>
                <a:gd name="T0" fmla="*/ 4 w 81"/>
                <a:gd name="T1" fmla="*/ 16 h 94"/>
                <a:gd name="T2" fmla="*/ 4 w 81"/>
                <a:gd name="T3" fmla="*/ 24 h 94"/>
                <a:gd name="T4" fmla="*/ 4 w 81"/>
                <a:gd name="T5" fmla="*/ 0 h 94"/>
                <a:gd name="T6" fmla="*/ 4 w 81"/>
                <a:gd name="T7" fmla="*/ 27 h 94"/>
                <a:gd name="T8" fmla="*/ 4 w 81"/>
                <a:gd name="T9" fmla="*/ 44 h 94"/>
                <a:gd name="T10" fmla="*/ 4 w 81"/>
                <a:gd name="T11" fmla="*/ 64 h 94"/>
                <a:gd name="T12" fmla="*/ 4 w 81"/>
                <a:gd name="T13" fmla="*/ 79 h 94"/>
                <a:gd name="T14" fmla="*/ 4 w 81"/>
                <a:gd name="T15" fmla="*/ 80 h 94"/>
                <a:gd name="T16" fmla="*/ 4 w 81"/>
                <a:gd name="T17" fmla="*/ 94 h 94"/>
                <a:gd name="T18" fmla="*/ 3 w 81"/>
                <a:gd name="T19" fmla="*/ 92 h 94"/>
                <a:gd name="T20" fmla="*/ 4 w 81"/>
                <a:gd name="T21" fmla="*/ 51 h 94"/>
                <a:gd name="T22" fmla="*/ 0 w 81"/>
                <a:gd name="T23" fmla="*/ 31 h 94"/>
                <a:gd name="T24" fmla="*/ 4 w 81"/>
                <a:gd name="T25" fmla="*/ 16 h 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1"/>
                <a:gd name="T40" fmla="*/ 0 h 94"/>
                <a:gd name="T41" fmla="*/ 81 w 81"/>
                <a:gd name="T42" fmla="*/ 94 h 9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1" h="94">
                  <a:moveTo>
                    <a:pt x="9" y="16"/>
                  </a:moveTo>
                  <a:lnTo>
                    <a:pt x="27" y="24"/>
                  </a:lnTo>
                  <a:lnTo>
                    <a:pt x="69" y="0"/>
                  </a:lnTo>
                  <a:lnTo>
                    <a:pt x="81" y="27"/>
                  </a:lnTo>
                  <a:lnTo>
                    <a:pt x="41" y="44"/>
                  </a:lnTo>
                  <a:lnTo>
                    <a:pt x="60" y="64"/>
                  </a:lnTo>
                  <a:lnTo>
                    <a:pt x="49" y="79"/>
                  </a:lnTo>
                  <a:lnTo>
                    <a:pt x="37" y="80"/>
                  </a:lnTo>
                  <a:lnTo>
                    <a:pt x="26" y="94"/>
                  </a:lnTo>
                  <a:lnTo>
                    <a:pt x="3" y="92"/>
                  </a:lnTo>
                  <a:lnTo>
                    <a:pt x="9" y="51"/>
                  </a:lnTo>
                  <a:lnTo>
                    <a:pt x="0" y="31"/>
                  </a:lnTo>
                  <a:lnTo>
                    <a:pt x="9" y="1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14" name="Freeform 171"/>
            <p:cNvSpPr>
              <a:spLocks noChangeAspect="1"/>
            </p:cNvSpPr>
            <p:nvPr/>
          </p:nvSpPr>
          <p:spPr bwMode="auto">
            <a:xfrm>
              <a:off x="5194901" y="2360030"/>
              <a:ext cx="251491" cy="275513"/>
            </a:xfrm>
            <a:custGeom>
              <a:avLst/>
              <a:gdLst>
                <a:gd name="T0" fmla="*/ 4 w 201"/>
                <a:gd name="T1" fmla="*/ 5 h 192"/>
                <a:gd name="T2" fmla="*/ 4 w 201"/>
                <a:gd name="T3" fmla="*/ 51 h 192"/>
                <a:gd name="T4" fmla="*/ 4 w 201"/>
                <a:gd name="T5" fmla="*/ 80 h 192"/>
                <a:gd name="T6" fmla="*/ 4 w 201"/>
                <a:gd name="T7" fmla="*/ 101 h 192"/>
                <a:gd name="T8" fmla="*/ 4 w 201"/>
                <a:gd name="T9" fmla="*/ 117 h 192"/>
                <a:gd name="T10" fmla="*/ 4 w 201"/>
                <a:gd name="T11" fmla="*/ 149 h 192"/>
                <a:gd name="T12" fmla="*/ 4 w 201"/>
                <a:gd name="T13" fmla="*/ 172 h 192"/>
                <a:gd name="T14" fmla="*/ 4 w 201"/>
                <a:gd name="T15" fmla="*/ 175 h 192"/>
                <a:gd name="T16" fmla="*/ 4 w 201"/>
                <a:gd name="T17" fmla="*/ 175 h 192"/>
                <a:gd name="T18" fmla="*/ 4 w 201"/>
                <a:gd name="T19" fmla="*/ 192 h 192"/>
                <a:gd name="T20" fmla="*/ 4 w 201"/>
                <a:gd name="T21" fmla="*/ 185 h 192"/>
                <a:gd name="T22" fmla="*/ 4 w 201"/>
                <a:gd name="T23" fmla="*/ 191 h 192"/>
                <a:gd name="T24" fmla="*/ 4 w 201"/>
                <a:gd name="T25" fmla="*/ 179 h 192"/>
                <a:gd name="T26" fmla="*/ 4 w 201"/>
                <a:gd name="T27" fmla="*/ 164 h 192"/>
                <a:gd name="T28" fmla="*/ 4 w 201"/>
                <a:gd name="T29" fmla="*/ 154 h 192"/>
                <a:gd name="T30" fmla="*/ 4 w 201"/>
                <a:gd name="T31" fmla="*/ 130 h 192"/>
                <a:gd name="T32" fmla="*/ 4 w 201"/>
                <a:gd name="T33" fmla="*/ 122 h 192"/>
                <a:gd name="T34" fmla="*/ 0 w 201"/>
                <a:gd name="T35" fmla="*/ 95 h 192"/>
                <a:gd name="T36" fmla="*/ 4 w 201"/>
                <a:gd name="T37" fmla="*/ 69 h 192"/>
                <a:gd name="T38" fmla="*/ 4 w 201"/>
                <a:gd name="T39" fmla="*/ 24 h 192"/>
                <a:gd name="T40" fmla="*/ 4 w 201"/>
                <a:gd name="T41" fmla="*/ 8 h 192"/>
                <a:gd name="T42" fmla="*/ 4 w 201"/>
                <a:gd name="T43" fmla="*/ 0 h 192"/>
                <a:gd name="T44" fmla="*/ 4 w 201"/>
                <a:gd name="T45" fmla="*/ 5 h 1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1"/>
                <a:gd name="T70" fmla="*/ 0 h 192"/>
                <a:gd name="T71" fmla="*/ 201 w 201"/>
                <a:gd name="T72" fmla="*/ 192 h 19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1" h="192">
                  <a:moveTo>
                    <a:pt x="109" y="5"/>
                  </a:moveTo>
                  <a:lnTo>
                    <a:pt x="140" y="51"/>
                  </a:lnTo>
                  <a:lnTo>
                    <a:pt x="128" y="80"/>
                  </a:lnTo>
                  <a:lnTo>
                    <a:pt x="143" y="101"/>
                  </a:lnTo>
                  <a:lnTo>
                    <a:pt x="169" y="117"/>
                  </a:lnTo>
                  <a:lnTo>
                    <a:pt x="179" y="149"/>
                  </a:lnTo>
                  <a:lnTo>
                    <a:pt x="201" y="172"/>
                  </a:lnTo>
                  <a:lnTo>
                    <a:pt x="199" y="175"/>
                  </a:lnTo>
                  <a:lnTo>
                    <a:pt x="178" y="175"/>
                  </a:lnTo>
                  <a:lnTo>
                    <a:pt x="163" y="192"/>
                  </a:lnTo>
                  <a:lnTo>
                    <a:pt x="142" y="185"/>
                  </a:lnTo>
                  <a:lnTo>
                    <a:pt x="128" y="191"/>
                  </a:lnTo>
                  <a:lnTo>
                    <a:pt x="104" y="179"/>
                  </a:lnTo>
                  <a:lnTo>
                    <a:pt x="100" y="164"/>
                  </a:lnTo>
                  <a:lnTo>
                    <a:pt x="86" y="154"/>
                  </a:lnTo>
                  <a:lnTo>
                    <a:pt x="42" y="130"/>
                  </a:lnTo>
                  <a:lnTo>
                    <a:pt x="12" y="122"/>
                  </a:lnTo>
                  <a:lnTo>
                    <a:pt x="0" y="95"/>
                  </a:lnTo>
                  <a:lnTo>
                    <a:pt x="45" y="69"/>
                  </a:lnTo>
                  <a:lnTo>
                    <a:pt x="46" y="24"/>
                  </a:lnTo>
                  <a:lnTo>
                    <a:pt x="65" y="8"/>
                  </a:lnTo>
                  <a:lnTo>
                    <a:pt x="72" y="0"/>
                  </a:lnTo>
                  <a:lnTo>
                    <a:pt x="109" y="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15" name="Freeform 172"/>
            <p:cNvSpPr>
              <a:spLocks noChangeAspect="1"/>
            </p:cNvSpPr>
            <p:nvPr/>
          </p:nvSpPr>
          <p:spPr bwMode="auto">
            <a:xfrm>
              <a:off x="5106879" y="2461912"/>
              <a:ext cx="34929" cy="43049"/>
            </a:xfrm>
            <a:custGeom>
              <a:avLst/>
              <a:gdLst>
                <a:gd name="T0" fmla="*/ 3 w 29"/>
                <a:gd name="T1" fmla="*/ 0 h 30"/>
                <a:gd name="T2" fmla="*/ 3 w 29"/>
                <a:gd name="T3" fmla="*/ 3 h 30"/>
                <a:gd name="T4" fmla="*/ 3 w 29"/>
                <a:gd name="T5" fmla="*/ 27 h 30"/>
                <a:gd name="T6" fmla="*/ 0 w 29"/>
                <a:gd name="T7" fmla="*/ 30 h 30"/>
                <a:gd name="T8" fmla="*/ 3 w 29"/>
                <a:gd name="T9" fmla="*/ 0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"/>
                <a:gd name="T16" fmla="*/ 0 h 30"/>
                <a:gd name="T17" fmla="*/ 29 w 29"/>
                <a:gd name="T18" fmla="*/ 30 h 3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" h="30">
                  <a:moveTo>
                    <a:pt x="14" y="0"/>
                  </a:moveTo>
                  <a:lnTo>
                    <a:pt x="29" y="3"/>
                  </a:lnTo>
                  <a:lnTo>
                    <a:pt x="10" y="27"/>
                  </a:lnTo>
                  <a:lnTo>
                    <a:pt x="0" y="3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16" name="Freeform 173"/>
            <p:cNvSpPr>
              <a:spLocks noChangeAspect="1"/>
            </p:cNvSpPr>
            <p:nvPr/>
          </p:nvSpPr>
          <p:spPr bwMode="auto">
            <a:xfrm>
              <a:off x="5087319" y="2500656"/>
              <a:ext cx="32135" cy="127712"/>
            </a:xfrm>
            <a:custGeom>
              <a:avLst/>
              <a:gdLst>
                <a:gd name="T0" fmla="*/ 6 w 25"/>
                <a:gd name="T1" fmla="*/ 13 h 89"/>
                <a:gd name="T2" fmla="*/ 6 w 25"/>
                <a:gd name="T3" fmla="*/ 28 h 89"/>
                <a:gd name="T4" fmla="*/ 6 w 25"/>
                <a:gd name="T5" fmla="*/ 48 h 89"/>
                <a:gd name="T6" fmla="*/ 6 w 25"/>
                <a:gd name="T7" fmla="*/ 89 h 89"/>
                <a:gd name="T8" fmla="*/ 0 w 25"/>
                <a:gd name="T9" fmla="*/ 45 h 89"/>
                <a:gd name="T10" fmla="*/ 5 w 25"/>
                <a:gd name="T11" fmla="*/ 41 h 89"/>
                <a:gd name="T12" fmla="*/ 6 w 25"/>
                <a:gd name="T13" fmla="*/ 3 h 89"/>
                <a:gd name="T14" fmla="*/ 6 w 25"/>
                <a:gd name="T15" fmla="*/ 0 h 89"/>
                <a:gd name="T16" fmla="*/ 6 w 25"/>
                <a:gd name="T17" fmla="*/ 13 h 8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89"/>
                <a:gd name="T29" fmla="*/ 25 w 25"/>
                <a:gd name="T30" fmla="*/ 89 h 8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89">
                  <a:moveTo>
                    <a:pt x="24" y="13"/>
                  </a:moveTo>
                  <a:lnTo>
                    <a:pt x="15" y="28"/>
                  </a:lnTo>
                  <a:lnTo>
                    <a:pt x="24" y="48"/>
                  </a:lnTo>
                  <a:lnTo>
                    <a:pt x="18" y="89"/>
                  </a:lnTo>
                  <a:lnTo>
                    <a:pt x="0" y="45"/>
                  </a:lnTo>
                  <a:lnTo>
                    <a:pt x="5" y="41"/>
                  </a:lnTo>
                  <a:lnTo>
                    <a:pt x="15" y="3"/>
                  </a:lnTo>
                  <a:lnTo>
                    <a:pt x="25" y="0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17" name="Freeform 174"/>
            <p:cNvSpPr>
              <a:spLocks noChangeAspect="1"/>
            </p:cNvSpPr>
            <p:nvPr/>
          </p:nvSpPr>
          <p:spPr bwMode="auto">
            <a:xfrm>
              <a:off x="4859580" y="2548010"/>
              <a:ext cx="278037" cy="327171"/>
            </a:xfrm>
            <a:custGeom>
              <a:avLst/>
              <a:gdLst>
                <a:gd name="T0" fmla="*/ 4 w 222"/>
                <a:gd name="T1" fmla="*/ 12 h 228"/>
                <a:gd name="T2" fmla="*/ 4 w 222"/>
                <a:gd name="T3" fmla="*/ 18 h 228"/>
                <a:gd name="T4" fmla="*/ 4 w 222"/>
                <a:gd name="T5" fmla="*/ 12 h 228"/>
                <a:gd name="T6" fmla="*/ 4 w 222"/>
                <a:gd name="T7" fmla="*/ 21 h 228"/>
                <a:gd name="T8" fmla="*/ 4 w 222"/>
                <a:gd name="T9" fmla="*/ 17 h 228"/>
                <a:gd name="T10" fmla="*/ 4 w 222"/>
                <a:gd name="T11" fmla="*/ 9 h 228"/>
                <a:gd name="T12" fmla="*/ 4 w 222"/>
                <a:gd name="T13" fmla="*/ 8 h 228"/>
                <a:gd name="T14" fmla="*/ 4 w 222"/>
                <a:gd name="T15" fmla="*/ 22 h 228"/>
                <a:gd name="T16" fmla="*/ 4 w 222"/>
                <a:gd name="T17" fmla="*/ 9 h 228"/>
                <a:gd name="T18" fmla="*/ 4 w 222"/>
                <a:gd name="T19" fmla="*/ 8 h 228"/>
                <a:gd name="T20" fmla="*/ 4 w 222"/>
                <a:gd name="T21" fmla="*/ 0 h 228"/>
                <a:gd name="T22" fmla="*/ 0 w 222"/>
                <a:gd name="T23" fmla="*/ 45 h 228"/>
                <a:gd name="T24" fmla="*/ 4 w 222"/>
                <a:gd name="T25" fmla="*/ 72 h 228"/>
                <a:gd name="T26" fmla="*/ 4 w 222"/>
                <a:gd name="T27" fmla="*/ 223 h 228"/>
                <a:gd name="T28" fmla="*/ 4 w 222"/>
                <a:gd name="T29" fmla="*/ 223 h 228"/>
                <a:gd name="T30" fmla="*/ 4 w 222"/>
                <a:gd name="T31" fmla="*/ 223 h 228"/>
                <a:gd name="T32" fmla="*/ 4 w 222"/>
                <a:gd name="T33" fmla="*/ 228 h 228"/>
                <a:gd name="T34" fmla="*/ 4 w 222"/>
                <a:gd name="T35" fmla="*/ 200 h 228"/>
                <a:gd name="T36" fmla="*/ 4 w 222"/>
                <a:gd name="T37" fmla="*/ 180 h 228"/>
                <a:gd name="T38" fmla="*/ 4 w 222"/>
                <a:gd name="T39" fmla="*/ 65 h 228"/>
                <a:gd name="T40" fmla="*/ 4 w 222"/>
                <a:gd name="T41" fmla="*/ 45 h 228"/>
                <a:gd name="T42" fmla="*/ 4 w 222"/>
                <a:gd name="T43" fmla="*/ 41 h 228"/>
                <a:gd name="T44" fmla="*/ 4 w 222"/>
                <a:gd name="T45" fmla="*/ 78 h 228"/>
                <a:gd name="T46" fmla="*/ 4 w 222"/>
                <a:gd name="T47" fmla="*/ 94 h 228"/>
                <a:gd name="T48" fmla="*/ 4 w 222"/>
                <a:gd name="T49" fmla="*/ 56 h 228"/>
                <a:gd name="T50" fmla="*/ 4 w 222"/>
                <a:gd name="T51" fmla="*/ 12 h 22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22"/>
                <a:gd name="T79" fmla="*/ 0 h 228"/>
                <a:gd name="T80" fmla="*/ 222 w 222"/>
                <a:gd name="T81" fmla="*/ 228 h 22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22" h="228">
                  <a:moveTo>
                    <a:pt x="182" y="12"/>
                  </a:moveTo>
                  <a:lnTo>
                    <a:pt x="155" y="18"/>
                  </a:lnTo>
                  <a:lnTo>
                    <a:pt x="148" y="12"/>
                  </a:lnTo>
                  <a:lnTo>
                    <a:pt x="146" y="21"/>
                  </a:lnTo>
                  <a:lnTo>
                    <a:pt x="137" y="17"/>
                  </a:lnTo>
                  <a:lnTo>
                    <a:pt x="138" y="9"/>
                  </a:lnTo>
                  <a:lnTo>
                    <a:pt x="125" y="8"/>
                  </a:lnTo>
                  <a:lnTo>
                    <a:pt x="84" y="22"/>
                  </a:lnTo>
                  <a:lnTo>
                    <a:pt x="42" y="9"/>
                  </a:lnTo>
                  <a:lnTo>
                    <a:pt x="9" y="8"/>
                  </a:lnTo>
                  <a:lnTo>
                    <a:pt x="6" y="0"/>
                  </a:lnTo>
                  <a:lnTo>
                    <a:pt x="0" y="45"/>
                  </a:lnTo>
                  <a:lnTo>
                    <a:pt x="9" y="72"/>
                  </a:lnTo>
                  <a:lnTo>
                    <a:pt x="12" y="223"/>
                  </a:lnTo>
                  <a:lnTo>
                    <a:pt x="13" y="223"/>
                  </a:lnTo>
                  <a:lnTo>
                    <a:pt x="175" y="223"/>
                  </a:lnTo>
                  <a:lnTo>
                    <a:pt x="193" y="228"/>
                  </a:lnTo>
                  <a:lnTo>
                    <a:pt x="222" y="200"/>
                  </a:lnTo>
                  <a:lnTo>
                    <a:pt x="221" y="180"/>
                  </a:lnTo>
                  <a:lnTo>
                    <a:pt x="158" y="65"/>
                  </a:lnTo>
                  <a:lnTo>
                    <a:pt x="150" y="45"/>
                  </a:lnTo>
                  <a:lnTo>
                    <a:pt x="154" y="41"/>
                  </a:lnTo>
                  <a:lnTo>
                    <a:pt x="173" y="78"/>
                  </a:lnTo>
                  <a:lnTo>
                    <a:pt x="188" y="94"/>
                  </a:lnTo>
                  <a:lnTo>
                    <a:pt x="200" y="56"/>
                  </a:lnTo>
                  <a:lnTo>
                    <a:pt x="182" y="1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18" name="Freeform 175"/>
            <p:cNvSpPr>
              <a:spLocks noChangeAspect="1"/>
            </p:cNvSpPr>
            <p:nvPr/>
          </p:nvSpPr>
          <p:spPr bwMode="auto">
            <a:xfrm>
              <a:off x="5085922" y="3002892"/>
              <a:ext cx="378633" cy="476407"/>
            </a:xfrm>
            <a:custGeom>
              <a:avLst/>
              <a:gdLst>
                <a:gd name="T0" fmla="*/ 4 w 302"/>
                <a:gd name="T1" fmla="*/ 308 h 332"/>
                <a:gd name="T2" fmla="*/ 4 w 302"/>
                <a:gd name="T3" fmla="*/ 327 h 332"/>
                <a:gd name="T4" fmla="*/ 4 w 302"/>
                <a:gd name="T5" fmla="*/ 332 h 332"/>
                <a:gd name="T6" fmla="*/ 4 w 302"/>
                <a:gd name="T7" fmla="*/ 316 h 332"/>
                <a:gd name="T8" fmla="*/ 4 w 302"/>
                <a:gd name="T9" fmla="*/ 324 h 332"/>
                <a:gd name="T10" fmla="*/ 4 w 302"/>
                <a:gd name="T11" fmla="*/ 301 h 332"/>
                <a:gd name="T12" fmla="*/ 4 w 302"/>
                <a:gd name="T13" fmla="*/ 297 h 332"/>
                <a:gd name="T14" fmla="*/ 4 w 302"/>
                <a:gd name="T15" fmla="*/ 229 h 332"/>
                <a:gd name="T16" fmla="*/ 4 w 302"/>
                <a:gd name="T17" fmla="*/ 229 h 332"/>
                <a:gd name="T18" fmla="*/ 4 w 302"/>
                <a:gd name="T19" fmla="*/ 205 h 332"/>
                <a:gd name="T20" fmla="*/ 4 w 302"/>
                <a:gd name="T21" fmla="*/ 176 h 332"/>
                <a:gd name="T22" fmla="*/ 4 w 302"/>
                <a:gd name="T23" fmla="*/ 164 h 332"/>
                <a:gd name="T24" fmla="*/ 4 w 302"/>
                <a:gd name="T25" fmla="*/ 162 h 332"/>
                <a:gd name="T26" fmla="*/ 4 w 302"/>
                <a:gd name="T27" fmla="*/ 161 h 332"/>
                <a:gd name="T28" fmla="*/ 4 w 302"/>
                <a:gd name="T29" fmla="*/ 155 h 332"/>
                <a:gd name="T30" fmla="*/ 4 w 302"/>
                <a:gd name="T31" fmla="*/ 131 h 332"/>
                <a:gd name="T32" fmla="*/ 4 w 302"/>
                <a:gd name="T33" fmla="*/ 122 h 332"/>
                <a:gd name="T34" fmla="*/ 4 w 302"/>
                <a:gd name="T35" fmla="*/ 121 h 332"/>
                <a:gd name="T36" fmla="*/ 4 w 302"/>
                <a:gd name="T37" fmla="*/ 79 h 332"/>
                <a:gd name="T38" fmla="*/ 4 w 302"/>
                <a:gd name="T39" fmla="*/ 56 h 332"/>
                <a:gd name="T40" fmla="*/ 4 w 302"/>
                <a:gd name="T41" fmla="*/ 0 h 332"/>
                <a:gd name="T42" fmla="*/ 4 w 302"/>
                <a:gd name="T43" fmla="*/ 11 h 332"/>
                <a:gd name="T44" fmla="*/ 4 w 302"/>
                <a:gd name="T45" fmla="*/ 24 h 332"/>
                <a:gd name="T46" fmla="*/ 4 w 302"/>
                <a:gd name="T47" fmla="*/ 116 h 332"/>
                <a:gd name="T48" fmla="*/ 4 w 302"/>
                <a:gd name="T49" fmla="*/ 173 h 332"/>
                <a:gd name="T50" fmla="*/ 4 w 302"/>
                <a:gd name="T51" fmla="*/ 216 h 332"/>
                <a:gd name="T52" fmla="*/ 4 w 302"/>
                <a:gd name="T53" fmla="*/ 219 h 332"/>
                <a:gd name="T54" fmla="*/ 0 w 302"/>
                <a:gd name="T55" fmla="*/ 231 h 332"/>
                <a:gd name="T56" fmla="*/ 4 w 302"/>
                <a:gd name="T57" fmla="*/ 244 h 332"/>
                <a:gd name="T58" fmla="*/ 4 w 302"/>
                <a:gd name="T59" fmla="*/ 285 h 332"/>
                <a:gd name="T60" fmla="*/ 4 w 302"/>
                <a:gd name="T61" fmla="*/ 291 h 332"/>
                <a:gd name="T62" fmla="*/ 4 w 302"/>
                <a:gd name="T63" fmla="*/ 308 h 332"/>
                <a:gd name="T64" fmla="*/ 4 w 302"/>
                <a:gd name="T65" fmla="*/ 308 h 33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02"/>
                <a:gd name="T100" fmla="*/ 0 h 332"/>
                <a:gd name="T101" fmla="*/ 302 w 302"/>
                <a:gd name="T102" fmla="*/ 332 h 33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02" h="332">
                  <a:moveTo>
                    <a:pt x="75" y="308"/>
                  </a:moveTo>
                  <a:lnTo>
                    <a:pt x="99" y="327"/>
                  </a:lnTo>
                  <a:lnTo>
                    <a:pt x="121" y="332"/>
                  </a:lnTo>
                  <a:lnTo>
                    <a:pt x="158" y="316"/>
                  </a:lnTo>
                  <a:lnTo>
                    <a:pt x="180" y="324"/>
                  </a:lnTo>
                  <a:lnTo>
                    <a:pt x="217" y="301"/>
                  </a:lnTo>
                  <a:lnTo>
                    <a:pt x="246" y="297"/>
                  </a:lnTo>
                  <a:lnTo>
                    <a:pt x="302" y="229"/>
                  </a:lnTo>
                  <a:lnTo>
                    <a:pt x="285" y="229"/>
                  </a:lnTo>
                  <a:lnTo>
                    <a:pt x="223" y="205"/>
                  </a:lnTo>
                  <a:lnTo>
                    <a:pt x="198" y="176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78" y="161"/>
                  </a:lnTo>
                  <a:lnTo>
                    <a:pt x="177" y="155"/>
                  </a:lnTo>
                  <a:lnTo>
                    <a:pt x="185" y="131"/>
                  </a:lnTo>
                  <a:lnTo>
                    <a:pt x="197" y="122"/>
                  </a:lnTo>
                  <a:lnTo>
                    <a:pt x="197" y="121"/>
                  </a:lnTo>
                  <a:lnTo>
                    <a:pt x="161" y="79"/>
                  </a:lnTo>
                  <a:lnTo>
                    <a:pt x="126" y="56"/>
                  </a:lnTo>
                  <a:lnTo>
                    <a:pt x="105" y="0"/>
                  </a:lnTo>
                  <a:lnTo>
                    <a:pt x="99" y="11"/>
                  </a:lnTo>
                  <a:lnTo>
                    <a:pt x="75" y="24"/>
                  </a:lnTo>
                  <a:lnTo>
                    <a:pt x="61" y="116"/>
                  </a:lnTo>
                  <a:lnTo>
                    <a:pt x="25" y="173"/>
                  </a:lnTo>
                  <a:lnTo>
                    <a:pt x="23" y="216"/>
                  </a:lnTo>
                  <a:lnTo>
                    <a:pt x="7" y="219"/>
                  </a:lnTo>
                  <a:lnTo>
                    <a:pt x="0" y="231"/>
                  </a:lnTo>
                  <a:lnTo>
                    <a:pt x="20" y="244"/>
                  </a:lnTo>
                  <a:lnTo>
                    <a:pt x="43" y="285"/>
                  </a:lnTo>
                  <a:lnTo>
                    <a:pt x="58" y="291"/>
                  </a:lnTo>
                  <a:lnTo>
                    <a:pt x="58" y="308"/>
                  </a:lnTo>
                  <a:lnTo>
                    <a:pt x="75" y="308"/>
                  </a:lnTo>
                  <a:close/>
                </a:path>
              </a:pathLst>
            </a:custGeom>
            <a:solidFill>
              <a:srgbClr val="996633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19" name="Freeform 176"/>
            <p:cNvSpPr>
              <a:spLocks noChangeAspect="1"/>
            </p:cNvSpPr>
            <p:nvPr/>
          </p:nvSpPr>
          <p:spPr bwMode="auto">
            <a:xfrm>
              <a:off x="5000694" y="3462080"/>
              <a:ext cx="136923" cy="176500"/>
            </a:xfrm>
            <a:custGeom>
              <a:avLst/>
              <a:gdLst>
                <a:gd name="T0" fmla="*/ 5 w 108"/>
                <a:gd name="T1" fmla="*/ 0 h 123"/>
                <a:gd name="T2" fmla="*/ 5 w 108"/>
                <a:gd name="T3" fmla="*/ 10 h 123"/>
                <a:gd name="T4" fmla="*/ 5 w 108"/>
                <a:gd name="T5" fmla="*/ 10 h 123"/>
                <a:gd name="T6" fmla="*/ 5 w 108"/>
                <a:gd name="T7" fmla="*/ 32 h 123"/>
                <a:gd name="T8" fmla="*/ 5 w 108"/>
                <a:gd name="T9" fmla="*/ 42 h 123"/>
                <a:gd name="T10" fmla="*/ 5 w 108"/>
                <a:gd name="T11" fmla="*/ 64 h 123"/>
                <a:gd name="T12" fmla="*/ 5 w 108"/>
                <a:gd name="T13" fmla="*/ 83 h 123"/>
                <a:gd name="T14" fmla="*/ 0 w 108"/>
                <a:gd name="T15" fmla="*/ 123 h 123"/>
                <a:gd name="T16" fmla="*/ 5 w 108"/>
                <a:gd name="T17" fmla="*/ 116 h 123"/>
                <a:gd name="T18" fmla="*/ 5 w 108"/>
                <a:gd name="T19" fmla="*/ 115 h 123"/>
                <a:gd name="T20" fmla="*/ 5 w 108"/>
                <a:gd name="T21" fmla="*/ 115 h 123"/>
                <a:gd name="T22" fmla="*/ 5 w 108"/>
                <a:gd name="T23" fmla="*/ 89 h 123"/>
                <a:gd name="T24" fmla="*/ 5 w 108"/>
                <a:gd name="T25" fmla="*/ 46 h 123"/>
                <a:gd name="T26" fmla="*/ 5 w 108"/>
                <a:gd name="T27" fmla="*/ 2 h 123"/>
                <a:gd name="T28" fmla="*/ 5 w 108"/>
                <a:gd name="T29" fmla="*/ 0 h 1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8"/>
                <a:gd name="T46" fmla="*/ 0 h 123"/>
                <a:gd name="T47" fmla="*/ 108 w 108"/>
                <a:gd name="T48" fmla="*/ 123 h 1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8" h="123">
                  <a:moveTo>
                    <a:pt x="86" y="0"/>
                  </a:moveTo>
                  <a:lnTo>
                    <a:pt x="46" y="10"/>
                  </a:lnTo>
                  <a:lnTo>
                    <a:pt x="24" y="10"/>
                  </a:lnTo>
                  <a:lnTo>
                    <a:pt x="23" y="32"/>
                  </a:lnTo>
                  <a:lnTo>
                    <a:pt x="33" y="42"/>
                  </a:lnTo>
                  <a:lnTo>
                    <a:pt x="17" y="64"/>
                  </a:lnTo>
                  <a:lnTo>
                    <a:pt x="5" y="83"/>
                  </a:lnTo>
                  <a:lnTo>
                    <a:pt x="0" y="123"/>
                  </a:lnTo>
                  <a:lnTo>
                    <a:pt x="16" y="116"/>
                  </a:lnTo>
                  <a:lnTo>
                    <a:pt x="44" y="115"/>
                  </a:lnTo>
                  <a:lnTo>
                    <a:pt x="86" y="115"/>
                  </a:lnTo>
                  <a:lnTo>
                    <a:pt x="86" y="89"/>
                  </a:lnTo>
                  <a:lnTo>
                    <a:pt x="108" y="46"/>
                  </a:lnTo>
                  <a:lnTo>
                    <a:pt x="93" y="2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996633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20" name="Freeform 177"/>
            <p:cNvSpPr>
              <a:spLocks noChangeAspect="1"/>
            </p:cNvSpPr>
            <p:nvPr/>
          </p:nvSpPr>
          <p:spPr bwMode="auto">
            <a:xfrm>
              <a:off x="5111071" y="3444861"/>
              <a:ext cx="199795" cy="304212"/>
            </a:xfrm>
            <a:custGeom>
              <a:avLst/>
              <a:gdLst>
                <a:gd name="T0" fmla="*/ 4 w 160"/>
                <a:gd name="T1" fmla="*/ 190 h 212"/>
                <a:gd name="T2" fmla="*/ 4 w 160"/>
                <a:gd name="T3" fmla="*/ 171 h 212"/>
                <a:gd name="T4" fmla="*/ 4 w 160"/>
                <a:gd name="T5" fmla="*/ 127 h 212"/>
                <a:gd name="T6" fmla="*/ 0 w 160"/>
                <a:gd name="T7" fmla="*/ 127 h 212"/>
                <a:gd name="T8" fmla="*/ 0 w 160"/>
                <a:gd name="T9" fmla="*/ 101 h 212"/>
                <a:gd name="T10" fmla="*/ 4 w 160"/>
                <a:gd name="T11" fmla="*/ 58 h 212"/>
                <a:gd name="T12" fmla="*/ 4 w 160"/>
                <a:gd name="T13" fmla="*/ 14 h 212"/>
                <a:gd name="T14" fmla="*/ 0 w 160"/>
                <a:gd name="T15" fmla="*/ 12 h 212"/>
                <a:gd name="T16" fmla="*/ 4 w 160"/>
                <a:gd name="T17" fmla="*/ 0 h 212"/>
                <a:gd name="T18" fmla="*/ 4 w 160"/>
                <a:gd name="T19" fmla="*/ 0 h 212"/>
                <a:gd name="T20" fmla="*/ 4 w 160"/>
                <a:gd name="T21" fmla="*/ 0 h 212"/>
                <a:gd name="T22" fmla="*/ 4 w 160"/>
                <a:gd name="T23" fmla="*/ 19 h 212"/>
                <a:gd name="T24" fmla="*/ 4 w 160"/>
                <a:gd name="T25" fmla="*/ 24 h 212"/>
                <a:gd name="T26" fmla="*/ 4 w 160"/>
                <a:gd name="T27" fmla="*/ 8 h 212"/>
                <a:gd name="T28" fmla="*/ 4 w 160"/>
                <a:gd name="T29" fmla="*/ 16 h 212"/>
                <a:gd name="T30" fmla="*/ 4 w 160"/>
                <a:gd name="T31" fmla="*/ 44 h 212"/>
                <a:gd name="T32" fmla="*/ 4 w 160"/>
                <a:gd name="T33" fmla="*/ 121 h 212"/>
                <a:gd name="T34" fmla="*/ 4 w 160"/>
                <a:gd name="T35" fmla="*/ 143 h 212"/>
                <a:gd name="T36" fmla="*/ 4 w 160"/>
                <a:gd name="T37" fmla="*/ 143 h 212"/>
                <a:gd name="T38" fmla="*/ 4 w 160"/>
                <a:gd name="T39" fmla="*/ 162 h 212"/>
                <a:gd name="T40" fmla="*/ 4 w 160"/>
                <a:gd name="T41" fmla="*/ 161 h 212"/>
                <a:gd name="T42" fmla="*/ 4 w 160"/>
                <a:gd name="T43" fmla="*/ 175 h 212"/>
                <a:gd name="T44" fmla="*/ 4 w 160"/>
                <a:gd name="T45" fmla="*/ 212 h 212"/>
                <a:gd name="T46" fmla="*/ 4 w 160"/>
                <a:gd name="T47" fmla="*/ 190 h 2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0"/>
                <a:gd name="T73" fmla="*/ 0 h 212"/>
                <a:gd name="T74" fmla="*/ 160 w 160"/>
                <a:gd name="T75" fmla="*/ 212 h 21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0" h="212">
                  <a:moveTo>
                    <a:pt x="80" y="190"/>
                  </a:moveTo>
                  <a:lnTo>
                    <a:pt x="73" y="171"/>
                  </a:lnTo>
                  <a:lnTo>
                    <a:pt x="6" y="127"/>
                  </a:lnTo>
                  <a:lnTo>
                    <a:pt x="0" y="127"/>
                  </a:lnTo>
                  <a:lnTo>
                    <a:pt x="0" y="101"/>
                  </a:lnTo>
                  <a:lnTo>
                    <a:pt x="22" y="58"/>
                  </a:lnTo>
                  <a:lnTo>
                    <a:pt x="7" y="14"/>
                  </a:lnTo>
                  <a:lnTo>
                    <a:pt x="0" y="12"/>
                  </a:lnTo>
                  <a:lnTo>
                    <a:pt x="10" y="0"/>
                  </a:lnTo>
                  <a:lnTo>
                    <a:pt x="38" y="0"/>
                  </a:lnTo>
                  <a:lnTo>
                    <a:pt x="55" y="0"/>
                  </a:lnTo>
                  <a:lnTo>
                    <a:pt x="79" y="19"/>
                  </a:lnTo>
                  <a:lnTo>
                    <a:pt x="101" y="24"/>
                  </a:lnTo>
                  <a:lnTo>
                    <a:pt x="138" y="8"/>
                  </a:lnTo>
                  <a:lnTo>
                    <a:pt x="160" y="16"/>
                  </a:lnTo>
                  <a:lnTo>
                    <a:pt x="143" y="44"/>
                  </a:lnTo>
                  <a:lnTo>
                    <a:pt x="143" y="121"/>
                  </a:lnTo>
                  <a:lnTo>
                    <a:pt x="154" y="143"/>
                  </a:lnTo>
                  <a:lnTo>
                    <a:pt x="155" y="143"/>
                  </a:lnTo>
                  <a:lnTo>
                    <a:pt x="136" y="162"/>
                  </a:lnTo>
                  <a:lnTo>
                    <a:pt x="128" y="161"/>
                  </a:lnTo>
                  <a:lnTo>
                    <a:pt x="128" y="175"/>
                  </a:lnTo>
                  <a:lnTo>
                    <a:pt x="109" y="212"/>
                  </a:lnTo>
                  <a:lnTo>
                    <a:pt x="80" y="19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21" name="Freeform 178"/>
            <p:cNvSpPr>
              <a:spLocks noChangeAspect="1"/>
            </p:cNvSpPr>
            <p:nvPr/>
          </p:nvSpPr>
          <p:spPr bwMode="auto">
            <a:xfrm>
              <a:off x="4996503" y="3627101"/>
              <a:ext cx="276640" cy="355870"/>
            </a:xfrm>
            <a:custGeom>
              <a:avLst/>
              <a:gdLst>
                <a:gd name="T0" fmla="*/ 5 w 220"/>
                <a:gd name="T1" fmla="*/ 1 h 248"/>
                <a:gd name="T2" fmla="*/ 5 w 220"/>
                <a:gd name="T3" fmla="*/ 20 h 248"/>
                <a:gd name="T4" fmla="*/ 5 w 220"/>
                <a:gd name="T5" fmla="*/ 33 h 248"/>
                <a:gd name="T6" fmla="*/ 5 w 220"/>
                <a:gd name="T7" fmla="*/ 55 h 248"/>
                <a:gd name="T8" fmla="*/ 4 w 220"/>
                <a:gd name="T9" fmla="*/ 79 h 248"/>
                <a:gd name="T10" fmla="*/ 0 w 220"/>
                <a:gd name="T11" fmla="*/ 79 h 248"/>
                <a:gd name="T12" fmla="*/ 2 w 220"/>
                <a:gd name="T13" fmla="*/ 120 h 248"/>
                <a:gd name="T14" fmla="*/ 5 w 220"/>
                <a:gd name="T15" fmla="*/ 165 h 248"/>
                <a:gd name="T16" fmla="*/ 5 w 220"/>
                <a:gd name="T17" fmla="*/ 175 h 248"/>
                <a:gd name="T18" fmla="*/ 5 w 220"/>
                <a:gd name="T19" fmla="*/ 175 h 248"/>
                <a:gd name="T20" fmla="*/ 5 w 220"/>
                <a:gd name="T21" fmla="*/ 194 h 248"/>
                <a:gd name="T22" fmla="*/ 5 w 220"/>
                <a:gd name="T23" fmla="*/ 198 h 248"/>
                <a:gd name="T24" fmla="*/ 5 w 220"/>
                <a:gd name="T25" fmla="*/ 205 h 248"/>
                <a:gd name="T26" fmla="*/ 5 w 220"/>
                <a:gd name="T27" fmla="*/ 244 h 248"/>
                <a:gd name="T28" fmla="*/ 5 w 220"/>
                <a:gd name="T29" fmla="*/ 248 h 248"/>
                <a:gd name="T30" fmla="*/ 5 w 220"/>
                <a:gd name="T31" fmla="*/ 237 h 248"/>
                <a:gd name="T32" fmla="*/ 5 w 220"/>
                <a:gd name="T33" fmla="*/ 220 h 248"/>
                <a:gd name="T34" fmla="*/ 5 w 220"/>
                <a:gd name="T35" fmla="*/ 206 h 248"/>
                <a:gd name="T36" fmla="*/ 5 w 220"/>
                <a:gd name="T37" fmla="*/ 181 h 248"/>
                <a:gd name="T38" fmla="*/ 5 w 220"/>
                <a:gd name="T39" fmla="*/ 141 h 248"/>
                <a:gd name="T40" fmla="*/ 5 w 220"/>
                <a:gd name="T41" fmla="*/ 118 h 248"/>
                <a:gd name="T42" fmla="*/ 5 w 220"/>
                <a:gd name="T43" fmla="*/ 85 h 248"/>
                <a:gd name="T44" fmla="*/ 5 w 220"/>
                <a:gd name="T45" fmla="*/ 63 h 248"/>
                <a:gd name="T46" fmla="*/ 5 w 220"/>
                <a:gd name="T47" fmla="*/ 44 h 248"/>
                <a:gd name="T48" fmla="*/ 5 w 220"/>
                <a:gd name="T49" fmla="*/ 0 h 248"/>
                <a:gd name="T50" fmla="*/ 5 w 220"/>
                <a:gd name="T51" fmla="*/ 0 h 248"/>
                <a:gd name="T52" fmla="*/ 5 w 220"/>
                <a:gd name="T53" fmla="*/ 0 h 248"/>
                <a:gd name="T54" fmla="*/ 5 w 220"/>
                <a:gd name="T55" fmla="*/ 1 h 24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20"/>
                <a:gd name="T85" fmla="*/ 0 h 248"/>
                <a:gd name="T86" fmla="*/ 220 w 220"/>
                <a:gd name="T87" fmla="*/ 248 h 24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20" h="248">
                  <a:moveTo>
                    <a:pt x="20" y="1"/>
                  </a:moveTo>
                  <a:lnTo>
                    <a:pt x="28" y="20"/>
                  </a:lnTo>
                  <a:lnTo>
                    <a:pt x="23" y="33"/>
                  </a:lnTo>
                  <a:lnTo>
                    <a:pt x="25" y="55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2" y="120"/>
                  </a:lnTo>
                  <a:lnTo>
                    <a:pt x="26" y="165"/>
                  </a:lnTo>
                  <a:lnTo>
                    <a:pt x="32" y="175"/>
                  </a:lnTo>
                  <a:lnTo>
                    <a:pt x="33" y="175"/>
                  </a:lnTo>
                  <a:lnTo>
                    <a:pt x="70" y="194"/>
                  </a:lnTo>
                  <a:lnTo>
                    <a:pt x="89" y="198"/>
                  </a:lnTo>
                  <a:lnTo>
                    <a:pt x="99" y="205"/>
                  </a:lnTo>
                  <a:lnTo>
                    <a:pt x="108" y="244"/>
                  </a:lnTo>
                  <a:lnTo>
                    <a:pt x="137" y="248"/>
                  </a:lnTo>
                  <a:lnTo>
                    <a:pt x="191" y="237"/>
                  </a:lnTo>
                  <a:lnTo>
                    <a:pt x="220" y="220"/>
                  </a:lnTo>
                  <a:lnTo>
                    <a:pt x="207" y="206"/>
                  </a:lnTo>
                  <a:lnTo>
                    <a:pt x="198" y="181"/>
                  </a:lnTo>
                  <a:lnTo>
                    <a:pt x="203" y="141"/>
                  </a:lnTo>
                  <a:lnTo>
                    <a:pt x="186" y="118"/>
                  </a:lnTo>
                  <a:lnTo>
                    <a:pt x="199" y="85"/>
                  </a:lnTo>
                  <a:lnTo>
                    <a:pt x="170" y="63"/>
                  </a:lnTo>
                  <a:lnTo>
                    <a:pt x="163" y="44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48" y="0"/>
                  </a:lnTo>
                  <a:lnTo>
                    <a:pt x="20" y="1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22" name="Freeform 179"/>
            <p:cNvSpPr>
              <a:spLocks noChangeAspect="1"/>
            </p:cNvSpPr>
            <p:nvPr/>
          </p:nvSpPr>
          <p:spPr bwMode="auto">
            <a:xfrm>
              <a:off x="4802296" y="3863869"/>
              <a:ext cx="297597" cy="324301"/>
            </a:xfrm>
            <a:custGeom>
              <a:avLst/>
              <a:gdLst>
                <a:gd name="T0" fmla="*/ 5 w 236"/>
                <a:gd name="T1" fmla="*/ 175 h 226"/>
                <a:gd name="T2" fmla="*/ 5 w 236"/>
                <a:gd name="T3" fmla="*/ 196 h 226"/>
                <a:gd name="T4" fmla="*/ 5 w 236"/>
                <a:gd name="T5" fmla="*/ 226 h 226"/>
                <a:gd name="T6" fmla="*/ 5 w 236"/>
                <a:gd name="T7" fmla="*/ 222 h 226"/>
                <a:gd name="T8" fmla="*/ 5 w 236"/>
                <a:gd name="T9" fmla="*/ 213 h 226"/>
                <a:gd name="T10" fmla="*/ 5 w 236"/>
                <a:gd name="T11" fmla="*/ 217 h 226"/>
                <a:gd name="T12" fmla="*/ 0 w 236"/>
                <a:gd name="T13" fmla="*/ 194 h 226"/>
                <a:gd name="T14" fmla="*/ 0 w 236"/>
                <a:gd name="T15" fmla="*/ 114 h 226"/>
                <a:gd name="T16" fmla="*/ 5 w 236"/>
                <a:gd name="T17" fmla="*/ 111 h 226"/>
                <a:gd name="T18" fmla="*/ 5 w 236"/>
                <a:gd name="T19" fmla="*/ 107 h 226"/>
                <a:gd name="T20" fmla="*/ 5 w 236"/>
                <a:gd name="T21" fmla="*/ 62 h 226"/>
                <a:gd name="T22" fmla="*/ 5 w 236"/>
                <a:gd name="T23" fmla="*/ 85 h 226"/>
                <a:gd name="T24" fmla="*/ 5 w 236"/>
                <a:gd name="T25" fmla="*/ 83 h 226"/>
                <a:gd name="T26" fmla="*/ 5 w 236"/>
                <a:gd name="T27" fmla="*/ 111 h 226"/>
                <a:gd name="T28" fmla="*/ 5 w 236"/>
                <a:gd name="T29" fmla="*/ 115 h 226"/>
                <a:gd name="T30" fmla="*/ 5 w 236"/>
                <a:gd name="T31" fmla="*/ 92 h 226"/>
                <a:gd name="T32" fmla="*/ 5 w 236"/>
                <a:gd name="T33" fmla="*/ 94 h 226"/>
                <a:gd name="T34" fmla="*/ 5 w 236"/>
                <a:gd name="T35" fmla="*/ 84 h 226"/>
                <a:gd name="T36" fmla="*/ 5 w 236"/>
                <a:gd name="T37" fmla="*/ 22 h 226"/>
                <a:gd name="T38" fmla="*/ 5 w 236"/>
                <a:gd name="T39" fmla="*/ 10 h 226"/>
                <a:gd name="T40" fmla="*/ 5 w 236"/>
                <a:gd name="T41" fmla="*/ 1 h 226"/>
                <a:gd name="T42" fmla="*/ 5 w 236"/>
                <a:gd name="T43" fmla="*/ 0 h 226"/>
                <a:gd name="T44" fmla="*/ 5 w 236"/>
                <a:gd name="T45" fmla="*/ 10 h 226"/>
                <a:gd name="T46" fmla="*/ 5 w 236"/>
                <a:gd name="T47" fmla="*/ 10 h 226"/>
                <a:gd name="T48" fmla="*/ 5 w 236"/>
                <a:gd name="T49" fmla="*/ 29 h 226"/>
                <a:gd name="T50" fmla="*/ 5 w 236"/>
                <a:gd name="T51" fmla="*/ 58 h 226"/>
                <a:gd name="T52" fmla="*/ 5 w 236"/>
                <a:gd name="T53" fmla="*/ 77 h 226"/>
                <a:gd name="T54" fmla="*/ 5 w 236"/>
                <a:gd name="T55" fmla="*/ 97 h 226"/>
                <a:gd name="T56" fmla="*/ 5 w 236"/>
                <a:gd name="T57" fmla="*/ 128 h 226"/>
                <a:gd name="T58" fmla="*/ 5 w 236"/>
                <a:gd name="T59" fmla="*/ 135 h 226"/>
                <a:gd name="T60" fmla="*/ 5 w 236"/>
                <a:gd name="T61" fmla="*/ 159 h 226"/>
                <a:gd name="T62" fmla="*/ 5 w 236"/>
                <a:gd name="T63" fmla="*/ 171 h 226"/>
                <a:gd name="T64" fmla="*/ 5 w 236"/>
                <a:gd name="T65" fmla="*/ 175 h 2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36"/>
                <a:gd name="T100" fmla="*/ 0 h 226"/>
                <a:gd name="T101" fmla="*/ 236 w 236"/>
                <a:gd name="T102" fmla="*/ 226 h 2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36" h="226">
                  <a:moveTo>
                    <a:pt x="142" y="175"/>
                  </a:moveTo>
                  <a:lnTo>
                    <a:pt x="130" y="196"/>
                  </a:lnTo>
                  <a:lnTo>
                    <a:pt x="93" y="226"/>
                  </a:lnTo>
                  <a:lnTo>
                    <a:pt x="61" y="222"/>
                  </a:lnTo>
                  <a:lnTo>
                    <a:pt x="40" y="213"/>
                  </a:lnTo>
                  <a:lnTo>
                    <a:pt x="22" y="217"/>
                  </a:lnTo>
                  <a:lnTo>
                    <a:pt x="0" y="194"/>
                  </a:lnTo>
                  <a:lnTo>
                    <a:pt x="0" y="114"/>
                  </a:lnTo>
                  <a:lnTo>
                    <a:pt x="43" y="111"/>
                  </a:lnTo>
                  <a:lnTo>
                    <a:pt x="39" y="107"/>
                  </a:lnTo>
                  <a:lnTo>
                    <a:pt x="42" y="62"/>
                  </a:lnTo>
                  <a:lnTo>
                    <a:pt x="83" y="85"/>
                  </a:lnTo>
                  <a:lnTo>
                    <a:pt x="101" y="83"/>
                  </a:lnTo>
                  <a:lnTo>
                    <a:pt x="134" y="111"/>
                  </a:lnTo>
                  <a:lnTo>
                    <a:pt x="151" y="115"/>
                  </a:lnTo>
                  <a:lnTo>
                    <a:pt x="153" y="92"/>
                  </a:lnTo>
                  <a:lnTo>
                    <a:pt x="141" y="94"/>
                  </a:lnTo>
                  <a:lnTo>
                    <a:pt x="133" y="84"/>
                  </a:lnTo>
                  <a:lnTo>
                    <a:pt x="139" y="22"/>
                  </a:lnTo>
                  <a:lnTo>
                    <a:pt x="143" y="10"/>
                  </a:lnTo>
                  <a:lnTo>
                    <a:pt x="174" y="1"/>
                  </a:lnTo>
                  <a:lnTo>
                    <a:pt x="180" y="0"/>
                  </a:lnTo>
                  <a:lnTo>
                    <a:pt x="186" y="10"/>
                  </a:lnTo>
                  <a:lnTo>
                    <a:pt x="187" y="10"/>
                  </a:lnTo>
                  <a:lnTo>
                    <a:pt x="224" y="29"/>
                  </a:lnTo>
                  <a:lnTo>
                    <a:pt x="236" y="58"/>
                  </a:lnTo>
                  <a:lnTo>
                    <a:pt x="228" y="77"/>
                  </a:lnTo>
                  <a:lnTo>
                    <a:pt x="231" y="97"/>
                  </a:lnTo>
                  <a:lnTo>
                    <a:pt x="216" y="128"/>
                  </a:lnTo>
                  <a:lnTo>
                    <a:pt x="224" y="135"/>
                  </a:lnTo>
                  <a:lnTo>
                    <a:pt x="163" y="159"/>
                  </a:lnTo>
                  <a:lnTo>
                    <a:pt x="165" y="171"/>
                  </a:lnTo>
                  <a:lnTo>
                    <a:pt x="142" y="17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23" name="Freeform 180"/>
            <p:cNvSpPr>
              <a:spLocks noChangeAspect="1"/>
            </p:cNvSpPr>
            <p:nvPr/>
          </p:nvSpPr>
          <p:spPr bwMode="auto">
            <a:xfrm>
              <a:off x="5009077" y="3942792"/>
              <a:ext cx="264065" cy="535241"/>
            </a:xfrm>
            <a:custGeom>
              <a:avLst/>
              <a:gdLst>
                <a:gd name="T0" fmla="*/ 4 w 211"/>
                <a:gd name="T1" fmla="*/ 373 h 373"/>
                <a:gd name="T2" fmla="*/ 4 w 211"/>
                <a:gd name="T3" fmla="*/ 373 h 373"/>
                <a:gd name="T4" fmla="*/ 4 w 211"/>
                <a:gd name="T5" fmla="*/ 362 h 373"/>
                <a:gd name="T6" fmla="*/ 4 w 211"/>
                <a:gd name="T7" fmla="*/ 359 h 373"/>
                <a:gd name="T8" fmla="*/ 4 w 211"/>
                <a:gd name="T9" fmla="*/ 345 h 373"/>
                <a:gd name="T10" fmla="*/ 4 w 211"/>
                <a:gd name="T11" fmla="*/ 322 h 373"/>
                <a:gd name="T12" fmla="*/ 4 w 211"/>
                <a:gd name="T13" fmla="*/ 276 h 373"/>
                <a:gd name="T14" fmla="*/ 4 w 211"/>
                <a:gd name="T15" fmla="*/ 229 h 373"/>
                <a:gd name="T16" fmla="*/ 4 w 211"/>
                <a:gd name="T17" fmla="*/ 218 h 373"/>
                <a:gd name="T18" fmla="*/ 4 w 211"/>
                <a:gd name="T19" fmla="*/ 160 h 373"/>
                <a:gd name="T20" fmla="*/ 4 w 211"/>
                <a:gd name="T21" fmla="*/ 150 h 373"/>
                <a:gd name="T22" fmla="*/ 4 w 211"/>
                <a:gd name="T23" fmla="*/ 107 h 373"/>
                <a:gd name="T24" fmla="*/ 4 w 211"/>
                <a:gd name="T25" fmla="*/ 0 h 373"/>
                <a:gd name="T26" fmla="*/ 4 w 211"/>
                <a:gd name="T27" fmla="*/ 17 h 373"/>
                <a:gd name="T28" fmla="*/ 4 w 211"/>
                <a:gd name="T29" fmla="*/ 28 h 373"/>
                <a:gd name="T30" fmla="*/ 4 w 211"/>
                <a:gd name="T31" fmla="*/ 24 h 373"/>
                <a:gd name="T32" fmla="*/ 4 w 211"/>
                <a:gd name="T33" fmla="*/ 37 h 373"/>
                <a:gd name="T34" fmla="*/ 4 w 211"/>
                <a:gd name="T35" fmla="*/ 69 h 373"/>
                <a:gd name="T36" fmla="*/ 4 w 211"/>
                <a:gd name="T37" fmla="*/ 100 h 373"/>
                <a:gd name="T38" fmla="*/ 4 w 211"/>
                <a:gd name="T39" fmla="*/ 121 h 373"/>
                <a:gd name="T40" fmla="*/ 4 w 211"/>
                <a:gd name="T41" fmla="*/ 145 h 373"/>
                <a:gd name="T42" fmla="*/ 4 w 211"/>
                <a:gd name="T43" fmla="*/ 124 h 373"/>
                <a:gd name="T44" fmla="*/ 4 w 211"/>
                <a:gd name="T45" fmla="*/ 93 h 373"/>
                <a:gd name="T46" fmla="*/ 4 w 211"/>
                <a:gd name="T47" fmla="*/ 93 h 373"/>
                <a:gd name="T48" fmla="*/ 4 w 211"/>
                <a:gd name="T49" fmla="*/ 80 h 373"/>
                <a:gd name="T50" fmla="*/ 0 w 211"/>
                <a:gd name="T51" fmla="*/ 104 h 373"/>
                <a:gd name="T52" fmla="*/ 2 w 211"/>
                <a:gd name="T53" fmla="*/ 116 h 373"/>
                <a:gd name="T54" fmla="*/ 2 w 211"/>
                <a:gd name="T55" fmla="*/ 125 h 373"/>
                <a:gd name="T56" fmla="*/ 4 w 211"/>
                <a:gd name="T57" fmla="*/ 126 h 373"/>
                <a:gd name="T58" fmla="*/ 4 w 211"/>
                <a:gd name="T59" fmla="*/ 141 h 373"/>
                <a:gd name="T60" fmla="*/ 4 w 211"/>
                <a:gd name="T61" fmla="*/ 159 h 373"/>
                <a:gd name="T62" fmla="*/ 4 w 211"/>
                <a:gd name="T63" fmla="*/ 217 h 373"/>
                <a:gd name="T64" fmla="*/ 4 w 211"/>
                <a:gd name="T65" fmla="*/ 279 h 373"/>
                <a:gd name="T66" fmla="*/ 4 w 211"/>
                <a:gd name="T67" fmla="*/ 351 h 373"/>
                <a:gd name="T68" fmla="*/ 4 w 211"/>
                <a:gd name="T69" fmla="*/ 373 h 37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11"/>
                <a:gd name="T106" fmla="*/ 0 h 373"/>
                <a:gd name="T107" fmla="*/ 211 w 211"/>
                <a:gd name="T108" fmla="*/ 373 h 37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11" h="373">
                  <a:moveTo>
                    <a:pt x="29" y="373"/>
                  </a:moveTo>
                  <a:lnTo>
                    <a:pt x="45" y="373"/>
                  </a:lnTo>
                  <a:lnTo>
                    <a:pt x="47" y="362"/>
                  </a:lnTo>
                  <a:lnTo>
                    <a:pt x="40" y="359"/>
                  </a:lnTo>
                  <a:lnTo>
                    <a:pt x="47" y="345"/>
                  </a:lnTo>
                  <a:lnTo>
                    <a:pt x="94" y="322"/>
                  </a:lnTo>
                  <a:lnTo>
                    <a:pt x="102" y="276"/>
                  </a:lnTo>
                  <a:lnTo>
                    <a:pt x="86" y="229"/>
                  </a:lnTo>
                  <a:lnTo>
                    <a:pt x="88" y="218"/>
                  </a:lnTo>
                  <a:lnTo>
                    <a:pt x="142" y="160"/>
                  </a:lnTo>
                  <a:lnTo>
                    <a:pt x="175" y="150"/>
                  </a:lnTo>
                  <a:lnTo>
                    <a:pt x="211" y="107"/>
                  </a:lnTo>
                  <a:lnTo>
                    <a:pt x="211" y="0"/>
                  </a:lnTo>
                  <a:lnTo>
                    <a:pt x="182" y="17"/>
                  </a:lnTo>
                  <a:lnTo>
                    <a:pt x="128" y="28"/>
                  </a:lnTo>
                  <a:lnTo>
                    <a:pt x="99" y="24"/>
                  </a:lnTo>
                  <a:lnTo>
                    <a:pt x="87" y="37"/>
                  </a:lnTo>
                  <a:lnTo>
                    <a:pt x="96" y="69"/>
                  </a:lnTo>
                  <a:lnTo>
                    <a:pt x="116" y="100"/>
                  </a:lnTo>
                  <a:lnTo>
                    <a:pt x="114" y="121"/>
                  </a:lnTo>
                  <a:lnTo>
                    <a:pt x="99" y="145"/>
                  </a:lnTo>
                  <a:lnTo>
                    <a:pt x="84" y="124"/>
                  </a:lnTo>
                  <a:lnTo>
                    <a:pt x="87" y="93"/>
                  </a:lnTo>
                  <a:lnTo>
                    <a:pt x="70" y="93"/>
                  </a:lnTo>
                  <a:lnTo>
                    <a:pt x="61" y="80"/>
                  </a:lnTo>
                  <a:lnTo>
                    <a:pt x="0" y="104"/>
                  </a:lnTo>
                  <a:lnTo>
                    <a:pt x="2" y="116"/>
                  </a:lnTo>
                  <a:lnTo>
                    <a:pt x="2" y="125"/>
                  </a:lnTo>
                  <a:lnTo>
                    <a:pt x="23" y="126"/>
                  </a:lnTo>
                  <a:lnTo>
                    <a:pt x="52" y="141"/>
                  </a:lnTo>
                  <a:lnTo>
                    <a:pt x="54" y="159"/>
                  </a:lnTo>
                  <a:lnTo>
                    <a:pt x="51" y="217"/>
                  </a:lnTo>
                  <a:lnTo>
                    <a:pt x="23" y="279"/>
                  </a:lnTo>
                  <a:lnTo>
                    <a:pt x="29" y="351"/>
                  </a:lnTo>
                  <a:lnTo>
                    <a:pt x="29" y="373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24" name="Freeform 181"/>
            <p:cNvSpPr>
              <a:spLocks noChangeAspect="1"/>
            </p:cNvSpPr>
            <p:nvPr/>
          </p:nvSpPr>
          <p:spPr bwMode="auto">
            <a:xfrm>
              <a:off x="5074744" y="3905483"/>
              <a:ext cx="79639" cy="245378"/>
            </a:xfrm>
            <a:custGeom>
              <a:avLst/>
              <a:gdLst>
                <a:gd name="T0" fmla="*/ 5 w 63"/>
                <a:gd name="T1" fmla="*/ 0 h 171"/>
                <a:gd name="T2" fmla="*/ 5 w 63"/>
                <a:gd name="T3" fmla="*/ 29 h 171"/>
                <a:gd name="T4" fmla="*/ 5 w 63"/>
                <a:gd name="T5" fmla="*/ 48 h 171"/>
                <a:gd name="T6" fmla="*/ 5 w 63"/>
                <a:gd name="T7" fmla="*/ 68 h 171"/>
                <a:gd name="T8" fmla="*/ 0 w 63"/>
                <a:gd name="T9" fmla="*/ 99 h 171"/>
                <a:gd name="T10" fmla="*/ 5 w 63"/>
                <a:gd name="T11" fmla="*/ 106 h 171"/>
                <a:gd name="T12" fmla="*/ 5 w 63"/>
                <a:gd name="T13" fmla="*/ 119 h 171"/>
                <a:gd name="T14" fmla="*/ 5 w 63"/>
                <a:gd name="T15" fmla="*/ 119 h 171"/>
                <a:gd name="T16" fmla="*/ 5 w 63"/>
                <a:gd name="T17" fmla="*/ 150 h 171"/>
                <a:gd name="T18" fmla="*/ 5 w 63"/>
                <a:gd name="T19" fmla="*/ 171 h 171"/>
                <a:gd name="T20" fmla="*/ 5 w 63"/>
                <a:gd name="T21" fmla="*/ 147 h 171"/>
                <a:gd name="T22" fmla="*/ 5 w 63"/>
                <a:gd name="T23" fmla="*/ 126 h 171"/>
                <a:gd name="T24" fmla="*/ 5 w 63"/>
                <a:gd name="T25" fmla="*/ 95 h 171"/>
                <a:gd name="T26" fmla="*/ 5 w 63"/>
                <a:gd name="T27" fmla="*/ 63 h 171"/>
                <a:gd name="T28" fmla="*/ 5 w 63"/>
                <a:gd name="T29" fmla="*/ 50 h 171"/>
                <a:gd name="T30" fmla="*/ 5 w 63"/>
                <a:gd name="T31" fmla="*/ 11 h 171"/>
                <a:gd name="T32" fmla="*/ 5 w 63"/>
                <a:gd name="T33" fmla="*/ 4 h 171"/>
                <a:gd name="T34" fmla="*/ 5 w 63"/>
                <a:gd name="T35" fmla="*/ 0 h 17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3"/>
                <a:gd name="T55" fmla="*/ 0 h 171"/>
                <a:gd name="T56" fmla="*/ 63 w 63"/>
                <a:gd name="T57" fmla="*/ 171 h 17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3" h="171">
                  <a:moveTo>
                    <a:pt x="8" y="0"/>
                  </a:moveTo>
                  <a:lnTo>
                    <a:pt x="20" y="29"/>
                  </a:lnTo>
                  <a:lnTo>
                    <a:pt x="12" y="48"/>
                  </a:lnTo>
                  <a:lnTo>
                    <a:pt x="15" y="68"/>
                  </a:lnTo>
                  <a:lnTo>
                    <a:pt x="0" y="99"/>
                  </a:lnTo>
                  <a:lnTo>
                    <a:pt x="8" y="106"/>
                  </a:lnTo>
                  <a:lnTo>
                    <a:pt x="17" y="119"/>
                  </a:lnTo>
                  <a:lnTo>
                    <a:pt x="34" y="119"/>
                  </a:lnTo>
                  <a:lnTo>
                    <a:pt x="31" y="150"/>
                  </a:lnTo>
                  <a:lnTo>
                    <a:pt x="46" y="171"/>
                  </a:lnTo>
                  <a:lnTo>
                    <a:pt x="61" y="147"/>
                  </a:lnTo>
                  <a:lnTo>
                    <a:pt x="63" y="126"/>
                  </a:lnTo>
                  <a:lnTo>
                    <a:pt x="43" y="95"/>
                  </a:lnTo>
                  <a:lnTo>
                    <a:pt x="34" y="63"/>
                  </a:lnTo>
                  <a:lnTo>
                    <a:pt x="46" y="50"/>
                  </a:lnTo>
                  <a:lnTo>
                    <a:pt x="37" y="11"/>
                  </a:lnTo>
                  <a:lnTo>
                    <a:pt x="27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25" name="Freeform 182"/>
            <p:cNvSpPr>
              <a:spLocks noChangeAspect="1"/>
            </p:cNvSpPr>
            <p:nvPr/>
          </p:nvSpPr>
          <p:spPr bwMode="auto">
            <a:xfrm>
              <a:off x="4879140" y="4109248"/>
              <a:ext cx="197001" cy="233899"/>
            </a:xfrm>
            <a:custGeom>
              <a:avLst/>
              <a:gdLst>
                <a:gd name="T0" fmla="*/ 5 w 156"/>
                <a:gd name="T1" fmla="*/ 150 h 163"/>
                <a:gd name="T2" fmla="*/ 5 w 156"/>
                <a:gd name="T3" fmla="*/ 140 h 163"/>
                <a:gd name="T4" fmla="*/ 5 w 156"/>
                <a:gd name="T5" fmla="*/ 115 h 163"/>
                <a:gd name="T6" fmla="*/ 5 w 156"/>
                <a:gd name="T7" fmla="*/ 88 h 163"/>
                <a:gd name="T8" fmla="*/ 0 w 156"/>
                <a:gd name="T9" fmla="*/ 51 h 163"/>
                <a:gd name="T10" fmla="*/ 5 w 156"/>
                <a:gd name="T11" fmla="*/ 55 h 163"/>
                <a:gd name="T12" fmla="*/ 5 w 156"/>
                <a:gd name="T13" fmla="*/ 25 h 163"/>
                <a:gd name="T14" fmla="*/ 5 w 156"/>
                <a:gd name="T15" fmla="*/ 4 h 163"/>
                <a:gd name="T16" fmla="*/ 5 w 156"/>
                <a:gd name="T17" fmla="*/ 0 h 163"/>
                <a:gd name="T18" fmla="*/ 5 w 156"/>
                <a:gd name="T19" fmla="*/ 9 h 163"/>
                <a:gd name="T20" fmla="*/ 5 w 156"/>
                <a:gd name="T21" fmla="*/ 10 h 163"/>
                <a:gd name="T22" fmla="*/ 5 w 156"/>
                <a:gd name="T23" fmla="*/ 25 h 163"/>
                <a:gd name="T24" fmla="*/ 5 w 156"/>
                <a:gd name="T25" fmla="*/ 43 h 163"/>
                <a:gd name="T26" fmla="*/ 5 w 156"/>
                <a:gd name="T27" fmla="*/ 101 h 163"/>
                <a:gd name="T28" fmla="*/ 5 w 156"/>
                <a:gd name="T29" fmla="*/ 163 h 163"/>
                <a:gd name="T30" fmla="*/ 5 w 156"/>
                <a:gd name="T31" fmla="*/ 154 h 163"/>
                <a:gd name="T32" fmla="*/ 5 w 156"/>
                <a:gd name="T33" fmla="*/ 150 h 16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6"/>
                <a:gd name="T52" fmla="*/ 0 h 163"/>
                <a:gd name="T53" fmla="*/ 156 w 156"/>
                <a:gd name="T54" fmla="*/ 163 h 16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6" h="163">
                  <a:moveTo>
                    <a:pt x="80" y="150"/>
                  </a:moveTo>
                  <a:lnTo>
                    <a:pt x="56" y="140"/>
                  </a:lnTo>
                  <a:lnTo>
                    <a:pt x="50" y="115"/>
                  </a:lnTo>
                  <a:lnTo>
                    <a:pt x="17" y="88"/>
                  </a:lnTo>
                  <a:lnTo>
                    <a:pt x="0" y="51"/>
                  </a:lnTo>
                  <a:lnTo>
                    <a:pt x="32" y="55"/>
                  </a:lnTo>
                  <a:lnTo>
                    <a:pt x="69" y="25"/>
                  </a:lnTo>
                  <a:lnTo>
                    <a:pt x="81" y="4"/>
                  </a:lnTo>
                  <a:lnTo>
                    <a:pt x="104" y="0"/>
                  </a:lnTo>
                  <a:lnTo>
                    <a:pt x="104" y="9"/>
                  </a:lnTo>
                  <a:lnTo>
                    <a:pt x="125" y="10"/>
                  </a:lnTo>
                  <a:lnTo>
                    <a:pt x="154" y="25"/>
                  </a:lnTo>
                  <a:lnTo>
                    <a:pt x="156" y="43"/>
                  </a:lnTo>
                  <a:lnTo>
                    <a:pt x="153" y="101"/>
                  </a:lnTo>
                  <a:lnTo>
                    <a:pt x="125" y="163"/>
                  </a:lnTo>
                  <a:lnTo>
                    <a:pt x="113" y="154"/>
                  </a:lnTo>
                  <a:lnTo>
                    <a:pt x="80" y="15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26" name="Freeform 183"/>
            <p:cNvSpPr>
              <a:spLocks noChangeAspect="1"/>
            </p:cNvSpPr>
            <p:nvPr/>
          </p:nvSpPr>
          <p:spPr bwMode="auto">
            <a:xfrm>
              <a:off x="4541025" y="4153732"/>
              <a:ext cx="338115" cy="398919"/>
            </a:xfrm>
            <a:custGeom>
              <a:avLst/>
              <a:gdLst>
                <a:gd name="T0" fmla="*/ 4 w 269"/>
                <a:gd name="T1" fmla="*/ 180 h 278"/>
                <a:gd name="T2" fmla="*/ 4 w 269"/>
                <a:gd name="T3" fmla="*/ 122 h 278"/>
                <a:gd name="T4" fmla="*/ 4 w 269"/>
                <a:gd name="T5" fmla="*/ 111 h 278"/>
                <a:gd name="T6" fmla="*/ 4 w 269"/>
                <a:gd name="T7" fmla="*/ 34 h 278"/>
                <a:gd name="T8" fmla="*/ 4 w 269"/>
                <a:gd name="T9" fmla="*/ 26 h 278"/>
                <a:gd name="T10" fmla="*/ 4 w 269"/>
                <a:gd name="T11" fmla="*/ 27 h 278"/>
                <a:gd name="T12" fmla="*/ 4 w 269"/>
                <a:gd name="T13" fmla="*/ 38 h 278"/>
                <a:gd name="T14" fmla="*/ 4 w 269"/>
                <a:gd name="T15" fmla="*/ 26 h 278"/>
                <a:gd name="T16" fmla="*/ 4 w 269"/>
                <a:gd name="T17" fmla="*/ 20 h 278"/>
                <a:gd name="T18" fmla="*/ 4 w 269"/>
                <a:gd name="T19" fmla="*/ 11 h 278"/>
                <a:gd name="T20" fmla="*/ 4 w 269"/>
                <a:gd name="T21" fmla="*/ 15 h 278"/>
                <a:gd name="T22" fmla="*/ 4 w 269"/>
                <a:gd name="T23" fmla="*/ 25 h 278"/>
                <a:gd name="T24" fmla="*/ 4 w 269"/>
                <a:gd name="T25" fmla="*/ 20 h 278"/>
                <a:gd name="T26" fmla="*/ 4 w 269"/>
                <a:gd name="T27" fmla="*/ 11 h 278"/>
                <a:gd name="T28" fmla="*/ 4 w 269"/>
                <a:gd name="T29" fmla="*/ 9 h 278"/>
                <a:gd name="T30" fmla="*/ 4 w 269"/>
                <a:gd name="T31" fmla="*/ 0 h 278"/>
                <a:gd name="T32" fmla="*/ 0 w 269"/>
                <a:gd name="T33" fmla="*/ 9 h 278"/>
                <a:gd name="T34" fmla="*/ 3 w 269"/>
                <a:gd name="T35" fmla="*/ 23 h 278"/>
                <a:gd name="T36" fmla="*/ 4 w 269"/>
                <a:gd name="T37" fmla="*/ 129 h 278"/>
                <a:gd name="T38" fmla="*/ 4 w 269"/>
                <a:gd name="T39" fmla="*/ 163 h 278"/>
                <a:gd name="T40" fmla="*/ 4 w 269"/>
                <a:gd name="T41" fmla="*/ 244 h 278"/>
                <a:gd name="T42" fmla="*/ 4 w 269"/>
                <a:gd name="T43" fmla="*/ 271 h 278"/>
                <a:gd name="T44" fmla="*/ 4 w 269"/>
                <a:gd name="T45" fmla="*/ 263 h 278"/>
                <a:gd name="T46" fmla="*/ 4 w 269"/>
                <a:gd name="T47" fmla="*/ 269 h 278"/>
                <a:gd name="T48" fmla="*/ 4 w 269"/>
                <a:gd name="T49" fmla="*/ 278 h 278"/>
                <a:gd name="T50" fmla="*/ 4 w 269"/>
                <a:gd name="T51" fmla="*/ 278 h 278"/>
                <a:gd name="T52" fmla="*/ 4 w 269"/>
                <a:gd name="T53" fmla="*/ 264 h 278"/>
                <a:gd name="T54" fmla="*/ 4 w 269"/>
                <a:gd name="T55" fmla="*/ 180 h 27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69"/>
                <a:gd name="T85" fmla="*/ 0 h 278"/>
                <a:gd name="T86" fmla="*/ 269 w 269"/>
                <a:gd name="T87" fmla="*/ 278 h 27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69" h="278">
                  <a:moveTo>
                    <a:pt x="161" y="180"/>
                  </a:moveTo>
                  <a:lnTo>
                    <a:pt x="162" y="122"/>
                  </a:lnTo>
                  <a:lnTo>
                    <a:pt x="183" y="111"/>
                  </a:lnTo>
                  <a:lnTo>
                    <a:pt x="185" y="34"/>
                  </a:lnTo>
                  <a:lnTo>
                    <a:pt x="225" y="26"/>
                  </a:lnTo>
                  <a:lnTo>
                    <a:pt x="233" y="27"/>
                  </a:lnTo>
                  <a:lnTo>
                    <a:pt x="236" y="38"/>
                  </a:lnTo>
                  <a:lnTo>
                    <a:pt x="248" y="26"/>
                  </a:lnTo>
                  <a:lnTo>
                    <a:pt x="269" y="20"/>
                  </a:lnTo>
                  <a:lnTo>
                    <a:pt x="248" y="11"/>
                  </a:lnTo>
                  <a:lnTo>
                    <a:pt x="230" y="15"/>
                  </a:lnTo>
                  <a:lnTo>
                    <a:pt x="199" y="25"/>
                  </a:lnTo>
                  <a:lnTo>
                    <a:pt x="149" y="20"/>
                  </a:lnTo>
                  <a:lnTo>
                    <a:pt x="134" y="11"/>
                  </a:lnTo>
                  <a:lnTo>
                    <a:pt x="47" y="9"/>
                  </a:lnTo>
                  <a:lnTo>
                    <a:pt x="31" y="0"/>
                  </a:lnTo>
                  <a:lnTo>
                    <a:pt x="0" y="9"/>
                  </a:lnTo>
                  <a:lnTo>
                    <a:pt x="3" y="23"/>
                  </a:lnTo>
                  <a:lnTo>
                    <a:pt x="56" y="129"/>
                  </a:lnTo>
                  <a:lnTo>
                    <a:pt x="56" y="163"/>
                  </a:lnTo>
                  <a:lnTo>
                    <a:pt x="71" y="244"/>
                  </a:lnTo>
                  <a:lnTo>
                    <a:pt x="93" y="271"/>
                  </a:lnTo>
                  <a:lnTo>
                    <a:pt x="100" y="263"/>
                  </a:lnTo>
                  <a:lnTo>
                    <a:pt x="114" y="269"/>
                  </a:lnTo>
                  <a:lnTo>
                    <a:pt x="117" y="278"/>
                  </a:lnTo>
                  <a:lnTo>
                    <a:pt x="143" y="278"/>
                  </a:lnTo>
                  <a:lnTo>
                    <a:pt x="159" y="264"/>
                  </a:lnTo>
                  <a:lnTo>
                    <a:pt x="161" y="18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27" name="Freeform 184"/>
            <p:cNvSpPr>
              <a:spLocks noChangeAspect="1"/>
            </p:cNvSpPr>
            <p:nvPr/>
          </p:nvSpPr>
          <p:spPr bwMode="auto">
            <a:xfrm>
              <a:off x="4541025" y="3786382"/>
              <a:ext cx="317158" cy="403224"/>
            </a:xfrm>
            <a:custGeom>
              <a:avLst/>
              <a:gdLst>
                <a:gd name="T0" fmla="*/ 5 w 251"/>
                <a:gd name="T1" fmla="*/ 1 h 281"/>
                <a:gd name="T2" fmla="*/ 5 w 251"/>
                <a:gd name="T3" fmla="*/ 0 h 281"/>
                <a:gd name="T4" fmla="*/ 5 w 251"/>
                <a:gd name="T5" fmla="*/ 7 h 281"/>
                <a:gd name="T6" fmla="*/ 5 w 251"/>
                <a:gd name="T7" fmla="*/ 35 h 281"/>
                <a:gd name="T8" fmla="*/ 5 w 251"/>
                <a:gd name="T9" fmla="*/ 54 h 281"/>
                <a:gd name="T10" fmla="*/ 5 w 251"/>
                <a:gd name="T11" fmla="*/ 51 h 281"/>
                <a:gd name="T12" fmla="*/ 5 w 251"/>
                <a:gd name="T13" fmla="*/ 29 h 281"/>
                <a:gd name="T14" fmla="*/ 5 w 251"/>
                <a:gd name="T15" fmla="*/ 25 h 281"/>
                <a:gd name="T16" fmla="*/ 5 w 251"/>
                <a:gd name="T17" fmla="*/ 32 h 281"/>
                <a:gd name="T18" fmla="*/ 5 w 251"/>
                <a:gd name="T19" fmla="*/ 35 h 281"/>
                <a:gd name="T20" fmla="*/ 5 w 251"/>
                <a:gd name="T21" fmla="*/ 41 h 281"/>
                <a:gd name="T22" fmla="*/ 5 w 251"/>
                <a:gd name="T23" fmla="*/ 87 h 281"/>
                <a:gd name="T24" fmla="*/ 5 w 251"/>
                <a:gd name="T25" fmla="*/ 109 h 281"/>
                <a:gd name="T26" fmla="*/ 5 w 251"/>
                <a:gd name="T27" fmla="*/ 120 h 281"/>
                <a:gd name="T28" fmla="*/ 5 w 251"/>
                <a:gd name="T29" fmla="*/ 126 h 281"/>
                <a:gd name="T30" fmla="*/ 5 w 251"/>
                <a:gd name="T31" fmla="*/ 116 h 281"/>
                <a:gd name="T32" fmla="*/ 5 w 251"/>
                <a:gd name="T33" fmla="*/ 161 h 281"/>
                <a:gd name="T34" fmla="*/ 5 w 251"/>
                <a:gd name="T35" fmla="*/ 165 h 281"/>
                <a:gd name="T36" fmla="*/ 5 w 251"/>
                <a:gd name="T37" fmla="*/ 168 h 281"/>
                <a:gd name="T38" fmla="*/ 5 w 251"/>
                <a:gd name="T39" fmla="*/ 248 h 281"/>
                <a:gd name="T40" fmla="*/ 5 w 251"/>
                <a:gd name="T41" fmla="*/ 271 h 281"/>
                <a:gd name="T42" fmla="*/ 5 w 251"/>
                <a:gd name="T43" fmla="*/ 281 h 281"/>
                <a:gd name="T44" fmla="*/ 5 w 251"/>
                <a:gd name="T45" fmla="*/ 276 h 281"/>
                <a:gd name="T46" fmla="*/ 5 w 251"/>
                <a:gd name="T47" fmla="*/ 267 h 281"/>
                <a:gd name="T48" fmla="*/ 5 w 251"/>
                <a:gd name="T49" fmla="*/ 265 h 281"/>
                <a:gd name="T50" fmla="*/ 5 w 251"/>
                <a:gd name="T51" fmla="*/ 256 h 281"/>
                <a:gd name="T52" fmla="*/ 0 w 251"/>
                <a:gd name="T53" fmla="*/ 265 h 281"/>
                <a:gd name="T54" fmla="*/ 3 w 251"/>
                <a:gd name="T55" fmla="*/ 235 h 281"/>
                <a:gd name="T56" fmla="*/ 5 w 251"/>
                <a:gd name="T57" fmla="*/ 173 h 281"/>
                <a:gd name="T58" fmla="*/ 5 w 251"/>
                <a:gd name="T59" fmla="*/ 149 h 281"/>
                <a:gd name="T60" fmla="*/ 5 w 251"/>
                <a:gd name="T61" fmla="*/ 126 h 281"/>
                <a:gd name="T62" fmla="*/ 5 w 251"/>
                <a:gd name="T63" fmla="*/ 78 h 281"/>
                <a:gd name="T64" fmla="*/ 5 w 251"/>
                <a:gd name="T65" fmla="*/ 66 h 281"/>
                <a:gd name="T66" fmla="*/ 5 w 251"/>
                <a:gd name="T67" fmla="*/ 12 h 281"/>
                <a:gd name="T68" fmla="*/ 5 w 251"/>
                <a:gd name="T69" fmla="*/ 1 h 2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51"/>
                <a:gd name="T106" fmla="*/ 0 h 281"/>
                <a:gd name="T107" fmla="*/ 251 w 251"/>
                <a:gd name="T108" fmla="*/ 281 h 28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51" h="281">
                  <a:moveTo>
                    <a:pt x="37" y="1"/>
                  </a:moveTo>
                  <a:lnTo>
                    <a:pt x="87" y="0"/>
                  </a:lnTo>
                  <a:lnTo>
                    <a:pt x="99" y="7"/>
                  </a:lnTo>
                  <a:lnTo>
                    <a:pt x="106" y="35"/>
                  </a:lnTo>
                  <a:lnTo>
                    <a:pt x="126" y="54"/>
                  </a:lnTo>
                  <a:lnTo>
                    <a:pt x="153" y="51"/>
                  </a:lnTo>
                  <a:lnTo>
                    <a:pt x="159" y="29"/>
                  </a:lnTo>
                  <a:lnTo>
                    <a:pt x="184" y="25"/>
                  </a:lnTo>
                  <a:lnTo>
                    <a:pt x="184" y="32"/>
                  </a:lnTo>
                  <a:lnTo>
                    <a:pt x="201" y="35"/>
                  </a:lnTo>
                  <a:lnTo>
                    <a:pt x="203" y="41"/>
                  </a:lnTo>
                  <a:lnTo>
                    <a:pt x="205" y="87"/>
                  </a:lnTo>
                  <a:lnTo>
                    <a:pt x="213" y="109"/>
                  </a:lnTo>
                  <a:lnTo>
                    <a:pt x="207" y="120"/>
                  </a:lnTo>
                  <a:lnTo>
                    <a:pt x="211" y="126"/>
                  </a:lnTo>
                  <a:lnTo>
                    <a:pt x="250" y="116"/>
                  </a:lnTo>
                  <a:lnTo>
                    <a:pt x="247" y="161"/>
                  </a:lnTo>
                  <a:lnTo>
                    <a:pt x="251" y="165"/>
                  </a:lnTo>
                  <a:lnTo>
                    <a:pt x="208" y="168"/>
                  </a:lnTo>
                  <a:lnTo>
                    <a:pt x="208" y="248"/>
                  </a:lnTo>
                  <a:lnTo>
                    <a:pt x="230" y="271"/>
                  </a:lnTo>
                  <a:lnTo>
                    <a:pt x="199" y="281"/>
                  </a:lnTo>
                  <a:lnTo>
                    <a:pt x="149" y="276"/>
                  </a:lnTo>
                  <a:lnTo>
                    <a:pt x="134" y="267"/>
                  </a:lnTo>
                  <a:lnTo>
                    <a:pt x="47" y="265"/>
                  </a:lnTo>
                  <a:lnTo>
                    <a:pt x="31" y="256"/>
                  </a:lnTo>
                  <a:lnTo>
                    <a:pt x="0" y="265"/>
                  </a:lnTo>
                  <a:lnTo>
                    <a:pt x="3" y="235"/>
                  </a:lnTo>
                  <a:lnTo>
                    <a:pt x="20" y="173"/>
                  </a:lnTo>
                  <a:lnTo>
                    <a:pt x="40" y="149"/>
                  </a:lnTo>
                  <a:lnTo>
                    <a:pt x="45" y="126"/>
                  </a:lnTo>
                  <a:lnTo>
                    <a:pt x="26" y="78"/>
                  </a:lnTo>
                  <a:lnTo>
                    <a:pt x="35" y="66"/>
                  </a:lnTo>
                  <a:lnTo>
                    <a:pt x="18" y="12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28" name="Freeform 185"/>
            <p:cNvSpPr>
              <a:spLocks noChangeAspect="1"/>
            </p:cNvSpPr>
            <p:nvPr/>
          </p:nvSpPr>
          <p:spPr bwMode="auto">
            <a:xfrm>
              <a:off x="4549408" y="3741898"/>
              <a:ext cx="23752" cy="47354"/>
            </a:xfrm>
            <a:custGeom>
              <a:avLst/>
              <a:gdLst>
                <a:gd name="T0" fmla="*/ 4 w 19"/>
                <a:gd name="T1" fmla="*/ 6 h 33"/>
                <a:gd name="T2" fmla="*/ 4 w 19"/>
                <a:gd name="T3" fmla="*/ 12 h 33"/>
                <a:gd name="T4" fmla="*/ 4 w 19"/>
                <a:gd name="T5" fmla="*/ 33 h 33"/>
                <a:gd name="T6" fmla="*/ 2 w 19"/>
                <a:gd name="T7" fmla="*/ 21 h 33"/>
                <a:gd name="T8" fmla="*/ 0 w 19"/>
                <a:gd name="T9" fmla="*/ 14 h 33"/>
                <a:gd name="T10" fmla="*/ 4 w 19"/>
                <a:gd name="T11" fmla="*/ 0 h 33"/>
                <a:gd name="T12" fmla="*/ 4 w 19"/>
                <a:gd name="T13" fmla="*/ 6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33"/>
                <a:gd name="T23" fmla="*/ 19 w 19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33">
                  <a:moveTo>
                    <a:pt x="19" y="6"/>
                  </a:moveTo>
                  <a:lnTo>
                    <a:pt x="11" y="12"/>
                  </a:lnTo>
                  <a:lnTo>
                    <a:pt x="7" y="33"/>
                  </a:lnTo>
                  <a:lnTo>
                    <a:pt x="2" y="21"/>
                  </a:lnTo>
                  <a:lnTo>
                    <a:pt x="0" y="14"/>
                  </a:lnTo>
                  <a:lnTo>
                    <a:pt x="15" y="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29" name="Freeform 186"/>
            <p:cNvSpPr>
              <a:spLocks noChangeAspect="1"/>
            </p:cNvSpPr>
            <p:nvPr/>
          </p:nvSpPr>
          <p:spPr bwMode="auto">
            <a:xfrm>
              <a:off x="4458592" y="3162173"/>
              <a:ext cx="194207" cy="378830"/>
            </a:xfrm>
            <a:custGeom>
              <a:avLst/>
              <a:gdLst>
                <a:gd name="T0" fmla="*/ 5 w 154"/>
                <a:gd name="T1" fmla="*/ 0 h 264"/>
                <a:gd name="T2" fmla="*/ 5 w 154"/>
                <a:gd name="T3" fmla="*/ 15 h 264"/>
                <a:gd name="T4" fmla="*/ 5 w 154"/>
                <a:gd name="T5" fmla="*/ 32 h 264"/>
                <a:gd name="T6" fmla="*/ 5 w 154"/>
                <a:gd name="T7" fmla="*/ 53 h 264"/>
                <a:gd name="T8" fmla="*/ 5 w 154"/>
                <a:gd name="T9" fmla="*/ 97 h 264"/>
                <a:gd name="T10" fmla="*/ 5 w 154"/>
                <a:gd name="T11" fmla="*/ 107 h 264"/>
                <a:gd name="T12" fmla="*/ 5 w 154"/>
                <a:gd name="T13" fmla="*/ 148 h 264"/>
                <a:gd name="T14" fmla="*/ 5 w 154"/>
                <a:gd name="T15" fmla="*/ 153 h 264"/>
                <a:gd name="T16" fmla="*/ 5 w 154"/>
                <a:gd name="T17" fmla="*/ 144 h 264"/>
                <a:gd name="T18" fmla="*/ 5 w 154"/>
                <a:gd name="T19" fmla="*/ 145 h 264"/>
                <a:gd name="T20" fmla="*/ 0 w 154"/>
                <a:gd name="T21" fmla="*/ 194 h 264"/>
                <a:gd name="T22" fmla="*/ 5 w 154"/>
                <a:gd name="T23" fmla="*/ 210 h 264"/>
                <a:gd name="T24" fmla="*/ 5 w 154"/>
                <a:gd name="T25" fmla="*/ 213 h 264"/>
                <a:gd name="T26" fmla="*/ 5 w 154"/>
                <a:gd name="T27" fmla="*/ 232 h 264"/>
                <a:gd name="T28" fmla="*/ 5 w 154"/>
                <a:gd name="T29" fmla="*/ 253 h 264"/>
                <a:gd name="T30" fmla="*/ 5 w 154"/>
                <a:gd name="T31" fmla="*/ 251 h 264"/>
                <a:gd name="T32" fmla="*/ 5 w 154"/>
                <a:gd name="T33" fmla="*/ 253 h 264"/>
                <a:gd name="T34" fmla="*/ 5 w 154"/>
                <a:gd name="T35" fmla="*/ 264 h 264"/>
                <a:gd name="T36" fmla="*/ 5 w 154"/>
                <a:gd name="T37" fmla="*/ 237 h 264"/>
                <a:gd name="T38" fmla="*/ 5 w 154"/>
                <a:gd name="T39" fmla="*/ 192 h 264"/>
                <a:gd name="T40" fmla="*/ 5 w 154"/>
                <a:gd name="T41" fmla="*/ 170 h 264"/>
                <a:gd name="T42" fmla="*/ 5 w 154"/>
                <a:gd name="T43" fmla="*/ 131 h 264"/>
                <a:gd name="T44" fmla="*/ 5 w 154"/>
                <a:gd name="T45" fmla="*/ 104 h 264"/>
                <a:gd name="T46" fmla="*/ 5 w 154"/>
                <a:gd name="T47" fmla="*/ 87 h 264"/>
                <a:gd name="T48" fmla="*/ 5 w 154"/>
                <a:gd name="T49" fmla="*/ 72 h 264"/>
                <a:gd name="T50" fmla="*/ 5 w 154"/>
                <a:gd name="T51" fmla="*/ 68 h 264"/>
                <a:gd name="T52" fmla="*/ 5 w 154"/>
                <a:gd name="T53" fmla="*/ 48 h 264"/>
                <a:gd name="T54" fmla="*/ 5 w 154"/>
                <a:gd name="T55" fmla="*/ 8 h 264"/>
                <a:gd name="T56" fmla="*/ 5 w 154"/>
                <a:gd name="T57" fmla="*/ 0 h 26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54"/>
                <a:gd name="T88" fmla="*/ 0 h 264"/>
                <a:gd name="T89" fmla="*/ 154 w 154"/>
                <a:gd name="T90" fmla="*/ 264 h 26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54" h="264">
                  <a:moveTo>
                    <a:pt x="113" y="0"/>
                  </a:moveTo>
                  <a:lnTo>
                    <a:pt x="113" y="15"/>
                  </a:lnTo>
                  <a:lnTo>
                    <a:pt x="119" y="32"/>
                  </a:lnTo>
                  <a:lnTo>
                    <a:pt x="99" y="53"/>
                  </a:lnTo>
                  <a:lnTo>
                    <a:pt x="87" y="97"/>
                  </a:lnTo>
                  <a:lnTo>
                    <a:pt x="77" y="107"/>
                  </a:lnTo>
                  <a:lnTo>
                    <a:pt x="61" y="148"/>
                  </a:lnTo>
                  <a:lnTo>
                    <a:pt x="51" y="153"/>
                  </a:lnTo>
                  <a:lnTo>
                    <a:pt x="42" y="144"/>
                  </a:lnTo>
                  <a:lnTo>
                    <a:pt x="23" y="145"/>
                  </a:lnTo>
                  <a:lnTo>
                    <a:pt x="0" y="194"/>
                  </a:lnTo>
                  <a:lnTo>
                    <a:pt x="9" y="210"/>
                  </a:lnTo>
                  <a:lnTo>
                    <a:pt x="17" y="213"/>
                  </a:lnTo>
                  <a:lnTo>
                    <a:pt x="30" y="232"/>
                  </a:lnTo>
                  <a:lnTo>
                    <a:pt x="25" y="253"/>
                  </a:lnTo>
                  <a:lnTo>
                    <a:pt x="56" y="251"/>
                  </a:lnTo>
                  <a:lnTo>
                    <a:pt x="101" y="253"/>
                  </a:lnTo>
                  <a:lnTo>
                    <a:pt x="153" y="264"/>
                  </a:lnTo>
                  <a:lnTo>
                    <a:pt x="154" y="237"/>
                  </a:lnTo>
                  <a:lnTo>
                    <a:pt x="125" y="192"/>
                  </a:lnTo>
                  <a:lnTo>
                    <a:pt x="122" y="170"/>
                  </a:lnTo>
                  <a:lnTo>
                    <a:pt x="139" y="131"/>
                  </a:lnTo>
                  <a:lnTo>
                    <a:pt x="131" y="104"/>
                  </a:lnTo>
                  <a:lnTo>
                    <a:pt x="113" y="87"/>
                  </a:lnTo>
                  <a:lnTo>
                    <a:pt x="119" y="72"/>
                  </a:lnTo>
                  <a:lnTo>
                    <a:pt x="137" y="68"/>
                  </a:lnTo>
                  <a:lnTo>
                    <a:pt x="128" y="48"/>
                  </a:lnTo>
                  <a:lnTo>
                    <a:pt x="122" y="8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30" name="Freeform 187"/>
            <p:cNvSpPr>
              <a:spLocks noChangeAspect="1"/>
            </p:cNvSpPr>
            <p:nvPr/>
          </p:nvSpPr>
          <p:spPr bwMode="auto">
            <a:xfrm>
              <a:off x="4534039" y="3474995"/>
              <a:ext cx="183029" cy="286992"/>
            </a:xfrm>
            <a:custGeom>
              <a:avLst/>
              <a:gdLst>
                <a:gd name="T0" fmla="*/ 4 w 146"/>
                <a:gd name="T1" fmla="*/ 186 h 200"/>
                <a:gd name="T2" fmla="*/ 4 w 146"/>
                <a:gd name="T3" fmla="*/ 192 h 200"/>
                <a:gd name="T4" fmla="*/ 4 w 146"/>
                <a:gd name="T5" fmla="*/ 195 h 200"/>
                <a:gd name="T6" fmla="*/ 4 w 146"/>
                <a:gd name="T7" fmla="*/ 186 h 200"/>
                <a:gd name="T8" fmla="*/ 4 w 146"/>
                <a:gd name="T9" fmla="*/ 195 h 200"/>
                <a:gd name="T10" fmla="*/ 4 w 146"/>
                <a:gd name="T11" fmla="*/ 174 h 200"/>
                <a:gd name="T12" fmla="*/ 4 w 146"/>
                <a:gd name="T13" fmla="*/ 132 h 200"/>
                <a:gd name="T14" fmla="*/ 4 w 146"/>
                <a:gd name="T15" fmla="*/ 100 h 200"/>
                <a:gd name="T16" fmla="*/ 4 w 146"/>
                <a:gd name="T17" fmla="*/ 40 h 200"/>
                <a:gd name="T18" fmla="*/ 4 w 146"/>
                <a:gd name="T19" fmla="*/ 0 h 200"/>
                <a:gd name="T20" fmla="*/ 4 w 146"/>
                <a:gd name="T21" fmla="*/ 6 h 200"/>
                <a:gd name="T22" fmla="*/ 4 w 146"/>
                <a:gd name="T23" fmla="*/ 0 h 200"/>
                <a:gd name="T24" fmla="*/ 4 w 146"/>
                <a:gd name="T25" fmla="*/ 7 h 200"/>
                <a:gd name="T26" fmla="*/ 4 w 146"/>
                <a:gd name="T27" fmla="*/ 19 h 200"/>
                <a:gd name="T28" fmla="*/ 4 w 146"/>
                <a:gd name="T29" fmla="*/ 46 h 200"/>
                <a:gd name="T30" fmla="*/ 4 w 146"/>
                <a:gd name="T31" fmla="*/ 35 h 200"/>
                <a:gd name="T32" fmla="*/ 4 w 146"/>
                <a:gd name="T33" fmla="*/ 42 h 200"/>
                <a:gd name="T34" fmla="*/ 4 w 146"/>
                <a:gd name="T35" fmla="*/ 49 h 200"/>
                <a:gd name="T36" fmla="*/ 4 w 146"/>
                <a:gd name="T37" fmla="*/ 57 h 200"/>
                <a:gd name="T38" fmla="*/ 4 w 146"/>
                <a:gd name="T39" fmla="*/ 78 h 200"/>
                <a:gd name="T40" fmla="*/ 4 w 146"/>
                <a:gd name="T41" fmla="*/ 110 h 200"/>
                <a:gd name="T42" fmla="*/ 4 w 146"/>
                <a:gd name="T43" fmla="*/ 138 h 200"/>
                <a:gd name="T44" fmla="*/ 4 w 146"/>
                <a:gd name="T45" fmla="*/ 128 h 200"/>
                <a:gd name="T46" fmla="*/ 3 w 146"/>
                <a:gd name="T47" fmla="*/ 146 h 200"/>
                <a:gd name="T48" fmla="*/ 4 w 146"/>
                <a:gd name="T49" fmla="*/ 163 h 200"/>
                <a:gd name="T50" fmla="*/ 0 w 146"/>
                <a:gd name="T51" fmla="*/ 178 h 200"/>
                <a:gd name="T52" fmla="*/ 4 w 146"/>
                <a:gd name="T53" fmla="*/ 200 h 200"/>
                <a:gd name="T54" fmla="*/ 4 w 146"/>
                <a:gd name="T55" fmla="*/ 186 h 20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46"/>
                <a:gd name="T85" fmla="*/ 0 h 200"/>
                <a:gd name="T86" fmla="*/ 146 w 146"/>
                <a:gd name="T87" fmla="*/ 200 h 20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46" h="200">
                  <a:moveTo>
                    <a:pt x="28" y="186"/>
                  </a:moveTo>
                  <a:lnTo>
                    <a:pt x="32" y="192"/>
                  </a:lnTo>
                  <a:lnTo>
                    <a:pt x="43" y="195"/>
                  </a:lnTo>
                  <a:lnTo>
                    <a:pt x="59" y="186"/>
                  </a:lnTo>
                  <a:lnTo>
                    <a:pt x="64" y="195"/>
                  </a:lnTo>
                  <a:lnTo>
                    <a:pt x="91" y="174"/>
                  </a:lnTo>
                  <a:lnTo>
                    <a:pt x="100" y="132"/>
                  </a:lnTo>
                  <a:lnTo>
                    <a:pt x="128" y="100"/>
                  </a:lnTo>
                  <a:lnTo>
                    <a:pt x="134" y="40"/>
                  </a:lnTo>
                  <a:lnTo>
                    <a:pt x="146" y="0"/>
                  </a:lnTo>
                  <a:lnTo>
                    <a:pt x="133" y="6"/>
                  </a:lnTo>
                  <a:lnTo>
                    <a:pt x="121" y="0"/>
                  </a:lnTo>
                  <a:lnTo>
                    <a:pt x="105" y="7"/>
                  </a:lnTo>
                  <a:lnTo>
                    <a:pt x="95" y="19"/>
                  </a:lnTo>
                  <a:lnTo>
                    <a:pt x="94" y="46"/>
                  </a:lnTo>
                  <a:lnTo>
                    <a:pt x="42" y="35"/>
                  </a:lnTo>
                  <a:lnTo>
                    <a:pt x="52" y="42"/>
                  </a:lnTo>
                  <a:lnTo>
                    <a:pt x="49" y="49"/>
                  </a:lnTo>
                  <a:lnTo>
                    <a:pt x="59" y="57"/>
                  </a:lnTo>
                  <a:lnTo>
                    <a:pt x="53" y="78"/>
                  </a:lnTo>
                  <a:lnTo>
                    <a:pt x="58" y="110"/>
                  </a:lnTo>
                  <a:lnTo>
                    <a:pt x="53" y="138"/>
                  </a:lnTo>
                  <a:lnTo>
                    <a:pt x="25" y="128"/>
                  </a:lnTo>
                  <a:lnTo>
                    <a:pt x="3" y="146"/>
                  </a:lnTo>
                  <a:lnTo>
                    <a:pt x="6" y="163"/>
                  </a:lnTo>
                  <a:lnTo>
                    <a:pt x="0" y="178"/>
                  </a:lnTo>
                  <a:lnTo>
                    <a:pt x="13" y="200"/>
                  </a:lnTo>
                  <a:lnTo>
                    <a:pt x="28" y="18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31" name="Freeform 188"/>
            <p:cNvSpPr>
              <a:spLocks noChangeAspect="1"/>
            </p:cNvSpPr>
            <p:nvPr/>
          </p:nvSpPr>
          <p:spPr bwMode="auto">
            <a:xfrm>
              <a:off x="4465578" y="3522349"/>
              <a:ext cx="142511" cy="208069"/>
            </a:xfrm>
            <a:custGeom>
              <a:avLst/>
              <a:gdLst>
                <a:gd name="T0" fmla="*/ 5 w 113"/>
                <a:gd name="T1" fmla="*/ 9 h 145"/>
                <a:gd name="T2" fmla="*/ 5 w 113"/>
                <a:gd name="T3" fmla="*/ 16 h 145"/>
                <a:gd name="T4" fmla="*/ 5 w 113"/>
                <a:gd name="T5" fmla="*/ 24 h 145"/>
                <a:gd name="T6" fmla="*/ 5 w 113"/>
                <a:gd name="T7" fmla="*/ 45 h 145"/>
                <a:gd name="T8" fmla="*/ 5 w 113"/>
                <a:gd name="T9" fmla="*/ 77 h 145"/>
                <a:gd name="T10" fmla="*/ 5 w 113"/>
                <a:gd name="T11" fmla="*/ 105 h 145"/>
                <a:gd name="T12" fmla="*/ 5 w 113"/>
                <a:gd name="T13" fmla="*/ 95 h 145"/>
                <a:gd name="T14" fmla="*/ 5 w 113"/>
                <a:gd name="T15" fmla="*/ 113 h 145"/>
                <a:gd name="T16" fmla="*/ 5 w 113"/>
                <a:gd name="T17" fmla="*/ 130 h 145"/>
                <a:gd name="T18" fmla="*/ 5 w 113"/>
                <a:gd name="T19" fmla="*/ 145 h 145"/>
                <a:gd name="T20" fmla="*/ 5 w 113"/>
                <a:gd name="T21" fmla="*/ 115 h 145"/>
                <a:gd name="T22" fmla="*/ 0 w 113"/>
                <a:gd name="T23" fmla="*/ 71 h 145"/>
                <a:gd name="T24" fmla="*/ 5 w 113"/>
                <a:gd name="T25" fmla="*/ 62 h 145"/>
                <a:gd name="T26" fmla="*/ 5 w 113"/>
                <a:gd name="T27" fmla="*/ 51 h 145"/>
                <a:gd name="T28" fmla="*/ 5 w 113"/>
                <a:gd name="T29" fmla="*/ 31 h 145"/>
                <a:gd name="T30" fmla="*/ 5 w 113"/>
                <a:gd name="T31" fmla="*/ 26 h 145"/>
                <a:gd name="T32" fmla="*/ 5 w 113"/>
                <a:gd name="T33" fmla="*/ 0 h 145"/>
                <a:gd name="T34" fmla="*/ 5 w 113"/>
                <a:gd name="T35" fmla="*/ 2 h 145"/>
                <a:gd name="T36" fmla="*/ 5 w 113"/>
                <a:gd name="T37" fmla="*/ 9 h 14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3"/>
                <a:gd name="T58" fmla="*/ 0 h 145"/>
                <a:gd name="T59" fmla="*/ 113 w 113"/>
                <a:gd name="T60" fmla="*/ 145 h 14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3" h="145">
                  <a:moveTo>
                    <a:pt x="106" y="9"/>
                  </a:moveTo>
                  <a:lnTo>
                    <a:pt x="103" y="16"/>
                  </a:lnTo>
                  <a:lnTo>
                    <a:pt x="113" y="24"/>
                  </a:lnTo>
                  <a:lnTo>
                    <a:pt x="107" y="45"/>
                  </a:lnTo>
                  <a:lnTo>
                    <a:pt x="112" y="77"/>
                  </a:lnTo>
                  <a:lnTo>
                    <a:pt x="107" y="105"/>
                  </a:lnTo>
                  <a:lnTo>
                    <a:pt x="79" y="95"/>
                  </a:lnTo>
                  <a:lnTo>
                    <a:pt x="57" y="113"/>
                  </a:lnTo>
                  <a:lnTo>
                    <a:pt x="60" y="130"/>
                  </a:lnTo>
                  <a:lnTo>
                    <a:pt x="54" y="145"/>
                  </a:lnTo>
                  <a:lnTo>
                    <a:pt x="23" y="115"/>
                  </a:lnTo>
                  <a:lnTo>
                    <a:pt x="0" y="71"/>
                  </a:lnTo>
                  <a:lnTo>
                    <a:pt x="11" y="62"/>
                  </a:lnTo>
                  <a:lnTo>
                    <a:pt x="12" y="51"/>
                  </a:lnTo>
                  <a:lnTo>
                    <a:pt x="18" y="31"/>
                  </a:lnTo>
                  <a:lnTo>
                    <a:pt x="54" y="26"/>
                  </a:lnTo>
                  <a:lnTo>
                    <a:pt x="51" y="0"/>
                  </a:lnTo>
                  <a:lnTo>
                    <a:pt x="96" y="2"/>
                  </a:lnTo>
                  <a:lnTo>
                    <a:pt x="106" y="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32" name="Freeform 189"/>
            <p:cNvSpPr>
              <a:spLocks noChangeAspect="1"/>
            </p:cNvSpPr>
            <p:nvPr/>
          </p:nvSpPr>
          <p:spPr bwMode="auto">
            <a:xfrm>
              <a:off x="4479550" y="3522349"/>
              <a:ext cx="54490" cy="44484"/>
            </a:xfrm>
            <a:custGeom>
              <a:avLst/>
              <a:gdLst>
                <a:gd name="T0" fmla="*/ 5 w 43"/>
                <a:gd name="T1" fmla="*/ 26 h 31"/>
                <a:gd name="T2" fmla="*/ 5 w 43"/>
                <a:gd name="T3" fmla="*/ 0 h 31"/>
                <a:gd name="T4" fmla="*/ 5 w 43"/>
                <a:gd name="T5" fmla="*/ 2 h 31"/>
                <a:gd name="T6" fmla="*/ 0 w 43"/>
                <a:gd name="T7" fmla="*/ 26 h 31"/>
                <a:gd name="T8" fmla="*/ 5 w 43"/>
                <a:gd name="T9" fmla="*/ 31 h 31"/>
                <a:gd name="T10" fmla="*/ 5 w 43"/>
                <a:gd name="T11" fmla="*/ 26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3"/>
                <a:gd name="T19" fmla="*/ 0 h 31"/>
                <a:gd name="T20" fmla="*/ 43 w 43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3" h="31">
                  <a:moveTo>
                    <a:pt x="43" y="26"/>
                  </a:moveTo>
                  <a:lnTo>
                    <a:pt x="40" y="0"/>
                  </a:lnTo>
                  <a:lnTo>
                    <a:pt x="9" y="2"/>
                  </a:lnTo>
                  <a:lnTo>
                    <a:pt x="0" y="26"/>
                  </a:lnTo>
                  <a:lnTo>
                    <a:pt x="6" y="31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33" name="Freeform 190"/>
            <p:cNvSpPr>
              <a:spLocks noChangeAspect="1"/>
            </p:cNvSpPr>
            <p:nvPr/>
          </p:nvSpPr>
          <p:spPr bwMode="auto">
            <a:xfrm>
              <a:off x="4160995" y="3229616"/>
              <a:ext cx="113171" cy="209504"/>
            </a:xfrm>
            <a:custGeom>
              <a:avLst/>
              <a:gdLst>
                <a:gd name="T0" fmla="*/ 5 w 90"/>
                <a:gd name="T1" fmla="*/ 97 h 146"/>
                <a:gd name="T2" fmla="*/ 5 w 90"/>
                <a:gd name="T3" fmla="*/ 47 h 146"/>
                <a:gd name="T4" fmla="*/ 5 w 90"/>
                <a:gd name="T5" fmla="*/ 0 h 146"/>
                <a:gd name="T6" fmla="*/ 5 w 90"/>
                <a:gd name="T7" fmla="*/ 2 h 146"/>
                <a:gd name="T8" fmla="*/ 5 w 90"/>
                <a:gd name="T9" fmla="*/ 7 h 146"/>
                <a:gd name="T10" fmla="*/ 5 w 90"/>
                <a:gd name="T11" fmla="*/ 36 h 146"/>
                <a:gd name="T12" fmla="*/ 5 w 90"/>
                <a:gd name="T13" fmla="*/ 65 h 146"/>
                <a:gd name="T14" fmla="*/ 1 w 90"/>
                <a:gd name="T15" fmla="*/ 104 h 146"/>
                <a:gd name="T16" fmla="*/ 5 w 90"/>
                <a:gd name="T17" fmla="*/ 137 h 146"/>
                <a:gd name="T18" fmla="*/ 0 w 90"/>
                <a:gd name="T19" fmla="*/ 140 h 146"/>
                <a:gd name="T20" fmla="*/ 5 w 90"/>
                <a:gd name="T21" fmla="*/ 146 h 146"/>
                <a:gd name="T22" fmla="*/ 5 w 90"/>
                <a:gd name="T23" fmla="*/ 122 h 146"/>
                <a:gd name="T24" fmla="*/ 5 w 90"/>
                <a:gd name="T25" fmla="*/ 122 h 146"/>
                <a:gd name="T26" fmla="*/ 5 w 90"/>
                <a:gd name="T27" fmla="*/ 114 h 146"/>
                <a:gd name="T28" fmla="*/ 5 w 90"/>
                <a:gd name="T29" fmla="*/ 97 h 1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0"/>
                <a:gd name="T46" fmla="*/ 0 h 146"/>
                <a:gd name="T47" fmla="*/ 90 w 90"/>
                <a:gd name="T48" fmla="*/ 146 h 1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0" h="146">
                  <a:moveTo>
                    <a:pt x="81" y="97"/>
                  </a:moveTo>
                  <a:lnTo>
                    <a:pt x="76" y="47"/>
                  </a:lnTo>
                  <a:lnTo>
                    <a:pt x="62" y="0"/>
                  </a:lnTo>
                  <a:lnTo>
                    <a:pt x="12" y="2"/>
                  </a:lnTo>
                  <a:lnTo>
                    <a:pt x="7" y="7"/>
                  </a:lnTo>
                  <a:lnTo>
                    <a:pt x="12" y="36"/>
                  </a:lnTo>
                  <a:lnTo>
                    <a:pt x="17" y="65"/>
                  </a:lnTo>
                  <a:lnTo>
                    <a:pt x="1" y="104"/>
                  </a:lnTo>
                  <a:lnTo>
                    <a:pt x="11" y="137"/>
                  </a:lnTo>
                  <a:lnTo>
                    <a:pt x="0" y="140"/>
                  </a:lnTo>
                  <a:lnTo>
                    <a:pt x="24" y="146"/>
                  </a:lnTo>
                  <a:lnTo>
                    <a:pt x="71" y="122"/>
                  </a:lnTo>
                  <a:lnTo>
                    <a:pt x="85" y="122"/>
                  </a:lnTo>
                  <a:lnTo>
                    <a:pt x="90" y="114"/>
                  </a:lnTo>
                  <a:lnTo>
                    <a:pt x="81" y="9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34" name="Freeform 191"/>
            <p:cNvSpPr>
              <a:spLocks noChangeAspect="1"/>
            </p:cNvSpPr>
            <p:nvPr/>
          </p:nvSpPr>
          <p:spPr bwMode="auto">
            <a:xfrm>
              <a:off x="4239236" y="3229616"/>
              <a:ext cx="54490" cy="163586"/>
            </a:xfrm>
            <a:custGeom>
              <a:avLst/>
              <a:gdLst>
                <a:gd name="T0" fmla="*/ 6 w 42"/>
                <a:gd name="T1" fmla="*/ 97 h 114"/>
                <a:gd name="T2" fmla="*/ 6 w 42"/>
                <a:gd name="T3" fmla="*/ 47 h 114"/>
                <a:gd name="T4" fmla="*/ 0 w 42"/>
                <a:gd name="T5" fmla="*/ 0 h 114"/>
                <a:gd name="T6" fmla="*/ 6 w 42"/>
                <a:gd name="T7" fmla="*/ 2 h 114"/>
                <a:gd name="T8" fmla="*/ 6 w 42"/>
                <a:gd name="T9" fmla="*/ 15 h 114"/>
                <a:gd name="T10" fmla="*/ 6 w 42"/>
                <a:gd name="T11" fmla="*/ 30 h 114"/>
                <a:gd name="T12" fmla="*/ 6 w 42"/>
                <a:gd name="T13" fmla="*/ 59 h 114"/>
                <a:gd name="T14" fmla="*/ 6 w 42"/>
                <a:gd name="T15" fmla="*/ 112 h 114"/>
                <a:gd name="T16" fmla="*/ 6 w 42"/>
                <a:gd name="T17" fmla="*/ 114 h 114"/>
                <a:gd name="T18" fmla="*/ 6 w 42"/>
                <a:gd name="T19" fmla="*/ 97 h 1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2"/>
                <a:gd name="T31" fmla="*/ 0 h 114"/>
                <a:gd name="T32" fmla="*/ 42 w 42"/>
                <a:gd name="T33" fmla="*/ 114 h 1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2" h="114">
                  <a:moveTo>
                    <a:pt x="19" y="97"/>
                  </a:moveTo>
                  <a:lnTo>
                    <a:pt x="14" y="47"/>
                  </a:lnTo>
                  <a:lnTo>
                    <a:pt x="0" y="0"/>
                  </a:lnTo>
                  <a:lnTo>
                    <a:pt x="22" y="2"/>
                  </a:lnTo>
                  <a:lnTo>
                    <a:pt x="18" y="15"/>
                  </a:lnTo>
                  <a:lnTo>
                    <a:pt x="31" y="30"/>
                  </a:lnTo>
                  <a:lnTo>
                    <a:pt x="39" y="59"/>
                  </a:lnTo>
                  <a:lnTo>
                    <a:pt x="42" y="112"/>
                  </a:lnTo>
                  <a:lnTo>
                    <a:pt x="28" y="114"/>
                  </a:lnTo>
                  <a:lnTo>
                    <a:pt x="19" y="9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35" name="Freeform 192"/>
            <p:cNvSpPr>
              <a:spLocks noChangeAspect="1"/>
            </p:cNvSpPr>
            <p:nvPr/>
          </p:nvSpPr>
          <p:spPr bwMode="auto">
            <a:xfrm>
              <a:off x="4311889" y="3140649"/>
              <a:ext cx="297597" cy="315692"/>
            </a:xfrm>
            <a:custGeom>
              <a:avLst/>
              <a:gdLst>
                <a:gd name="T0" fmla="*/ 5 w 236"/>
                <a:gd name="T1" fmla="*/ 15 h 220"/>
                <a:gd name="T2" fmla="*/ 5 w 236"/>
                <a:gd name="T3" fmla="*/ 0 h 220"/>
                <a:gd name="T4" fmla="*/ 5 w 236"/>
                <a:gd name="T5" fmla="*/ 0 h 220"/>
                <a:gd name="T6" fmla="*/ 5 w 236"/>
                <a:gd name="T7" fmla="*/ 14 h 220"/>
                <a:gd name="T8" fmla="*/ 5 w 236"/>
                <a:gd name="T9" fmla="*/ 11 h 220"/>
                <a:gd name="T10" fmla="*/ 5 w 236"/>
                <a:gd name="T11" fmla="*/ 24 h 220"/>
                <a:gd name="T12" fmla="*/ 5 w 236"/>
                <a:gd name="T13" fmla="*/ 11 h 220"/>
                <a:gd name="T14" fmla="*/ 5 w 236"/>
                <a:gd name="T15" fmla="*/ 19 h 220"/>
                <a:gd name="T16" fmla="*/ 5 w 236"/>
                <a:gd name="T17" fmla="*/ 0 h 220"/>
                <a:gd name="T18" fmla="*/ 5 w 236"/>
                <a:gd name="T19" fmla="*/ 2 h 220"/>
                <a:gd name="T20" fmla="*/ 5 w 236"/>
                <a:gd name="T21" fmla="*/ 26 h 220"/>
                <a:gd name="T22" fmla="*/ 5 w 236"/>
                <a:gd name="T23" fmla="*/ 48 h 220"/>
                <a:gd name="T24" fmla="*/ 5 w 236"/>
                <a:gd name="T25" fmla="*/ 74 h 220"/>
                <a:gd name="T26" fmla="*/ 2 w 236"/>
                <a:gd name="T27" fmla="*/ 122 h 220"/>
                <a:gd name="T28" fmla="*/ 0 w 236"/>
                <a:gd name="T29" fmla="*/ 172 h 220"/>
                <a:gd name="T30" fmla="*/ 5 w 236"/>
                <a:gd name="T31" fmla="*/ 168 h 220"/>
                <a:gd name="T32" fmla="*/ 5 w 236"/>
                <a:gd name="T33" fmla="*/ 182 h 220"/>
                <a:gd name="T34" fmla="*/ 5 w 236"/>
                <a:gd name="T35" fmla="*/ 212 h 220"/>
                <a:gd name="T36" fmla="*/ 5 w 236"/>
                <a:gd name="T37" fmla="*/ 220 h 220"/>
                <a:gd name="T38" fmla="*/ 5 w 236"/>
                <a:gd name="T39" fmla="*/ 209 h 220"/>
                <a:gd name="T40" fmla="*/ 5 w 236"/>
                <a:gd name="T41" fmla="*/ 160 h 220"/>
                <a:gd name="T42" fmla="*/ 5 w 236"/>
                <a:gd name="T43" fmla="*/ 159 h 220"/>
                <a:gd name="T44" fmla="*/ 5 w 236"/>
                <a:gd name="T45" fmla="*/ 168 h 220"/>
                <a:gd name="T46" fmla="*/ 5 w 236"/>
                <a:gd name="T47" fmla="*/ 163 h 220"/>
                <a:gd name="T48" fmla="*/ 5 w 236"/>
                <a:gd name="T49" fmla="*/ 122 h 220"/>
                <a:gd name="T50" fmla="*/ 5 w 236"/>
                <a:gd name="T51" fmla="*/ 112 h 220"/>
                <a:gd name="T52" fmla="*/ 5 w 236"/>
                <a:gd name="T53" fmla="*/ 68 h 220"/>
                <a:gd name="T54" fmla="*/ 5 w 236"/>
                <a:gd name="T55" fmla="*/ 47 h 220"/>
                <a:gd name="T56" fmla="*/ 5 w 236"/>
                <a:gd name="T57" fmla="*/ 30 h 220"/>
                <a:gd name="T58" fmla="*/ 5 w 236"/>
                <a:gd name="T59" fmla="*/ 15 h 22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36"/>
                <a:gd name="T91" fmla="*/ 0 h 220"/>
                <a:gd name="T92" fmla="*/ 236 w 236"/>
                <a:gd name="T93" fmla="*/ 220 h 22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36" h="220">
                  <a:moveTo>
                    <a:pt x="230" y="15"/>
                  </a:moveTo>
                  <a:lnTo>
                    <a:pt x="218" y="0"/>
                  </a:lnTo>
                  <a:lnTo>
                    <a:pt x="212" y="0"/>
                  </a:lnTo>
                  <a:lnTo>
                    <a:pt x="194" y="14"/>
                  </a:lnTo>
                  <a:lnTo>
                    <a:pt x="157" y="11"/>
                  </a:lnTo>
                  <a:lnTo>
                    <a:pt x="133" y="24"/>
                  </a:lnTo>
                  <a:lnTo>
                    <a:pt x="104" y="11"/>
                  </a:lnTo>
                  <a:lnTo>
                    <a:pt x="88" y="19"/>
                  </a:lnTo>
                  <a:lnTo>
                    <a:pt x="60" y="0"/>
                  </a:lnTo>
                  <a:lnTo>
                    <a:pt x="41" y="2"/>
                  </a:lnTo>
                  <a:lnTo>
                    <a:pt x="22" y="26"/>
                  </a:lnTo>
                  <a:lnTo>
                    <a:pt x="19" y="48"/>
                  </a:lnTo>
                  <a:lnTo>
                    <a:pt x="23" y="74"/>
                  </a:lnTo>
                  <a:lnTo>
                    <a:pt x="2" y="122"/>
                  </a:lnTo>
                  <a:lnTo>
                    <a:pt x="0" y="172"/>
                  </a:lnTo>
                  <a:lnTo>
                    <a:pt x="26" y="168"/>
                  </a:lnTo>
                  <a:lnTo>
                    <a:pt x="47" y="182"/>
                  </a:lnTo>
                  <a:lnTo>
                    <a:pt x="56" y="212"/>
                  </a:lnTo>
                  <a:lnTo>
                    <a:pt x="66" y="220"/>
                  </a:lnTo>
                  <a:lnTo>
                    <a:pt x="117" y="209"/>
                  </a:lnTo>
                  <a:lnTo>
                    <a:pt x="140" y="160"/>
                  </a:lnTo>
                  <a:lnTo>
                    <a:pt x="159" y="159"/>
                  </a:lnTo>
                  <a:lnTo>
                    <a:pt x="168" y="168"/>
                  </a:lnTo>
                  <a:lnTo>
                    <a:pt x="178" y="163"/>
                  </a:lnTo>
                  <a:lnTo>
                    <a:pt x="194" y="122"/>
                  </a:lnTo>
                  <a:lnTo>
                    <a:pt x="204" y="112"/>
                  </a:lnTo>
                  <a:lnTo>
                    <a:pt x="216" y="68"/>
                  </a:lnTo>
                  <a:lnTo>
                    <a:pt x="236" y="47"/>
                  </a:lnTo>
                  <a:lnTo>
                    <a:pt x="230" y="30"/>
                  </a:lnTo>
                  <a:lnTo>
                    <a:pt x="230" y="1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36" name="Freeform 193"/>
            <p:cNvSpPr>
              <a:spLocks noChangeAspect="1"/>
            </p:cNvSpPr>
            <p:nvPr/>
          </p:nvSpPr>
          <p:spPr bwMode="auto">
            <a:xfrm>
              <a:off x="4262988" y="3189437"/>
              <a:ext cx="78242" cy="200895"/>
            </a:xfrm>
            <a:custGeom>
              <a:avLst/>
              <a:gdLst>
                <a:gd name="T0" fmla="*/ 5 w 62"/>
                <a:gd name="T1" fmla="*/ 87 h 140"/>
                <a:gd name="T2" fmla="*/ 5 w 62"/>
                <a:gd name="T3" fmla="*/ 58 h 140"/>
                <a:gd name="T4" fmla="*/ 0 w 62"/>
                <a:gd name="T5" fmla="*/ 43 h 140"/>
                <a:gd name="T6" fmla="*/ 4 w 62"/>
                <a:gd name="T7" fmla="*/ 30 h 140"/>
                <a:gd name="T8" fmla="*/ 5 w 62"/>
                <a:gd name="T9" fmla="*/ 19 h 140"/>
                <a:gd name="T10" fmla="*/ 5 w 62"/>
                <a:gd name="T11" fmla="*/ 21 h 140"/>
                <a:gd name="T12" fmla="*/ 5 w 62"/>
                <a:gd name="T13" fmla="*/ 9 h 140"/>
                <a:gd name="T14" fmla="*/ 5 w 62"/>
                <a:gd name="T15" fmla="*/ 1 h 140"/>
                <a:gd name="T16" fmla="*/ 5 w 62"/>
                <a:gd name="T17" fmla="*/ 0 h 140"/>
                <a:gd name="T18" fmla="*/ 5 w 62"/>
                <a:gd name="T19" fmla="*/ 14 h 140"/>
                <a:gd name="T20" fmla="*/ 5 w 62"/>
                <a:gd name="T21" fmla="*/ 40 h 140"/>
                <a:gd name="T22" fmla="*/ 5 w 62"/>
                <a:gd name="T23" fmla="*/ 88 h 140"/>
                <a:gd name="T24" fmla="*/ 5 w 62"/>
                <a:gd name="T25" fmla="*/ 138 h 140"/>
                <a:gd name="T26" fmla="*/ 5 w 62"/>
                <a:gd name="T27" fmla="*/ 140 h 140"/>
                <a:gd name="T28" fmla="*/ 5 w 62"/>
                <a:gd name="T29" fmla="*/ 87 h 1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2"/>
                <a:gd name="T46" fmla="*/ 0 h 140"/>
                <a:gd name="T47" fmla="*/ 62 w 62"/>
                <a:gd name="T48" fmla="*/ 140 h 1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2" h="140">
                  <a:moveTo>
                    <a:pt x="21" y="87"/>
                  </a:moveTo>
                  <a:lnTo>
                    <a:pt x="13" y="58"/>
                  </a:lnTo>
                  <a:lnTo>
                    <a:pt x="0" y="43"/>
                  </a:lnTo>
                  <a:lnTo>
                    <a:pt x="4" y="30"/>
                  </a:lnTo>
                  <a:lnTo>
                    <a:pt x="15" y="19"/>
                  </a:lnTo>
                  <a:lnTo>
                    <a:pt x="25" y="21"/>
                  </a:lnTo>
                  <a:lnTo>
                    <a:pt x="34" y="9"/>
                  </a:lnTo>
                  <a:lnTo>
                    <a:pt x="39" y="1"/>
                  </a:lnTo>
                  <a:lnTo>
                    <a:pt x="51" y="0"/>
                  </a:lnTo>
                  <a:lnTo>
                    <a:pt x="58" y="14"/>
                  </a:lnTo>
                  <a:lnTo>
                    <a:pt x="62" y="40"/>
                  </a:lnTo>
                  <a:lnTo>
                    <a:pt x="41" y="88"/>
                  </a:lnTo>
                  <a:lnTo>
                    <a:pt x="39" y="138"/>
                  </a:lnTo>
                  <a:lnTo>
                    <a:pt x="24" y="140"/>
                  </a:lnTo>
                  <a:lnTo>
                    <a:pt x="21" y="8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37" name="Freeform 194"/>
            <p:cNvSpPr>
              <a:spLocks noChangeAspect="1"/>
            </p:cNvSpPr>
            <p:nvPr/>
          </p:nvSpPr>
          <p:spPr bwMode="auto">
            <a:xfrm>
              <a:off x="4028263" y="3242531"/>
              <a:ext cx="155086" cy="209504"/>
            </a:xfrm>
            <a:custGeom>
              <a:avLst/>
              <a:gdLst>
                <a:gd name="T0" fmla="*/ 5 w 123"/>
                <a:gd name="T1" fmla="*/ 128 h 146"/>
                <a:gd name="T2" fmla="*/ 5 w 123"/>
                <a:gd name="T3" fmla="*/ 95 h 146"/>
                <a:gd name="T4" fmla="*/ 5 w 123"/>
                <a:gd name="T5" fmla="*/ 56 h 146"/>
                <a:gd name="T6" fmla="*/ 5 w 123"/>
                <a:gd name="T7" fmla="*/ 27 h 146"/>
                <a:gd name="T8" fmla="*/ 5 w 123"/>
                <a:gd name="T9" fmla="*/ 16 h 146"/>
                <a:gd name="T10" fmla="*/ 5 w 123"/>
                <a:gd name="T11" fmla="*/ 20 h 146"/>
                <a:gd name="T12" fmla="*/ 5 w 123"/>
                <a:gd name="T13" fmla="*/ 8 h 146"/>
                <a:gd name="T14" fmla="*/ 5 w 123"/>
                <a:gd name="T15" fmla="*/ 10 h 146"/>
                <a:gd name="T16" fmla="*/ 5 w 123"/>
                <a:gd name="T17" fmla="*/ 0 h 146"/>
                <a:gd name="T18" fmla="*/ 5 w 123"/>
                <a:gd name="T19" fmla="*/ 11 h 146"/>
                <a:gd name="T20" fmla="*/ 5 w 123"/>
                <a:gd name="T21" fmla="*/ 6 h 146"/>
                <a:gd name="T22" fmla="*/ 5 w 123"/>
                <a:gd name="T23" fmla="*/ 11 h 146"/>
                <a:gd name="T24" fmla="*/ 5 w 123"/>
                <a:gd name="T25" fmla="*/ 24 h 146"/>
                <a:gd name="T26" fmla="*/ 5 w 123"/>
                <a:gd name="T27" fmla="*/ 49 h 146"/>
                <a:gd name="T28" fmla="*/ 5 w 123"/>
                <a:gd name="T29" fmla="*/ 56 h 146"/>
                <a:gd name="T30" fmla="*/ 5 w 123"/>
                <a:gd name="T31" fmla="*/ 67 h 146"/>
                <a:gd name="T32" fmla="*/ 0 w 123"/>
                <a:gd name="T33" fmla="*/ 73 h 146"/>
                <a:gd name="T34" fmla="*/ 2 w 123"/>
                <a:gd name="T35" fmla="*/ 98 h 146"/>
                <a:gd name="T36" fmla="*/ 5 w 123"/>
                <a:gd name="T37" fmla="*/ 115 h 146"/>
                <a:gd name="T38" fmla="*/ 5 w 123"/>
                <a:gd name="T39" fmla="*/ 146 h 146"/>
                <a:gd name="T40" fmla="*/ 5 w 123"/>
                <a:gd name="T41" fmla="*/ 131 h 146"/>
                <a:gd name="T42" fmla="*/ 5 w 123"/>
                <a:gd name="T43" fmla="*/ 126 h 146"/>
                <a:gd name="T44" fmla="*/ 5 w 123"/>
                <a:gd name="T45" fmla="*/ 131 h 146"/>
                <a:gd name="T46" fmla="*/ 5 w 123"/>
                <a:gd name="T47" fmla="*/ 128 h 14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3"/>
                <a:gd name="T73" fmla="*/ 0 h 146"/>
                <a:gd name="T74" fmla="*/ 123 w 123"/>
                <a:gd name="T75" fmla="*/ 146 h 14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3" h="146">
                  <a:moveTo>
                    <a:pt x="117" y="128"/>
                  </a:moveTo>
                  <a:lnTo>
                    <a:pt x="107" y="95"/>
                  </a:lnTo>
                  <a:lnTo>
                    <a:pt x="123" y="56"/>
                  </a:lnTo>
                  <a:lnTo>
                    <a:pt x="118" y="27"/>
                  </a:lnTo>
                  <a:lnTo>
                    <a:pt x="100" y="16"/>
                  </a:lnTo>
                  <a:lnTo>
                    <a:pt x="74" y="20"/>
                  </a:lnTo>
                  <a:lnTo>
                    <a:pt x="67" y="8"/>
                  </a:lnTo>
                  <a:lnTo>
                    <a:pt x="50" y="10"/>
                  </a:lnTo>
                  <a:lnTo>
                    <a:pt x="43" y="0"/>
                  </a:lnTo>
                  <a:lnTo>
                    <a:pt x="27" y="11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8" y="24"/>
                  </a:lnTo>
                  <a:lnTo>
                    <a:pt x="16" y="49"/>
                  </a:lnTo>
                  <a:lnTo>
                    <a:pt x="5" y="56"/>
                  </a:lnTo>
                  <a:lnTo>
                    <a:pt x="8" y="67"/>
                  </a:lnTo>
                  <a:lnTo>
                    <a:pt x="0" y="73"/>
                  </a:lnTo>
                  <a:lnTo>
                    <a:pt x="2" y="98"/>
                  </a:lnTo>
                  <a:lnTo>
                    <a:pt x="21" y="115"/>
                  </a:lnTo>
                  <a:lnTo>
                    <a:pt x="17" y="146"/>
                  </a:lnTo>
                  <a:lnTo>
                    <a:pt x="51" y="131"/>
                  </a:lnTo>
                  <a:lnTo>
                    <a:pt x="83" y="126"/>
                  </a:lnTo>
                  <a:lnTo>
                    <a:pt x="106" y="131"/>
                  </a:lnTo>
                  <a:lnTo>
                    <a:pt x="117" y="12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38" name="Freeform 195"/>
            <p:cNvSpPr>
              <a:spLocks noChangeAspect="1"/>
            </p:cNvSpPr>
            <p:nvPr/>
          </p:nvSpPr>
          <p:spPr bwMode="auto">
            <a:xfrm>
              <a:off x="3951419" y="3315714"/>
              <a:ext cx="103391" cy="136321"/>
            </a:xfrm>
            <a:custGeom>
              <a:avLst/>
              <a:gdLst>
                <a:gd name="T0" fmla="*/ 5 w 82"/>
                <a:gd name="T1" fmla="*/ 22 h 95"/>
                <a:gd name="T2" fmla="*/ 5 w 82"/>
                <a:gd name="T3" fmla="*/ 47 h 95"/>
                <a:gd name="T4" fmla="*/ 5 w 82"/>
                <a:gd name="T5" fmla="*/ 64 h 95"/>
                <a:gd name="T6" fmla="*/ 5 w 82"/>
                <a:gd name="T7" fmla="*/ 95 h 95"/>
                <a:gd name="T8" fmla="*/ 5 w 82"/>
                <a:gd name="T9" fmla="*/ 92 h 95"/>
                <a:gd name="T10" fmla="*/ 0 w 82"/>
                <a:gd name="T11" fmla="*/ 37 h 95"/>
                <a:gd name="T12" fmla="*/ 1 w 82"/>
                <a:gd name="T13" fmla="*/ 34 h 95"/>
                <a:gd name="T14" fmla="*/ 5 w 82"/>
                <a:gd name="T15" fmla="*/ 3 h 95"/>
                <a:gd name="T16" fmla="*/ 5 w 82"/>
                <a:gd name="T17" fmla="*/ 0 h 95"/>
                <a:gd name="T18" fmla="*/ 5 w 82"/>
                <a:gd name="T19" fmla="*/ 29 h 95"/>
                <a:gd name="T20" fmla="*/ 5 w 82"/>
                <a:gd name="T21" fmla="*/ 22 h 9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2"/>
                <a:gd name="T34" fmla="*/ 0 h 95"/>
                <a:gd name="T35" fmla="*/ 82 w 82"/>
                <a:gd name="T36" fmla="*/ 95 h 9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2" h="95">
                  <a:moveTo>
                    <a:pt x="61" y="22"/>
                  </a:moveTo>
                  <a:lnTo>
                    <a:pt x="63" y="47"/>
                  </a:lnTo>
                  <a:lnTo>
                    <a:pt x="82" y="64"/>
                  </a:lnTo>
                  <a:lnTo>
                    <a:pt x="78" y="95"/>
                  </a:lnTo>
                  <a:lnTo>
                    <a:pt x="63" y="92"/>
                  </a:lnTo>
                  <a:lnTo>
                    <a:pt x="0" y="37"/>
                  </a:lnTo>
                  <a:lnTo>
                    <a:pt x="1" y="34"/>
                  </a:lnTo>
                  <a:lnTo>
                    <a:pt x="24" y="3"/>
                  </a:lnTo>
                  <a:lnTo>
                    <a:pt x="37" y="0"/>
                  </a:lnTo>
                  <a:lnTo>
                    <a:pt x="49" y="29"/>
                  </a:lnTo>
                  <a:lnTo>
                    <a:pt x="61" y="2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39" name="Freeform 196"/>
            <p:cNvSpPr>
              <a:spLocks noChangeAspect="1"/>
            </p:cNvSpPr>
            <p:nvPr/>
          </p:nvSpPr>
          <p:spPr bwMode="auto">
            <a:xfrm>
              <a:off x="3803319" y="3045941"/>
              <a:ext cx="156483" cy="140626"/>
            </a:xfrm>
            <a:custGeom>
              <a:avLst/>
              <a:gdLst>
                <a:gd name="T0" fmla="*/ 5 w 123"/>
                <a:gd name="T1" fmla="*/ 44 h 98"/>
                <a:gd name="T2" fmla="*/ 5 w 123"/>
                <a:gd name="T3" fmla="*/ 97 h 98"/>
                <a:gd name="T4" fmla="*/ 5 w 123"/>
                <a:gd name="T5" fmla="*/ 91 h 98"/>
                <a:gd name="T6" fmla="*/ 5 w 123"/>
                <a:gd name="T7" fmla="*/ 97 h 98"/>
                <a:gd name="T8" fmla="*/ 5 w 123"/>
                <a:gd name="T9" fmla="*/ 98 h 98"/>
                <a:gd name="T10" fmla="*/ 5 w 123"/>
                <a:gd name="T11" fmla="*/ 81 h 98"/>
                <a:gd name="T12" fmla="*/ 5 w 123"/>
                <a:gd name="T13" fmla="*/ 83 h 98"/>
                <a:gd name="T14" fmla="*/ 5 w 123"/>
                <a:gd name="T15" fmla="*/ 73 h 98"/>
                <a:gd name="T16" fmla="*/ 5 w 123"/>
                <a:gd name="T17" fmla="*/ 77 h 98"/>
                <a:gd name="T18" fmla="*/ 5 w 123"/>
                <a:gd name="T19" fmla="*/ 70 h 98"/>
                <a:gd name="T20" fmla="*/ 5 w 123"/>
                <a:gd name="T21" fmla="*/ 63 h 98"/>
                <a:gd name="T22" fmla="*/ 5 w 123"/>
                <a:gd name="T23" fmla="*/ 68 h 98"/>
                <a:gd name="T24" fmla="*/ 5 w 123"/>
                <a:gd name="T25" fmla="*/ 68 h 98"/>
                <a:gd name="T26" fmla="*/ 5 w 123"/>
                <a:gd name="T27" fmla="*/ 62 h 98"/>
                <a:gd name="T28" fmla="*/ 0 w 123"/>
                <a:gd name="T29" fmla="*/ 45 h 98"/>
                <a:gd name="T30" fmla="*/ 5 w 123"/>
                <a:gd name="T31" fmla="*/ 18 h 98"/>
                <a:gd name="T32" fmla="*/ 5 w 123"/>
                <a:gd name="T33" fmla="*/ 4 h 98"/>
                <a:gd name="T34" fmla="*/ 5 w 123"/>
                <a:gd name="T35" fmla="*/ 0 h 98"/>
                <a:gd name="T36" fmla="*/ 5 w 123"/>
                <a:gd name="T37" fmla="*/ 16 h 98"/>
                <a:gd name="T38" fmla="*/ 5 w 123"/>
                <a:gd name="T39" fmla="*/ 44 h 9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23"/>
                <a:gd name="T61" fmla="*/ 0 h 98"/>
                <a:gd name="T62" fmla="*/ 123 w 123"/>
                <a:gd name="T63" fmla="*/ 98 h 9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23" h="98">
                  <a:moveTo>
                    <a:pt x="107" y="44"/>
                  </a:moveTo>
                  <a:lnTo>
                    <a:pt x="123" y="97"/>
                  </a:lnTo>
                  <a:lnTo>
                    <a:pt x="75" y="91"/>
                  </a:lnTo>
                  <a:lnTo>
                    <a:pt x="13" y="97"/>
                  </a:lnTo>
                  <a:lnTo>
                    <a:pt x="12" y="98"/>
                  </a:lnTo>
                  <a:lnTo>
                    <a:pt x="12" y="81"/>
                  </a:lnTo>
                  <a:lnTo>
                    <a:pt x="13" y="83"/>
                  </a:lnTo>
                  <a:lnTo>
                    <a:pt x="45" y="73"/>
                  </a:lnTo>
                  <a:lnTo>
                    <a:pt x="69" y="77"/>
                  </a:lnTo>
                  <a:lnTo>
                    <a:pt x="72" y="70"/>
                  </a:lnTo>
                  <a:lnTo>
                    <a:pt x="44" y="63"/>
                  </a:lnTo>
                  <a:lnTo>
                    <a:pt x="15" y="68"/>
                  </a:lnTo>
                  <a:lnTo>
                    <a:pt x="13" y="68"/>
                  </a:lnTo>
                  <a:lnTo>
                    <a:pt x="13" y="62"/>
                  </a:lnTo>
                  <a:lnTo>
                    <a:pt x="0" y="45"/>
                  </a:lnTo>
                  <a:lnTo>
                    <a:pt x="23" y="18"/>
                  </a:lnTo>
                  <a:lnTo>
                    <a:pt x="38" y="4"/>
                  </a:lnTo>
                  <a:lnTo>
                    <a:pt x="58" y="0"/>
                  </a:lnTo>
                  <a:lnTo>
                    <a:pt x="85" y="16"/>
                  </a:lnTo>
                  <a:lnTo>
                    <a:pt x="107" y="4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40" name="Freeform 197"/>
            <p:cNvSpPr>
              <a:spLocks noChangeAspect="1"/>
            </p:cNvSpPr>
            <p:nvPr/>
          </p:nvSpPr>
          <p:spPr bwMode="auto">
            <a:xfrm>
              <a:off x="3822879" y="2698681"/>
              <a:ext cx="304583" cy="410399"/>
            </a:xfrm>
            <a:custGeom>
              <a:avLst/>
              <a:gdLst>
                <a:gd name="T0" fmla="*/ 4 w 243"/>
                <a:gd name="T1" fmla="*/ 286 h 286"/>
                <a:gd name="T2" fmla="*/ 4 w 243"/>
                <a:gd name="T3" fmla="*/ 258 h 286"/>
                <a:gd name="T4" fmla="*/ 4 w 243"/>
                <a:gd name="T5" fmla="*/ 242 h 286"/>
                <a:gd name="T6" fmla="*/ 4 w 243"/>
                <a:gd name="T7" fmla="*/ 246 h 286"/>
                <a:gd name="T8" fmla="*/ 4 w 243"/>
                <a:gd name="T9" fmla="*/ 260 h 286"/>
                <a:gd name="T10" fmla="*/ 4 w 243"/>
                <a:gd name="T11" fmla="*/ 212 h 286"/>
                <a:gd name="T12" fmla="*/ 4 w 243"/>
                <a:gd name="T13" fmla="*/ 178 h 286"/>
                <a:gd name="T14" fmla="*/ 4 w 243"/>
                <a:gd name="T15" fmla="*/ 158 h 286"/>
                <a:gd name="T16" fmla="*/ 0 w 243"/>
                <a:gd name="T17" fmla="*/ 141 h 286"/>
                <a:gd name="T18" fmla="*/ 4 w 243"/>
                <a:gd name="T19" fmla="*/ 133 h 286"/>
                <a:gd name="T20" fmla="*/ 4 w 243"/>
                <a:gd name="T21" fmla="*/ 132 h 286"/>
                <a:gd name="T22" fmla="*/ 4 w 243"/>
                <a:gd name="T23" fmla="*/ 97 h 286"/>
                <a:gd name="T24" fmla="*/ 4 w 243"/>
                <a:gd name="T25" fmla="*/ 81 h 286"/>
                <a:gd name="T26" fmla="*/ 4 w 243"/>
                <a:gd name="T27" fmla="*/ 26 h 286"/>
                <a:gd name="T28" fmla="*/ 4 w 243"/>
                <a:gd name="T29" fmla="*/ 26 h 286"/>
                <a:gd name="T30" fmla="*/ 4 w 243"/>
                <a:gd name="T31" fmla="*/ 0 h 286"/>
                <a:gd name="T32" fmla="*/ 4 w 243"/>
                <a:gd name="T33" fmla="*/ 50 h 286"/>
                <a:gd name="T34" fmla="*/ 4 w 243"/>
                <a:gd name="T35" fmla="*/ 50 h 286"/>
                <a:gd name="T36" fmla="*/ 4 w 243"/>
                <a:gd name="T37" fmla="*/ 268 h 286"/>
                <a:gd name="T38" fmla="*/ 4 w 243"/>
                <a:gd name="T39" fmla="*/ 268 h 286"/>
                <a:gd name="T40" fmla="*/ 4 w 243"/>
                <a:gd name="T41" fmla="*/ 276 h 286"/>
                <a:gd name="T42" fmla="*/ 4 w 243"/>
                <a:gd name="T43" fmla="*/ 260 h 286"/>
                <a:gd name="T44" fmla="*/ 4 w 243"/>
                <a:gd name="T45" fmla="*/ 286 h 28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43"/>
                <a:gd name="T70" fmla="*/ 0 h 286"/>
                <a:gd name="T71" fmla="*/ 243 w 243"/>
                <a:gd name="T72" fmla="*/ 286 h 28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43" h="286">
                  <a:moveTo>
                    <a:pt x="92" y="286"/>
                  </a:moveTo>
                  <a:lnTo>
                    <a:pt x="70" y="258"/>
                  </a:lnTo>
                  <a:lnTo>
                    <a:pt x="43" y="242"/>
                  </a:lnTo>
                  <a:lnTo>
                    <a:pt x="23" y="246"/>
                  </a:lnTo>
                  <a:lnTo>
                    <a:pt x="8" y="260"/>
                  </a:lnTo>
                  <a:lnTo>
                    <a:pt x="17" y="212"/>
                  </a:lnTo>
                  <a:lnTo>
                    <a:pt x="8" y="178"/>
                  </a:lnTo>
                  <a:lnTo>
                    <a:pt x="15" y="158"/>
                  </a:lnTo>
                  <a:lnTo>
                    <a:pt x="0" y="141"/>
                  </a:lnTo>
                  <a:lnTo>
                    <a:pt x="13" y="133"/>
                  </a:lnTo>
                  <a:lnTo>
                    <a:pt x="82" y="132"/>
                  </a:lnTo>
                  <a:lnTo>
                    <a:pt x="81" y="97"/>
                  </a:lnTo>
                  <a:lnTo>
                    <a:pt x="105" y="81"/>
                  </a:lnTo>
                  <a:lnTo>
                    <a:pt x="109" y="26"/>
                  </a:lnTo>
                  <a:lnTo>
                    <a:pt x="172" y="26"/>
                  </a:lnTo>
                  <a:lnTo>
                    <a:pt x="173" y="0"/>
                  </a:lnTo>
                  <a:lnTo>
                    <a:pt x="243" y="50"/>
                  </a:lnTo>
                  <a:lnTo>
                    <a:pt x="209" y="50"/>
                  </a:lnTo>
                  <a:lnTo>
                    <a:pt x="225" y="268"/>
                  </a:lnTo>
                  <a:lnTo>
                    <a:pt x="138" y="268"/>
                  </a:lnTo>
                  <a:lnTo>
                    <a:pt x="121" y="276"/>
                  </a:lnTo>
                  <a:lnTo>
                    <a:pt x="109" y="260"/>
                  </a:lnTo>
                  <a:lnTo>
                    <a:pt x="92" y="286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41" name="Freeform 198"/>
            <p:cNvSpPr>
              <a:spLocks noChangeAspect="1"/>
            </p:cNvSpPr>
            <p:nvPr/>
          </p:nvSpPr>
          <p:spPr bwMode="auto">
            <a:xfrm>
              <a:off x="3822879" y="2682896"/>
              <a:ext cx="217959" cy="218114"/>
            </a:xfrm>
            <a:custGeom>
              <a:avLst/>
              <a:gdLst>
                <a:gd name="T0" fmla="*/ 5 w 173"/>
                <a:gd name="T1" fmla="*/ 0 h 152"/>
                <a:gd name="T2" fmla="*/ 5 w 173"/>
                <a:gd name="T3" fmla="*/ 11 h 152"/>
                <a:gd name="T4" fmla="*/ 5 w 173"/>
                <a:gd name="T5" fmla="*/ 37 h 152"/>
                <a:gd name="T6" fmla="*/ 5 w 173"/>
                <a:gd name="T7" fmla="*/ 37 h 152"/>
                <a:gd name="T8" fmla="*/ 5 w 173"/>
                <a:gd name="T9" fmla="*/ 92 h 152"/>
                <a:gd name="T10" fmla="*/ 5 w 173"/>
                <a:gd name="T11" fmla="*/ 108 h 152"/>
                <a:gd name="T12" fmla="*/ 5 w 173"/>
                <a:gd name="T13" fmla="*/ 143 h 152"/>
                <a:gd name="T14" fmla="*/ 5 w 173"/>
                <a:gd name="T15" fmla="*/ 144 h 152"/>
                <a:gd name="T16" fmla="*/ 0 w 173"/>
                <a:gd name="T17" fmla="*/ 152 h 152"/>
                <a:gd name="T18" fmla="*/ 4 w 173"/>
                <a:gd name="T19" fmla="*/ 129 h 152"/>
                <a:gd name="T20" fmla="*/ 5 w 173"/>
                <a:gd name="T21" fmla="*/ 70 h 152"/>
                <a:gd name="T22" fmla="*/ 5 w 173"/>
                <a:gd name="T23" fmla="*/ 36 h 152"/>
                <a:gd name="T24" fmla="*/ 5 w 173"/>
                <a:gd name="T25" fmla="*/ 24 h 152"/>
                <a:gd name="T26" fmla="*/ 5 w 173"/>
                <a:gd name="T27" fmla="*/ 0 h 152"/>
                <a:gd name="T28" fmla="*/ 5 w 173"/>
                <a:gd name="T29" fmla="*/ 0 h 15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3"/>
                <a:gd name="T46" fmla="*/ 0 h 152"/>
                <a:gd name="T47" fmla="*/ 173 w 173"/>
                <a:gd name="T48" fmla="*/ 152 h 15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3" h="152">
                  <a:moveTo>
                    <a:pt x="173" y="0"/>
                  </a:moveTo>
                  <a:lnTo>
                    <a:pt x="173" y="11"/>
                  </a:lnTo>
                  <a:lnTo>
                    <a:pt x="172" y="37"/>
                  </a:lnTo>
                  <a:lnTo>
                    <a:pt x="109" y="37"/>
                  </a:lnTo>
                  <a:lnTo>
                    <a:pt x="105" y="92"/>
                  </a:lnTo>
                  <a:lnTo>
                    <a:pt x="81" y="108"/>
                  </a:lnTo>
                  <a:lnTo>
                    <a:pt x="82" y="143"/>
                  </a:lnTo>
                  <a:lnTo>
                    <a:pt x="13" y="144"/>
                  </a:lnTo>
                  <a:lnTo>
                    <a:pt x="0" y="152"/>
                  </a:lnTo>
                  <a:lnTo>
                    <a:pt x="4" y="129"/>
                  </a:lnTo>
                  <a:lnTo>
                    <a:pt x="43" y="70"/>
                  </a:lnTo>
                  <a:lnTo>
                    <a:pt x="57" y="36"/>
                  </a:lnTo>
                  <a:lnTo>
                    <a:pt x="71" y="24"/>
                  </a:lnTo>
                  <a:lnTo>
                    <a:pt x="87" y="0"/>
                  </a:lnTo>
                  <a:lnTo>
                    <a:pt x="173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42" name="Freeform 199"/>
            <p:cNvSpPr>
              <a:spLocks noChangeAspect="1"/>
            </p:cNvSpPr>
            <p:nvPr/>
          </p:nvSpPr>
          <p:spPr bwMode="auto">
            <a:xfrm>
              <a:off x="4437634" y="2368639"/>
              <a:ext cx="90816" cy="228159"/>
            </a:xfrm>
            <a:custGeom>
              <a:avLst/>
              <a:gdLst>
                <a:gd name="T0" fmla="*/ 5 w 72"/>
                <a:gd name="T1" fmla="*/ 92 h 159"/>
                <a:gd name="T2" fmla="*/ 5 w 72"/>
                <a:gd name="T3" fmla="*/ 112 h 159"/>
                <a:gd name="T4" fmla="*/ 5 w 72"/>
                <a:gd name="T5" fmla="*/ 133 h 159"/>
                <a:gd name="T6" fmla="*/ 5 w 72"/>
                <a:gd name="T7" fmla="*/ 153 h 159"/>
                <a:gd name="T8" fmla="*/ 5 w 72"/>
                <a:gd name="T9" fmla="*/ 159 h 159"/>
                <a:gd name="T10" fmla="*/ 5 w 72"/>
                <a:gd name="T11" fmla="*/ 123 h 159"/>
                <a:gd name="T12" fmla="*/ 5 w 72"/>
                <a:gd name="T13" fmla="*/ 109 h 159"/>
                <a:gd name="T14" fmla="*/ 0 w 72"/>
                <a:gd name="T15" fmla="*/ 82 h 159"/>
                <a:gd name="T16" fmla="*/ 5 w 72"/>
                <a:gd name="T17" fmla="*/ 56 h 159"/>
                <a:gd name="T18" fmla="*/ 5 w 72"/>
                <a:gd name="T19" fmla="*/ 16 h 159"/>
                <a:gd name="T20" fmla="*/ 5 w 72"/>
                <a:gd name="T21" fmla="*/ 6 h 159"/>
                <a:gd name="T22" fmla="*/ 5 w 72"/>
                <a:gd name="T23" fmla="*/ 0 h 159"/>
                <a:gd name="T24" fmla="*/ 5 w 72"/>
                <a:gd name="T25" fmla="*/ 3 h 159"/>
                <a:gd name="T26" fmla="*/ 5 w 72"/>
                <a:gd name="T27" fmla="*/ 14 h 159"/>
                <a:gd name="T28" fmla="*/ 5 w 72"/>
                <a:gd name="T29" fmla="*/ 8 h 159"/>
                <a:gd name="T30" fmla="*/ 5 w 72"/>
                <a:gd name="T31" fmla="*/ 21 h 159"/>
                <a:gd name="T32" fmla="*/ 5 w 72"/>
                <a:gd name="T33" fmla="*/ 48 h 159"/>
                <a:gd name="T34" fmla="*/ 5 w 72"/>
                <a:gd name="T35" fmla="*/ 71 h 159"/>
                <a:gd name="T36" fmla="*/ 5 w 72"/>
                <a:gd name="T37" fmla="*/ 80 h 159"/>
                <a:gd name="T38" fmla="*/ 5 w 72"/>
                <a:gd name="T39" fmla="*/ 83 h 159"/>
                <a:gd name="T40" fmla="*/ 5 w 72"/>
                <a:gd name="T41" fmla="*/ 92 h 1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2"/>
                <a:gd name="T64" fmla="*/ 0 h 159"/>
                <a:gd name="T65" fmla="*/ 72 w 72"/>
                <a:gd name="T66" fmla="*/ 159 h 1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2" h="159">
                  <a:moveTo>
                    <a:pt x="70" y="92"/>
                  </a:moveTo>
                  <a:lnTo>
                    <a:pt x="72" y="112"/>
                  </a:lnTo>
                  <a:lnTo>
                    <a:pt x="49" y="133"/>
                  </a:lnTo>
                  <a:lnTo>
                    <a:pt x="49" y="153"/>
                  </a:lnTo>
                  <a:lnTo>
                    <a:pt x="37" y="159"/>
                  </a:lnTo>
                  <a:lnTo>
                    <a:pt x="31" y="123"/>
                  </a:lnTo>
                  <a:lnTo>
                    <a:pt x="14" y="109"/>
                  </a:lnTo>
                  <a:lnTo>
                    <a:pt x="0" y="82"/>
                  </a:lnTo>
                  <a:lnTo>
                    <a:pt x="17" y="56"/>
                  </a:lnTo>
                  <a:lnTo>
                    <a:pt x="17" y="16"/>
                  </a:lnTo>
                  <a:lnTo>
                    <a:pt x="27" y="6"/>
                  </a:lnTo>
                  <a:lnTo>
                    <a:pt x="42" y="0"/>
                  </a:lnTo>
                  <a:lnTo>
                    <a:pt x="51" y="3"/>
                  </a:lnTo>
                  <a:lnTo>
                    <a:pt x="56" y="14"/>
                  </a:lnTo>
                  <a:lnTo>
                    <a:pt x="68" y="8"/>
                  </a:lnTo>
                  <a:lnTo>
                    <a:pt x="57" y="21"/>
                  </a:lnTo>
                  <a:lnTo>
                    <a:pt x="68" y="48"/>
                  </a:lnTo>
                  <a:lnTo>
                    <a:pt x="49" y="71"/>
                  </a:lnTo>
                  <a:lnTo>
                    <a:pt x="51" y="80"/>
                  </a:lnTo>
                  <a:lnTo>
                    <a:pt x="67" y="83"/>
                  </a:lnTo>
                  <a:lnTo>
                    <a:pt x="70" y="92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43" name="Freeform 200"/>
            <p:cNvSpPr>
              <a:spLocks noChangeAspect="1"/>
            </p:cNvSpPr>
            <p:nvPr/>
          </p:nvSpPr>
          <p:spPr bwMode="auto">
            <a:xfrm>
              <a:off x="4577352" y="3129169"/>
              <a:ext cx="54490" cy="54529"/>
            </a:xfrm>
            <a:custGeom>
              <a:avLst/>
              <a:gdLst>
                <a:gd name="T0" fmla="*/ 0 w 44"/>
                <a:gd name="T1" fmla="*/ 2 h 38"/>
                <a:gd name="T2" fmla="*/ 4 w 44"/>
                <a:gd name="T3" fmla="*/ 38 h 38"/>
                <a:gd name="T4" fmla="*/ 4 w 44"/>
                <a:gd name="T5" fmla="*/ 29 h 38"/>
                <a:gd name="T6" fmla="*/ 4 w 44"/>
                <a:gd name="T7" fmla="*/ 17 h 38"/>
                <a:gd name="T8" fmla="*/ 4 w 44"/>
                <a:gd name="T9" fmla="*/ 15 h 38"/>
                <a:gd name="T10" fmla="*/ 4 w 44"/>
                <a:gd name="T11" fmla="*/ 0 h 38"/>
                <a:gd name="T12" fmla="*/ 0 w 44"/>
                <a:gd name="T13" fmla="*/ 2 h 3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4"/>
                <a:gd name="T22" fmla="*/ 0 h 38"/>
                <a:gd name="T23" fmla="*/ 44 w 44"/>
                <a:gd name="T24" fmla="*/ 38 h 3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4" h="38">
                  <a:moveTo>
                    <a:pt x="0" y="2"/>
                  </a:moveTo>
                  <a:lnTo>
                    <a:pt x="23" y="38"/>
                  </a:lnTo>
                  <a:lnTo>
                    <a:pt x="41" y="29"/>
                  </a:lnTo>
                  <a:lnTo>
                    <a:pt x="44" y="17"/>
                  </a:lnTo>
                  <a:lnTo>
                    <a:pt x="21" y="15"/>
                  </a:lnTo>
                  <a:lnTo>
                    <a:pt x="1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44" name="Freeform 201"/>
            <p:cNvSpPr>
              <a:spLocks noChangeAspect="1"/>
            </p:cNvSpPr>
            <p:nvPr/>
          </p:nvSpPr>
          <p:spPr bwMode="auto">
            <a:xfrm>
              <a:off x="5049595" y="3586922"/>
              <a:ext cx="68461" cy="100447"/>
            </a:xfrm>
            <a:custGeom>
              <a:avLst/>
              <a:gdLst>
                <a:gd name="T0" fmla="*/ 0 w 53"/>
                <a:gd name="T1" fmla="*/ 54 h 70"/>
                <a:gd name="T2" fmla="*/ 3 w 53"/>
                <a:gd name="T3" fmla="*/ 70 h 70"/>
                <a:gd name="T4" fmla="*/ 6 w 53"/>
                <a:gd name="T5" fmla="*/ 60 h 70"/>
                <a:gd name="T6" fmla="*/ 6 w 53"/>
                <a:gd name="T7" fmla="*/ 63 h 70"/>
                <a:gd name="T8" fmla="*/ 6 w 53"/>
                <a:gd name="T9" fmla="*/ 56 h 70"/>
                <a:gd name="T10" fmla="*/ 6 w 53"/>
                <a:gd name="T11" fmla="*/ 54 h 70"/>
                <a:gd name="T12" fmla="*/ 6 w 53"/>
                <a:gd name="T13" fmla="*/ 16 h 70"/>
                <a:gd name="T14" fmla="*/ 6 w 53"/>
                <a:gd name="T15" fmla="*/ 4 h 70"/>
                <a:gd name="T16" fmla="*/ 6 w 53"/>
                <a:gd name="T17" fmla="*/ 0 h 70"/>
                <a:gd name="T18" fmla="*/ 3 w 53"/>
                <a:gd name="T19" fmla="*/ 10 h 70"/>
                <a:gd name="T20" fmla="*/ 0 w 53"/>
                <a:gd name="T21" fmla="*/ 54 h 7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"/>
                <a:gd name="T34" fmla="*/ 0 h 70"/>
                <a:gd name="T35" fmla="*/ 53 w 53"/>
                <a:gd name="T36" fmla="*/ 70 h 7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" h="70">
                  <a:moveTo>
                    <a:pt x="0" y="54"/>
                  </a:moveTo>
                  <a:lnTo>
                    <a:pt x="3" y="70"/>
                  </a:lnTo>
                  <a:lnTo>
                    <a:pt x="12" y="60"/>
                  </a:lnTo>
                  <a:lnTo>
                    <a:pt x="36" y="63"/>
                  </a:lnTo>
                  <a:lnTo>
                    <a:pt x="45" y="56"/>
                  </a:lnTo>
                  <a:lnTo>
                    <a:pt x="33" y="54"/>
                  </a:lnTo>
                  <a:lnTo>
                    <a:pt x="53" y="16"/>
                  </a:lnTo>
                  <a:lnTo>
                    <a:pt x="47" y="4"/>
                  </a:lnTo>
                  <a:lnTo>
                    <a:pt x="28" y="0"/>
                  </a:lnTo>
                  <a:lnTo>
                    <a:pt x="3" y="10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45" name="Freeform 202"/>
            <p:cNvSpPr>
              <a:spLocks noChangeAspect="1"/>
            </p:cNvSpPr>
            <p:nvPr/>
          </p:nvSpPr>
          <p:spPr bwMode="auto">
            <a:xfrm>
              <a:off x="4985325" y="3706024"/>
              <a:ext cx="50298" cy="179370"/>
            </a:xfrm>
            <a:custGeom>
              <a:avLst/>
              <a:gdLst>
                <a:gd name="T0" fmla="*/ 3 w 40"/>
                <a:gd name="T1" fmla="*/ 62 h 125"/>
                <a:gd name="T2" fmla="*/ 5 w 40"/>
                <a:gd name="T3" fmla="*/ 93 h 125"/>
                <a:gd name="T4" fmla="*/ 5 w 40"/>
                <a:gd name="T5" fmla="*/ 120 h 125"/>
                <a:gd name="T6" fmla="*/ 5 w 40"/>
                <a:gd name="T7" fmla="*/ 125 h 125"/>
                <a:gd name="T8" fmla="*/ 5 w 40"/>
                <a:gd name="T9" fmla="*/ 80 h 125"/>
                <a:gd name="T10" fmla="*/ 5 w 40"/>
                <a:gd name="T11" fmla="*/ 65 h 125"/>
                <a:gd name="T12" fmla="*/ 5 w 40"/>
                <a:gd name="T13" fmla="*/ 56 h 125"/>
                <a:gd name="T14" fmla="*/ 5 w 40"/>
                <a:gd name="T15" fmla="*/ 0 h 125"/>
                <a:gd name="T16" fmla="*/ 0 w 40"/>
                <a:gd name="T17" fmla="*/ 16 h 125"/>
                <a:gd name="T18" fmla="*/ 3 w 40"/>
                <a:gd name="T19" fmla="*/ 62 h 1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125"/>
                <a:gd name="T32" fmla="*/ 40 w 40"/>
                <a:gd name="T33" fmla="*/ 125 h 1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125">
                  <a:moveTo>
                    <a:pt x="3" y="62"/>
                  </a:moveTo>
                  <a:lnTo>
                    <a:pt x="24" y="93"/>
                  </a:lnTo>
                  <a:lnTo>
                    <a:pt x="28" y="120"/>
                  </a:lnTo>
                  <a:lnTo>
                    <a:pt x="40" y="125"/>
                  </a:lnTo>
                  <a:lnTo>
                    <a:pt x="30" y="80"/>
                  </a:lnTo>
                  <a:lnTo>
                    <a:pt x="13" y="65"/>
                  </a:lnTo>
                  <a:lnTo>
                    <a:pt x="18" y="56"/>
                  </a:lnTo>
                  <a:lnTo>
                    <a:pt x="5" y="0"/>
                  </a:lnTo>
                  <a:lnTo>
                    <a:pt x="0" y="16"/>
                  </a:lnTo>
                  <a:lnTo>
                    <a:pt x="3" y="6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46" name="Freeform 203"/>
            <p:cNvSpPr>
              <a:spLocks noChangeAspect="1"/>
            </p:cNvSpPr>
            <p:nvPr/>
          </p:nvSpPr>
          <p:spPr bwMode="auto">
            <a:xfrm>
              <a:off x="5109674" y="3911223"/>
              <a:ext cx="30738" cy="162151"/>
            </a:xfrm>
            <a:custGeom>
              <a:avLst/>
              <a:gdLst>
                <a:gd name="T0" fmla="*/ 0 w 24"/>
                <a:gd name="T1" fmla="*/ 59 h 113"/>
                <a:gd name="T2" fmla="*/ 5 w 24"/>
                <a:gd name="T3" fmla="*/ 89 h 113"/>
                <a:gd name="T4" fmla="*/ 6 w 24"/>
                <a:gd name="T5" fmla="*/ 113 h 113"/>
                <a:gd name="T6" fmla="*/ 6 w 24"/>
                <a:gd name="T7" fmla="*/ 75 h 113"/>
                <a:gd name="T8" fmla="*/ 6 w 24"/>
                <a:gd name="T9" fmla="*/ 46 h 113"/>
                <a:gd name="T10" fmla="*/ 6 w 24"/>
                <a:gd name="T11" fmla="*/ 7 h 113"/>
                <a:gd name="T12" fmla="*/ 1 w 24"/>
                <a:gd name="T13" fmla="*/ 0 h 113"/>
                <a:gd name="T14" fmla="*/ 6 w 24"/>
                <a:gd name="T15" fmla="*/ 50 h 113"/>
                <a:gd name="T16" fmla="*/ 0 w 24"/>
                <a:gd name="T17" fmla="*/ 59 h 1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113"/>
                <a:gd name="T29" fmla="*/ 24 w 24"/>
                <a:gd name="T30" fmla="*/ 113 h 1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113">
                  <a:moveTo>
                    <a:pt x="0" y="59"/>
                  </a:moveTo>
                  <a:lnTo>
                    <a:pt x="5" y="89"/>
                  </a:lnTo>
                  <a:lnTo>
                    <a:pt x="24" y="113"/>
                  </a:lnTo>
                  <a:lnTo>
                    <a:pt x="16" y="75"/>
                  </a:lnTo>
                  <a:lnTo>
                    <a:pt x="19" y="46"/>
                  </a:lnTo>
                  <a:lnTo>
                    <a:pt x="10" y="7"/>
                  </a:lnTo>
                  <a:lnTo>
                    <a:pt x="1" y="0"/>
                  </a:lnTo>
                  <a:lnTo>
                    <a:pt x="7" y="5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47" name="Freeform 204"/>
            <p:cNvSpPr>
              <a:spLocks noChangeAspect="1"/>
            </p:cNvSpPr>
            <p:nvPr/>
          </p:nvSpPr>
          <p:spPr bwMode="auto">
            <a:xfrm>
              <a:off x="3933256" y="2415993"/>
              <a:ext cx="294803" cy="266903"/>
            </a:xfrm>
            <a:custGeom>
              <a:avLst/>
              <a:gdLst>
                <a:gd name="T0" fmla="*/ 5 w 234"/>
                <a:gd name="T1" fmla="*/ 23 h 186"/>
                <a:gd name="T2" fmla="*/ 5 w 234"/>
                <a:gd name="T3" fmla="*/ 79 h 186"/>
                <a:gd name="T4" fmla="*/ 5 w 234"/>
                <a:gd name="T5" fmla="*/ 93 h 186"/>
                <a:gd name="T6" fmla="*/ 5 w 234"/>
                <a:gd name="T7" fmla="*/ 107 h 186"/>
                <a:gd name="T8" fmla="*/ 5 w 234"/>
                <a:gd name="T9" fmla="*/ 132 h 186"/>
                <a:gd name="T10" fmla="*/ 5 w 234"/>
                <a:gd name="T11" fmla="*/ 150 h 186"/>
                <a:gd name="T12" fmla="*/ 5 w 234"/>
                <a:gd name="T13" fmla="*/ 159 h 186"/>
                <a:gd name="T14" fmla="*/ 5 w 234"/>
                <a:gd name="T15" fmla="*/ 186 h 186"/>
                <a:gd name="T16" fmla="*/ 0 w 234"/>
                <a:gd name="T17" fmla="*/ 186 h 186"/>
                <a:gd name="T18" fmla="*/ 5 w 234"/>
                <a:gd name="T19" fmla="*/ 173 h 186"/>
                <a:gd name="T20" fmla="*/ 5 w 234"/>
                <a:gd name="T21" fmla="*/ 140 h 186"/>
                <a:gd name="T22" fmla="*/ 5 w 234"/>
                <a:gd name="T23" fmla="*/ 126 h 186"/>
                <a:gd name="T24" fmla="*/ 5 w 234"/>
                <a:gd name="T25" fmla="*/ 100 h 186"/>
                <a:gd name="T26" fmla="*/ 5 w 234"/>
                <a:gd name="T27" fmla="*/ 76 h 186"/>
                <a:gd name="T28" fmla="*/ 5 w 234"/>
                <a:gd name="T29" fmla="*/ 59 h 186"/>
                <a:gd name="T30" fmla="*/ 5 w 234"/>
                <a:gd name="T31" fmla="*/ 41 h 186"/>
                <a:gd name="T32" fmla="*/ 5 w 234"/>
                <a:gd name="T33" fmla="*/ 1 h 186"/>
                <a:gd name="T34" fmla="*/ 5 w 234"/>
                <a:gd name="T35" fmla="*/ 0 h 186"/>
                <a:gd name="T36" fmla="*/ 5 w 234"/>
                <a:gd name="T37" fmla="*/ 15 h 186"/>
                <a:gd name="T38" fmla="*/ 5 w 234"/>
                <a:gd name="T39" fmla="*/ 11 h 186"/>
                <a:gd name="T40" fmla="*/ 5 w 234"/>
                <a:gd name="T41" fmla="*/ 13 h 186"/>
                <a:gd name="T42" fmla="*/ 5 w 234"/>
                <a:gd name="T43" fmla="*/ 23 h 18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34"/>
                <a:gd name="T67" fmla="*/ 0 h 186"/>
                <a:gd name="T68" fmla="*/ 234 w 234"/>
                <a:gd name="T69" fmla="*/ 186 h 18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34" h="186">
                  <a:moveTo>
                    <a:pt x="227" y="23"/>
                  </a:moveTo>
                  <a:lnTo>
                    <a:pt x="234" y="79"/>
                  </a:lnTo>
                  <a:lnTo>
                    <a:pt x="184" y="93"/>
                  </a:lnTo>
                  <a:lnTo>
                    <a:pt x="186" y="107"/>
                  </a:lnTo>
                  <a:lnTo>
                    <a:pt x="150" y="132"/>
                  </a:lnTo>
                  <a:lnTo>
                    <a:pt x="98" y="150"/>
                  </a:lnTo>
                  <a:lnTo>
                    <a:pt x="89" y="159"/>
                  </a:lnTo>
                  <a:lnTo>
                    <a:pt x="86" y="186"/>
                  </a:lnTo>
                  <a:lnTo>
                    <a:pt x="0" y="186"/>
                  </a:lnTo>
                  <a:lnTo>
                    <a:pt x="29" y="173"/>
                  </a:lnTo>
                  <a:lnTo>
                    <a:pt x="63" y="140"/>
                  </a:lnTo>
                  <a:lnTo>
                    <a:pt x="69" y="126"/>
                  </a:lnTo>
                  <a:lnTo>
                    <a:pt x="65" y="100"/>
                  </a:lnTo>
                  <a:lnTo>
                    <a:pt x="79" y="76"/>
                  </a:lnTo>
                  <a:lnTo>
                    <a:pt x="95" y="59"/>
                  </a:lnTo>
                  <a:lnTo>
                    <a:pt x="127" y="41"/>
                  </a:lnTo>
                  <a:lnTo>
                    <a:pt x="147" y="1"/>
                  </a:lnTo>
                  <a:lnTo>
                    <a:pt x="156" y="0"/>
                  </a:lnTo>
                  <a:lnTo>
                    <a:pt x="173" y="15"/>
                  </a:lnTo>
                  <a:lnTo>
                    <a:pt x="203" y="11"/>
                  </a:lnTo>
                  <a:lnTo>
                    <a:pt x="220" y="13"/>
                  </a:lnTo>
                  <a:lnTo>
                    <a:pt x="227" y="23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48" name="Freeform 205"/>
            <p:cNvSpPr>
              <a:spLocks noChangeAspect="1"/>
            </p:cNvSpPr>
            <p:nvPr/>
          </p:nvSpPr>
          <p:spPr bwMode="auto">
            <a:xfrm>
              <a:off x="5308072" y="3176523"/>
              <a:ext cx="37724" cy="61703"/>
            </a:xfrm>
            <a:custGeom>
              <a:avLst/>
              <a:gdLst>
                <a:gd name="T0" fmla="*/ 5 w 30"/>
                <a:gd name="T1" fmla="*/ 30 h 43"/>
                <a:gd name="T2" fmla="*/ 5 w 30"/>
                <a:gd name="T3" fmla="*/ 24 h 43"/>
                <a:gd name="T4" fmla="*/ 5 w 30"/>
                <a:gd name="T5" fmla="*/ 18 h 43"/>
                <a:gd name="T6" fmla="*/ 5 w 30"/>
                <a:gd name="T7" fmla="*/ 7 h 43"/>
                <a:gd name="T8" fmla="*/ 5 w 30"/>
                <a:gd name="T9" fmla="*/ 0 h 43"/>
                <a:gd name="T10" fmla="*/ 5 w 30"/>
                <a:gd name="T11" fmla="*/ 1 h 43"/>
                <a:gd name="T12" fmla="*/ 5 w 30"/>
                <a:gd name="T13" fmla="*/ 10 h 43"/>
                <a:gd name="T14" fmla="*/ 0 w 30"/>
                <a:gd name="T15" fmla="*/ 34 h 43"/>
                <a:gd name="T16" fmla="*/ 1 w 30"/>
                <a:gd name="T17" fmla="*/ 40 h 43"/>
                <a:gd name="T18" fmla="*/ 5 w 30"/>
                <a:gd name="T19" fmla="*/ 41 h 43"/>
                <a:gd name="T20" fmla="*/ 5 w 30"/>
                <a:gd name="T21" fmla="*/ 43 h 43"/>
                <a:gd name="T22" fmla="*/ 5 w 30"/>
                <a:gd name="T23" fmla="*/ 3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0"/>
                <a:gd name="T37" fmla="*/ 0 h 43"/>
                <a:gd name="T38" fmla="*/ 30 w 30"/>
                <a:gd name="T39" fmla="*/ 43 h 4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0" h="43">
                  <a:moveTo>
                    <a:pt x="28" y="30"/>
                  </a:moveTo>
                  <a:lnTo>
                    <a:pt x="20" y="24"/>
                  </a:lnTo>
                  <a:lnTo>
                    <a:pt x="30" y="18"/>
                  </a:lnTo>
                  <a:lnTo>
                    <a:pt x="28" y="7"/>
                  </a:lnTo>
                  <a:lnTo>
                    <a:pt x="20" y="0"/>
                  </a:lnTo>
                  <a:lnTo>
                    <a:pt x="20" y="1"/>
                  </a:lnTo>
                  <a:lnTo>
                    <a:pt x="8" y="10"/>
                  </a:lnTo>
                  <a:lnTo>
                    <a:pt x="0" y="34"/>
                  </a:lnTo>
                  <a:lnTo>
                    <a:pt x="1" y="40"/>
                  </a:lnTo>
                  <a:lnTo>
                    <a:pt x="21" y="41"/>
                  </a:lnTo>
                  <a:lnTo>
                    <a:pt x="21" y="43"/>
                  </a:lnTo>
                  <a:lnTo>
                    <a:pt x="28" y="3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49" name="Freeform 206"/>
            <p:cNvSpPr>
              <a:spLocks noChangeAspect="1"/>
            </p:cNvSpPr>
            <p:nvPr/>
          </p:nvSpPr>
          <p:spPr bwMode="auto">
            <a:xfrm>
              <a:off x="5289909" y="3202352"/>
              <a:ext cx="251491" cy="447708"/>
            </a:xfrm>
            <a:custGeom>
              <a:avLst/>
              <a:gdLst>
                <a:gd name="T0" fmla="*/ 5 w 200"/>
                <a:gd name="T1" fmla="*/ 185 h 312"/>
                <a:gd name="T2" fmla="*/ 0 w 200"/>
                <a:gd name="T3" fmla="*/ 213 h 312"/>
                <a:gd name="T4" fmla="*/ 0 w 200"/>
                <a:gd name="T5" fmla="*/ 290 h 312"/>
                <a:gd name="T6" fmla="*/ 5 w 200"/>
                <a:gd name="T7" fmla="*/ 312 h 312"/>
                <a:gd name="T8" fmla="*/ 5 w 200"/>
                <a:gd name="T9" fmla="*/ 312 h 312"/>
                <a:gd name="T10" fmla="*/ 5 w 200"/>
                <a:gd name="T11" fmla="*/ 265 h 312"/>
                <a:gd name="T12" fmla="*/ 5 w 200"/>
                <a:gd name="T13" fmla="*/ 215 h 312"/>
                <a:gd name="T14" fmla="*/ 5 w 200"/>
                <a:gd name="T15" fmla="*/ 179 h 312"/>
                <a:gd name="T16" fmla="*/ 5 w 200"/>
                <a:gd name="T17" fmla="*/ 142 h 312"/>
                <a:gd name="T18" fmla="*/ 5 w 200"/>
                <a:gd name="T19" fmla="*/ 35 h 312"/>
                <a:gd name="T20" fmla="*/ 5 w 200"/>
                <a:gd name="T21" fmla="*/ 5 h 312"/>
                <a:gd name="T22" fmla="*/ 5 w 200"/>
                <a:gd name="T23" fmla="*/ 0 h 312"/>
                <a:gd name="T24" fmla="*/ 5 w 200"/>
                <a:gd name="T25" fmla="*/ 10 h 312"/>
                <a:gd name="T26" fmla="*/ 5 w 200"/>
                <a:gd name="T27" fmla="*/ 19 h 312"/>
                <a:gd name="T28" fmla="*/ 5 w 200"/>
                <a:gd name="T29" fmla="*/ 20 h 312"/>
                <a:gd name="T30" fmla="*/ 5 w 200"/>
                <a:gd name="T31" fmla="*/ 37 h 312"/>
                <a:gd name="T32" fmla="*/ 5 w 200"/>
                <a:gd name="T33" fmla="*/ 35 h 312"/>
                <a:gd name="T34" fmla="*/ 5 w 200"/>
                <a:gd name="T35" fmla="*/ 12 h 312"/>
                <a:gd name="T36" fmla="*/ 5 w 200"/>
                <a:gd name="T37" fmla="*/ 25 h 312"/>
                <a:gd name="T38" fmla="*/ 5 w 200"/>
                <a:gd name="T39" fmla="*/ 37 h 312"/>
                <a:gd name="T40" fmla="*/ 5 w 200"/>
                <a:gd name="T41" fmla="*/ 66 h 312"/>
                <a:gd name="T42" fmla="*/ 5 w 200"/>
                <a:gd name="T43" fmla="*/ 90 h 312"/>
                <a:gd name="T44" fmla="*/ 5 w 200"/>
                <a:gd name="T45" fmla="*/ 90 h 312"/>
                <a:gd name="T46" fmla="*/ 5 w 200"/>
                <a:gd name="T47" fmla="*/ 158 h 312"/>
                <a:gd name="T48" fmla="*/ 5 w 200"/>
                <a:gd name="T49" fmla="*/ 162 h 312"/>
                <a:gd name="T50" fmla="*/ 5 w 200"/>
                <a:gd name="T51" fmla="*/ 185 h 31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0"/>
                <a:gd name="T79" fmla="*/ 0 h 312"/>
                <a:gd name="T80" fmla="*/ 200 w 200"/>
                <a:gd name="T81" fmla="*/ 312 h 31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0" h="312">
                  <a:moveTo>
                    <a:pt x="17" y="185"/>
                  </a:moveTo>
                  <a:lnTo>
                    <a:pt x="0" y="213"/>
                  </a:lnTo>
                  <a:lnTo>
                    <a:pt x="0" y="290"/>
                  </a:lnTo>
                  <a:lnTo>
                    <a:pt x="11" y="312"/>
                  </a:lnTo>
                  <a:lnTo>
                    <a:pt x="12" y="312"/>
                  </a:lnTo>
                  <a:lnTo>
                    <a:pt x="44" y="265"/>
                  </a:lnTo>
                  <a:lnTo>
                    <a:pt x="105" y="215"/>
                  </a:lnTo>
                  <a:lnTo>
                    <a:pt x="134" y="179"/>
                  </a:lnTo>
                  <a:lnTo>
                    <a:pt x="159" y="142"/>
                  </a:lnTo>
                  <a:lnTo>
                    <a:pt x="199" y="35"/>
                  </a:lnTo>
                  <a:lnTo>
                    <a:pt x="200" y="5"/>
                  </a:lnTo>
                  <a:lnTo>
                    <a:pt x="190" y="0"/>
                  </a:lnTo>
                  <a:lnTo>
                    <a:pt x="181" y="10"/>
                  </a:lnTo>
                  <a:lnTo>
                    <a:pt x="158" y="19"/>
                  </a:lnTo>
                  <a:lnTo>
                    <a:pt x="126" y="20"/>
                  </a:lnTo>
                  <a:lnTo>
                    <a:pt x="73" y="37"/>
                  </a:lnTo>
                  <a:lnTo>
                    <a:pt x="62" y="35"/>
                  </a:lnTo>
                  <a:lnTo>
                    <a:pt x="42" y="12"/>
                  </a:lnTo>
                  <a:lnTo>
                    <a:pt x="35" y="25"/>
                  </a:lnTo>
                  <a:lnTo>
                    <a:pt x="35" y="37"/>
                  </a:lnTo>
                  <a:lnTo>
                    <a:pt x="60" y="66"/>
                  </a:lnTo>
                  <a:lnTo>
                    <a:pt x="122" y="90"/>
                  </a:lnTo>
                  <a:lnTo>
                    <a:pt x="139" y="90"/>
                  </a:lnTo>
                  <a:lnTo>
                    <a:pt x="83" y="158"/>
                  </a:lnTo>
                  <a:lnTo>
                    <a:pt x="54" y="162"/>
                  </a:lnTo>
                  <a:lnTo>
                    <a:pt x="17" y="185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50" name="Freeform 207"/>
            <p:cNvSpPr>
              <a:spLocks noChangeAspect="1"/>
            </p:cNvSpPr>
            <p:nvPr/>
          </p:nvSpPr>
          <p:spPr bwMode="auto">
            <a:xfrm>
              <a:off x="3820085" y="3136344"/>
              <a:ext cx="75447" cy="28699"/>
            </a:xfrm>
            <a:custGeom>
              <a:avLst/>
              <a:gdLst>
                <a:gd name="T0" fmla="*/ 1 w 60"/>
                <a:gd name="T1" fmla="*/ 20 h 20"/>
                <a:gd name="T2" fmla="*/ 5 w 60"/>
                <a:gd name="T3" fmla="*/ 10 h 20"/>
                <a:gd name="T4" fmla="*/ 5 w 60"/>
                <a:gd name="T5" fmla="*/ 14 h 20"/>
                <a:gd name="T6" fmla="*/ 5 w 60"/>
                <a:gd name="T7" fmla="*/ 7 h 20"/>
                <a:gd name="T8" fmla="*/ 5 w 60"/>
                <a:gd name="T9" fmla="*/ 0 h 20"/>
                <a:gd name="T10" fmla="*/ 3 w 60"/>
                <a:gd name="T11" fmla="*/ 5 h 20"/>
                <a:gd name="T12" fmla="*/ 1 w 60"/>
                <a:gd name="T13" fmla="*/ 5 h 20"/>
                <a:gd name="T14" fmla="*/ 0 w 60"/>
                <a:gd name="T15" fmla="*/ 18 h 20"/>
                <a:gd name="T16" fmla="*/ 1 w 60"/>
                <a:gd name="T17" fmla="*/ 2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0"/>
                <a:gd name="T28" fmla="*/ 0 h 20"/>
                <a:gd name="T29" fmla="*/ 60 w 60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0" h="20">
                  <a:moveTo>
                    <a:pt x="1" y="20"/>
                  </a:moveTo>
                  <a:lnTo>
                    <a:pt x="33" y="10"/>
                  </a:lnTo>
                  <a:lnTo>
                    <a:pt x="57" y="14"/>
                  </a:lnTo>
                  <a:lnTo>
                    <a:pt x="60" y="7"/>
                  </a:lnTo>
                  <a:lnTo>
                    <a:pt x="32" y="0"/>
                  </a:lnTo>
                  <a:lnTo>
                    <a:pt x="3" y="5"/>
                  </a:lnTo>
                  <a:lnTo>
                    <a:pt x="1" y="5"/>
                  </a:lnTo>
                  <a:lnTo>
                    <a:pt x="0" y="18"/>
                  </a:lnTo>
                  <a:lnTo>
                    <a:pt x="1" y="2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51" name="Freeform 208"/>
            <p:cNvSpPr>
              <a:spLocks noChangeAspect="1"/>
            </p:cNvSpPr>
            <p:nvPr/>
          </p:nvSpPr>
          <p:spPr bwMode="auto">
            <a:xfrm>
              <a:off x="3820085" y="3176523"/>
              <a:ext cx="78242" cy="58833"/>
            </a:xfrm>
            <a:custGeom>
              <a:avLst/>
              <a:gdLst>
                <a:gd name="T0" fmla="*/ 4 w 63"/>
                <a:gd name="T1" fmla="*/ 0 h 41"/>
                <a:gd name="T2" fmla="*/ 4 w 63"/>
                <a:gd name="T3" fmla="*/ 23 h 41"/>
                <a:gd name="T4" fmla="*/ 4 w 63"/>
                <a:gd name="T5" fmla="*/ 29 h 41"/>
                <a:gd name="T6" fmla="*/ 4 w 63"/>
                <a:gd name="T7" fmla="*/ 40 h 41"/>
                <a:gd name="T8" fmla="*/ 4 w 63"/>
                <a:gd name="T9" fmla="*/ 41 h 41"/>
                <a:gd name="T10" fmla="*/ 4 w 63"/>
                <a:gd name="T11" fmla="*/ 34 h 41"/>
                <a:gd name="T12" fmla="*/ 4 w 63"/>
                <a:gd name="T13" fmla="*/ 18 h 41"/>
                <a:gd name="T14" fmla="*/ 4 w 63"/>
                <a:gd name="T15" fmla="*/ 21 h 41"/>
                <a:gd name="T16" fmla="*/ 0 w 63"/>
                <a:gd name="T17" fmla="*/ 7 h 41"/>
                <a:gd name="T18" fmla="*/ 1 w 63"/>
                <a:gd name="T19" fmla="*/ 6 h 41"/>
                <a:gd name="T20" fmla="*/ 4 w 63"/>
                <a:gd name="T21" fmla="*/ 0 h 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3"/>
                <a:gd name="T34" fmla="*/ 0 h 41"/>
                <a:gd name="T35" fmla="*/ 63 w 63"/>
                <a:gd name="T36" fmla="*/ 41 h 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3" h="41">
                  <a:moveTo>
                    <a:pt x="63" y="0"/>
                  </a:moveTo>
                  <a:lnTo>
                    <a:pt x="60" y="23"/>
                  </a:lnTo>
                  <a:lnTo>
                    <a:pt x="43" y="29"/>
                  </a:lnTo>
                  <a:lnTo>
                    <a:pt x="34" y="40"/>
                  </a:lnTo>
                  <a:lnTo>
                    <a:pt x="34" y="41"/>
                  </a:lnTo>
                  <a:lnTo>
                    <a:pt x="27" y="34"/>
                  </a:lnTo>
                  <a:lnTo>
                    <a:pt x="26" y="18"/>
                  </a:lnTo>
                  <a:lnTo>
                    <a:pt x="17" y="21"/>
                  </a:lnTo>
                  <a:lnTo>
                    <a:pt x="0" y="7"/>
                  </a:lnTo>
                  <a:lnTo>
                    <a:pt x="1" y="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52" name="Freeform 209"/>
            <p:cNvSpPr>
              <a:spLocks noChangeAspect="1"/>
            </p:cNvSpPr>
            <p:nvPr/>
          </p:nvSpPr>
          <p:spPr bwMode="auto">
            <a:xfrm>
              <a:off x="3906709" y="3265490"/>
              <a:ext cx="75447" cy="103317"/>
            </a:xfrm>
            <a:custGeom>
              <a:avLst/>
              <a:gdLst>
                <a:gd name="T0" fmla="*/ 0 w 60"/>
                <a:gd name="T1" fmla="*/ 19 h 72"/>
                <a:gd name="T2" fmla="*/ 5 w 60"/>
                <a:gd name="T3" fmla="*/ 51 h 72"/>
                <a:gd name="T4" fmla="*/ 5 w 60"/>
                <a:gd name="T5" fmla="*/ 72 h 72"/>
                <a:gd name="T6" fmla="*/ 5 w 60"/>
                <a:gd name="T7" fmla="*/ 69 h 72"/>
                <a:gd name="T8" fmla="*/ 5 w 60"/>
                <a:gd name="T9" fmla="*/ 38 h 72"/>
                <a:gd name="T10" fmla="*/ 5 w 60"/>
                <a:gd name="T11" fmla="*/ 38 h 72"/>
                <a:gd name="T12" fmla="*/ 5 w 60"/>
                <a:gd name="T13" fmla="*/ 25 h 72"/>
                <a:gd name="T14" fmla="*/ 5 w 60"/>
                <a:gd name="T15" fmla="*/ 0 h 72"/>
                <a:gd name="T16" fmla="*/ 5 w 60"/>
                <a:gd name="T17" fmla="*/ 1 h 72"/>
                <a:gd name="T18" fmla="*/ 0 w 60"/>
                <a:gd name="T19" fmla="*/ 19 h 7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72"/>
                <a:gd name="T32" fmla="*/ 60 w 60"/>
                <a:gd name="T33" fmla="*/ 72 h 7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72">
                  <a:moveTo>
                    <a:pt x="0" y="19"/>
                  </a:moveTo>
                  <a:lnTo>
                    <a:pt x="6" y="51"/>
                  </a:lnTo>
                  <a:lnTo>
                    <a:pt x="36" y="72"/>
                  </a:lnTo>
                  <a:lnTo>
                    <a:pt x="37" y="69"/>
                  </a:lnTo>
                  <a:lnTo>
                    <a:pt x="60" y="38"/>
                  </a:lnTo>
                  <a:lnTo>
                    <a:pt x="54" y="38"/>
                  </a:lnTo>
                  <a:lnTo>
                    <a:pt x="56" y="25"/>
                  </a:lnTo>
                  <a:lnTo>
                    <a:pt x="38" y="0"/>
                  </a:lnTo>
                  <a:lnTo>
                    <a:pt x="19" y="1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53" name="Freeform 210"/>
            <p:cNvSpPr>
              <a:spLocks noChangeAspect="1"/>
            </p:cNvSpPr>
            <p:nvPr/>
          </p:nvSpPr>
          <p:spPr bwMode="auto">
            <a:xfrm>
              <a:off x="4986723" y="3674455"/>
              <a:ext cx="41915" cy="66008"/>
            </a:xfrm>
            <a:custGeom>
              <a:avLst/>
              <a:gdLst>
                <a:gd name="T0" fmla="*/ 0 w 32"/>
                <a:gd name="T1" fmla="*/ 7 h 46"/>
                <a:gd name="T2" fmla="*/ 8 w 32"/>
                <a:gd name="T3" fmla="*/ 0 h 46"/>
                <a:gd name="T4" fmla="*/ 8 w 32"/>
                <a:gd name="T5" fmla="*/ 22 h 46"/>
                <a:gd name="T6" fmla="*/ 8 w 32"/>
                <a:gd name="T7" fmla="*/ 46 h 46"/>
                <a:gd name="T8" fmla="*/ 7 w 32"/>
                <a:gd name="T9" fmla="*/ 46 h 46"/>
                <a:gd name="T10" fmla="*/ 4 w 32"/>
                <a:gd name="T11" fmla="*/ 22 h 46"/>
                <a:gd name="T12" fmla="*/ 0 w 32"/>
                <a:gd name="T13" fmla="*/ 7 h 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46"/>
                <a:gd name="T23" fmla="*/ 32 w 32"/>
                <a:gd name="T24" fmla="*/ 46 h 4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46">
                  <a:moveTo>
                    <a:pt x="0" y="7"/>
                  </a:moveTo>
                  <a:lnTo>
                    <a:pt x="30" y="0"/>
                  </a:lnTo>
                  <a:lnTo>
                    <a:pt x="32" y="22"/>
                  </a:lnTo>
                  <a:lnTo>
                    <a:pt x="11" y="46"/>
                  </a:lnTo>
                  <a:lnTo>
                    <a:pt x="7" y="46"/>
                  </a:lnTo>
                  <a:lnTo>
                    <a:pt x="4" y="22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54" name="Freeform 211"/>
            <p:cNvSpPr>
              <a:spLocks noChangeAspect="1"/>
            </p:cNvSpPr>
            <p:nvPr/>
          </p:nvSpPr>
          <p:spPr bwMode="auto">
            <a:xfrm>
              <a:off x="4985325" y="3628536"/>
              <a:ext cx="47504" cy="55964"/>
            </a:xfrm>
            <a:custGeom>
              <a:avLst/>
              <a:gdLst>
                <a:gd name="T0" fmla="*/ 6 w 37"/>
                <a:gd name="T1" fmla="*/ 32 h 39"/>
                <a:gd name="T2" fmla="*/ 2 w 37"/>
                <a:gd name="T3" fmla="*/ 39 h 39"/>
                <a:gd name="T4" fmla="*/ 0 w 37"/>
                <a:gd name="T5" fmla="*/ 31 h 39"/>
                <a:gd name="T6" fmla="*/ 6 w 37"/>
                <a:gd name="T7" fmla="*/ 7 h 39"/>
                <a:gd name="T8" fmla="*/ 6 w 37"/>
                <a:gd name="T9" fmla="*/ 0 h 39"/>
                <a:gd name="T10" fmla="*/ 6 w 37"/>
                <a:gd name="T11" fmla="*/ 19 h 39"/>
                <a:gd name="T12" fmla="*/ 6 w 37"/>
                <a:gd name="T13" fmla="*/ 32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9"/>
                <a:gd name="T23" fmla="*/ 37 w 37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9">
                  <a:moveTo>
                    <a:pt x="32" y="32"/>
                  </a:moveTo>
                  <a:lnTo>
                    <a:pt x="2" y="39"/>
                  </a:lnTo>
                  <a:lnTo>
                    <a:pt x="0" y="31"/>
                  </a:lnTo>
                  <a:lnTo>
                    <a:pt x="13" y="7"/>
                  </a:lnTo>
                  <a:lnTo>
                    <a:pt x="29" y="0"/>
                  </a:lnTo>
                  <a:lnTo>
                    <a:pt x="37" y="19"/>
                  </a:lnTo>
                  <a:lnTo>
                    <a:pt x="32" y="32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55" name="Freeform 212"/>
            <p:cNvSpPr>
              <a:spLocks noChangeAspect="1"/>
            </p:cNvSpPr>
            <p:nvPr/>
          </p:nvSpPr>
          <p:spPr bwMode="auto">
            <a:xfrm>
              <a:off x="5016063" y="4446464"/>
              <a:ext cx="29341" cy="45919"/>
            </a:xfrm>
            <a:custGeom>
              <a:avLst/>
              <a:gdLst>
                <a:gd name="T0" fmla="*/ 5 w 23"/>
                <a:gd name="T1" fmla="*/ 22 h 32"/>
                <a:gd name="T2" fmla="*/ 5 w 23"/>
                <a:gd name="T3" fmla="*/ 0 h 32"/>
                <a:gd name="T4" fmla="*/ 5 w 23"/>
                <a:gd name="T5" fmla="*/ 2 h 32"/>
                <a:gd name="T6" fmla="*/ 0 w 23"/>
                <a:gd name="T7" fmla="*/ 23 h 32"/>
                <a:gd name="T8" fmla="*/ 5 w 23"/>
                <a:gd name="T9" fmla="*/ 32 h 32"/>
                <a:gd name="T10" fmla="*/ 5 w 23"/>
                <a:gd name="T11" fmla="*/ 2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3"/>
                <a:gd name="T19" fmla="*/ 0 h 32"/>
                <a:gd name="T20" fmla="*/ 23 w 23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3" h="32">
                  <a:moveTo>
                    <a:pt x="23" y="22"/>
                  </a:moveTo>
                  <a:lnTo>
                    <a:pt x="23" y="0"/>
                  </a:lnTo>
                  <a:lnTo>
                    <a:pt x="7" y="2"/>
                  </a:lnTo>
                  <a:lnTo>
                    <a:pt x="0" y="23"/>
                  </a:lnTo>
                  <a:lnTo>
                    <a:pt x="11" y="32"/>
                  </a:lnTo>
                  <a:lnTo>
                    <a:pt x="23" y="2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56" name="Freeform 213"/>
            <p:cNvSpPr>
              <a:spLocks noChangeAspect="1"/>
            </p:cNvSpPr>
            <p:nvPr/>
          </p:nvSpPr>
          <p:spPr bwMode="auto">
            <a:xfrm>
              <a:off x="4743615" y="4182431"/>
              <a:ext cx="236122" cy="297037"/>
            </a:xfrm>
            <a:custGeom>
              <a:avLst/>
              <a:gdLst>
                <a:gd name="T0" fmla="*/ 4 w 188"/>
                <a:gd name="T1" fmla="*/ 0 h 207"/>
                <a:gd name="T2" fmla="*/ 4 w 188"/>
                <a:gd name="T3" fmla="*/ 37 h 207"/>
                <a:gd name="T4" fmla="*/ 4 w 188"/>
                <a:gd name="T5" fmla="*/ 64 h 207"/>
                <a:gd name="T6" fmla="*/ 4 w 188"/>
                <a:gd name="T7" fmla="*/ 89 h 207"/>
                <a:gd name="T8" fmla="*/ 4 w 188"/>
                <a:gd name="T9" fmla="*/ 99 h 207"/>
                <a:gd name="T10" fmla="*/ 4 w 188"/>
                <a:gd name="T11" fmla="*/ 125 h 207"/>
                <a:gd name="T12" fmla="*/ 4 w 188"/>
                <a:gd name="T13" fmla="*/ 180 h 207"/>
                <a:gd name="T14" fmla="*/ 4 w 188"/>
                <a:gd name="T15" fmla="*/ 182 h 207"/>
                <a:gd name="T16" fmla="*/ 4 w 188"/>
                <a:gd name="T17" fmla="*/ 175 h 207"/>
                <a:gd name="T18" fmla="*/ 4 w 188"/>
                <a:gd name="T19" fmla="*/ 204 h 207"/>
                <a:gd name="T20" fmla="*/ 4 w 188"/>
                <a:gd name="T21" fmla="*/ 207 h 207"/>
                <a:gd name="T22" fmla="*/ 4 w 188"/>
                <a:gd name="T23" fmla="*/ 203 h 207"/>
                <a:gd name="T24" fmla="*/ 4 w 188"/>
                <a:gd name="T25" fmla="*/ 176 h 207"/>
                <a:gd name="T26" fmla="*/ 1 w 188"/>
                <a:gd name="T27" fmla="*/ 160 h 207"/>
                <a:gd name="T28" fmla="*/ 0 w 188"/>
                <a:gd name="T29" fmla="*/ 160 h 207"/>
                <a:gd name="T30" fmla="*/ 1 w 188"/>
                <a:gd name="T31" fmla="*/ 102 h 207"/>
                <a:gd name="T32" fmla="*/ 4 w 188"/>
                <a:gd name="T33" fmla="*/ 91 h 207"/>
                <a:gd name="T34" fmla="*/ 4 w 188"/>
                <a:gd name="T35" fmla="*/ 14 h 207"/>
                <a:gd name="T36" fmla="*/ 4 w 188"/>
                <a:gd name="T37" fmla="*/ 6 h 207"/>
                <a:gd name="T38" fmla="*/ 4 w 188"/>
                <a:gd name="T39" fmla="*/ 7 h 207"/>
                <a:gd name="T40" fmla="*/ 4 w 188"/>
                <a:gd name="T41" fmla="*/ 18 h 207"/>
                <a:gd name="T42" fmla="*/ 4 w 188"/>
                <a:gd name="T43" fmla="*/ 6 h 207"/>
                <a:gd name="T44" fmla="*/ 4 w 188"/>
                <a:gd name="T45" fmla="*/ 0 h 20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88"/>
                <a:gd name="T70" fmla="*/ 0 h 207"/>
                <a:gd name="T71" fmla="*/ 188 w 188"/>
                <a:gd name="T72" fmla="*/ 207 h 20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88" h="207">
                  <a:moveTo>
                    <a:pt x="108" y="0"/>
                  </a:moveTo>
                  <a:lnTo>
                    <a:pt x="125" y="37"/>
                  </a:lnTo>
                  <a:lnTo>
                    <a:pt x="158" y="64"/>
                  </a:lnTo>
                  <a:lnTo>
                    <a:pt x="164" y="89"/>
                  </a:lnTo>
                  <a:lnTo>
                    <a:pt x="188" y="99"/>
                  </a:lnTo>
                  <a:lnTo>
                    <a:pt x="152" y="125"/>
                  </a:lnTo>
                  <a:lnTo>
                    <a:pt x="108" y="180"/>
                  </a:lnTo>
                  <a:lnTo>
                    <a:pt x="90" y="182"/>
                  </a:lnTo>
                  <a:lnTo>
                    <a:pt x="72" y="175"/>
                  </a:lnTo>
                  <a:lnTo>
                    <a:pt x="44" y="204"/>
                  </a:lnTo>
                  <a:lnTo>
                    <a:pt x="24" y="207"/>
                  </a:lnTo>
                  <a:lnTo>
                    <a:pt x="15" y="203"/>
                  </a:lnTo>
                  <a:lnTo>
                    <a:pt x="16" y="176"/>
                  </a:lnTo>
                  <a:lnTo>
                    <a:pt x="1" y="160"/>
                  </a:lnTo>
                  <a:lnTo>
                    <a:pt x="0" y="160"/>
                  </a:lnTo>
                  <a:lnTo>
                    <a:pt x="1" y="102"/>
                  </a:lnTo>
                  <a:lnTo>
                    <a:pt x="22" y="91"/>
                  </a:lnTo>
                  <a:lnTo>
                    <a:pt x="24" y="14"/>
                  </a:lnTo>
                  <a:lnTo>
                    <a:pt x="64" y="6"/>
                  </a:lnTo>
                  <a:lnTo>
                    <a:pt x="72" y="7"/>
                  </a:lnTo>
                  <a:lnTo>
                    <a:pt x="75" y="18"/>
                  </a:lnTo>
                  <a:lnTo>
                    <a:pt x="87" y="6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57" name="Freeform 214"/>
            <p:cNvSpPr>
              <a:spLocks noChangeAspect="1"/>
            </p:cNvSpPr>
            <p:nvPr/>
          </p:nvSpPr>
          <p:spPr bwMode="auto">
            <a:xfrm>
              <a:off x="5330427" y="3991581"/>
              <a:ext cx="188618" cy="449143"/>
            </a:xfrm>
            <a:custGeom>
              <a:avLst/>
              <a:gdLst>
                <a:gd name="T0" fmla="*/ 0 w 150"/>
                <a:gd name="T1" fmla="*/ 229 h 313"/>
                <a:gd name="T2" fmla="*/ 4 w 150"/>
                <a:gd name="T3" fmla="*/ 288 h 313"/>
                <a:gd name="T4" fmla="*/ 4 w 150"/>
                <a:gd name="T5" fmla="*/ 306 h 313"/>
                <a:gd name="T6" fmla="*/ 4 w 150"/>
                <a:gd name="T7" fmla="*/ 313 h 313"/>
                <a:gd name="T8" fmla="*/ 4 w 150"/>
                <a:gd name="T9" fmla="*/ 303 h 313"/>
                <a:gd name="T10" fmla="*/ 4 w 150"/>
                <a:gd name="T11" fmla="*/ 292 h 313"/>
                <a:gd name="T12" fmla="*/ 4 w 150"/>
                <a:gd name="T13" fmla="*/ 149 h 313"/>
                <a:gd name="T14" fmla="*/ 4 w 150"/>
                <a:gd name="T15" fmla="*/ 80 h 313"/>
                <a:gd name="T16" fmla="*/ 4 w 150"/>
                <a:gd name="T17" fmla="*/ 90 h 313"/>
                <a:gd name="T18" fmla="*/ 4 w 150"/>
                <a:gd name="T19" fmla="*/ 79 h 313"/>
                <a:gd name="T20" fmla="*/ 4 w 150"/>
                <a:gd name="T21" fmla="*/ 23 h 313"/>
                <a:gd name="T22" fmla="*/ 4 w 150"/>
                <a:gd name="T23" fmla="*/ 0 h 313"/>
                <a:gd name="T24" fmla="*/ 4 w 150"/>
                <a:gd name="T25" fmla="*/ 9 h 313"/>
                <a:gd name="T26" fmla="*/ 4 w 150"/>
                <a:gd name="T27" fmla="*/ 30 h 313"/>
                <a:gd name="T28" fmla="*/ 4 w 150"/>
                <a:gd name="T29" fmla="*/ 36 h 313"/>
                <a:gd name="T30" fmla="*/ 4 w 150"/>
                <a:gd name="T31" fmla="*/ 63 h 313"/>
                <a:gd name="T32" fmla="*/ 4 w 150"/>
                <a:gd name="T33" fmla="*/ 96 h 313"/>
                <a:gd name="T34" fmla="*/ 4 w 150"/>
                <a:gd name="T35" fmla="*/ 125 h 313"/>
                <a:gd name="T36" fmla="*/ 4 w 150"/>
                <a:gd name="T37" fmla="*/ 184 h 313"/>
                <a:gd name="T38" fmla="*/ 0 w 150"/>
                <a:gd name="T39" fmla="*/ 229 h 31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50"/>
                <a:gd name="T61" fmla="*/ 0 h 313"/>
                <a:gd name="T62" fmla="*/ 150 w 150"/>
                <a:gd name="T63" fmla="*/ 313 h 31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50" h="313">
                  <a:moveTo>
                    <a:pt x="0" y="229"/>
                  </a:moveTo>
                  <a:lnTo>
                    <a:pt x="6" y="288"/>
                  </a:lnTo>
                  <a:lnTo>
                    <a:pt x="22" y="306"/>
                  </a:lnTo>
                  <a:lnTo>
                    <a:pt x="29" y="313"/>
                  </a:lnTo>
                  <a:lnTo>
                    <a:pt x="67" y="303"/>
                  </a:lnTo>
                  <a:lnTo>
                    <a:pt x="74" y="292"/>
                  </a:lnTo>
                  <a:lnTo>
                    <a:pt x="124" y="149"/>
                  </a:lnTo>
                  <a:lnTo>
                    <a:pt x="136" y="80"/>
                  </a:lnTo>
                  <a:lnTo>
                    <a:pt x="143" y="90"/>
                  </a:lnTo>
                  <a:lnTo>
                    <a:pt x="150" y="79"/>
                  </a:lnTo>
                  <a:lnTo>
                    <a:pt x="141" y="23"/>
                  </a:lnTo>
                  <a:lnTo>
                    <a:pt x="130" y="0"/>
                  </a:lnTo>
                  <a:lnTo>
                    <a:pt x="121" y="9"/>
                  </a:lnTo>
                  <a:lnTo>
                    <a:pt x="119" y="30"/>
                  </a:lnTo>
                  <a:lnTo>
                    <a:pt x="100" y="36"/>
                  </a:lnTo>
                  <a:lnTo>
                    <a:pt x="96" y="63"/>
                  </a:lnTo>
                  <a:lnTo>
                    <a:pt x="31" y="96"/>
                  </a:lnTo>
                  <a:lnTo>
                    <a:pt x="18" y="125"/>
                  </a:lnTo>
                  <a:lnTo>
                    <a:pt x="25" y="184"/>
                  </a:lnTo>
                  <a:lnTo>
                    <a:pt x="0" y="22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58" name="Freeform 215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398240" y="2482001"/>
              <a:ext cx="62873" cy="90403"/>
            </a:xfrm>
            <a:custGeom>
              <a:avLst/>
              <a:gdLst>
                <a:gd name="T0" fmla="*/ 0 w 50"/>
                <a:gd name="T1" fmla="*/ 13 h 63"/>
                <a:gd name="T2" fmla="*/ 5 w 50"/>
                <a:gd name="T3" fmla="*/ 24 h 63"/>
                <a:gd name="T4" fmla="*/ 5 w 50"/>
                <a:gd name="T5" fmla="*/ 24 h 63"/>
                <a:gd name="T6" fmla="*/ 5 w 50"/>
                <a:gd name="T7" fmla="*/ 17 h 63"/>
                <a:gd name="T8" fmla="*/ 5 w 50"/>
                <a:gd name="T9" fmla="*/ 24 h 63"/>
                <a:gd name="T10" fmla="*/ 5 w 50"/>
                <a:gd name="T11" fmla="*/ 58 h 63"/>
                <a:gd name="T12" fmla="*/ 5 w 50"/>
                <a:gd name="T13" fmla="*/ 63 h 63"/>
                <a:gd name="T14" fmla="*/ 5 w 50"/>
                <a:gd name="T15" fmla="*/ 55 h 63"/>
                <a:gd name="T16" fmla="*/ 5 w 50"/>
                <a:gd name="T17" fmla="*/ 22 h 63"/>
                <a:gd name="T18" fmla="*/ 5 w 50"/>
                <a:gd name="T19" fmla="*/ 4 h 63"/>
                <a:gd name="T20" fmla="*/ 5 w 50"/>
                <a:gd name="T21" fmla="*/ 0 h 63"/>
                <a:gd name="T22" fmla="*/ 0 w 50"/>
                <a:gd name="T23" fmla="*/ 13 h 6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0"/>
                <a:gd name="T37" fmla="*/ 0 h 63"/>
                <a:gd name="T38" fmla="*/ 50 w 50"/>
                <a:gd name="T39" fmla="*/ 63 h 6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0" h="63">
                  <a:moveTo>
                    <a:pt x="0" y="13"/>
                  </a:moveTo>
                  <a:lnTo>
                    <a:pt x="8" y="24"/>
                  </a:lnTo>
                  <a:lnTo>
                    <a:pt x="17" y="24"/>
                  </a:lnTo>
                  <a:lnTo>
                    <a:pt x="16" y="17"/>
                  </a:lnTo>
                  <a:lnTo>
                    <a:pt x="23" y="24"/>
                  </a:lnTo>
                  <a:lnTo>
                    <a:pt x="29" y="58"/>
                  </a:lnTo>
                  <a:lnTo>
                    <a:pt x="41" y="63"/>
                  </a:lnTo>
                  <a:lnTo>
                    <a:pt x="50" y="55"/>
                  </a:lnTo>
                  <a:lnTo>
                    <a:pt x="50" y="22"/>
                  </a:lnTo>
                  <a:lnTo>
                    <a:pt x="36" y="4"/>
                  </a:lnTo>
                  <a:lnTo>
                    <a:pt x="12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59" name="Freeform 216"/>
            <p:cNvSpPr>
              <a:spLocks noChangeAspect="1"/>
            </p:cNvSpPr>
            <p:nvPr/>
          </p:nvSpPr>
          <p:spPr bwMode="auto">
            <a:xfrm>
              <a:off x="7462510" y="2467652"/>
              <a:ext cx="51695" cy="48789"/>
            </a:xfrm>
            <a:custGeom>
              <a:avLst/>
              <a:gdLst>
                <a:gd name="T0" fmla="*/ 0 w 42"/>
                <a:gd name="T1" fmla="*/ 20 h 34"/>
                <a:gd name="T2" fmla="*/ 4 w 42"/>
                <a:gd name="T3" fmla="*/ 34 h 34"/>
                <a:gd name="T4" fmla="*/ 4 w 42"/>
                <a:gd name="T5" fmla="*/ 21 h 34"/>
                <a:gd name="T6" fmla="*/ 4 w 42"/>
                <a:gd name="T7" fmla="*/ 17 h 34"/>
                <a:gd name="T8" fmla="*/ 4 w 42"/>
                <a:gd name="T9" fmla="*/ 23 h 34"/>
                <a:gd name="T10" fmla="*/ 4 w 42"/>
                <a:gd name="T11" fmla="*/ 10 h 34"/>
                <a:gd name="T12" fmla="*/ 4 w 42"/>
                <a:gd name="T13" fmla="*/ 2 h 34"/>
                <a:gd name="T14" fmla="*/ 4 w 42"/>
                <a:gd name="T15" fmla="*/ 0 h 34"/>
                <a:gd name="T16" fmla="*/ 4 w 42"/>
                <a:gd name="T17" fmla="*/ 8 h 34"/>
                <a:gd name="T18" fmla="*/ 4 w 42"/>
                <a:gd name="T19" fmla="*/ 5 h 34"/>
                <a:gd name="T20" fmla="*/ 0 w 42"/>
                <a:gd name="T21" fmla="*/ 20 h 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34"/>
                <a:gd name="T35" fmla="*/ 42 w 42"/>
                <a:gd name="T36" fmla="*/ 34 h 3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34">
                  <a:moveTo>
                    <a:pt x="0" y="20"/>
                  </a:moveTo>
                  <a:lnTo>
                    <a:pt x="18" y="34"/>
                  </a:lnTo>
                  <a:lnTo>
                    <a:pt x="21" y="21"/>
                  </a:lnTo>
                  <a:lnTo>
                    <a:pt x="28" y="17"/>
                  </a:lnTo>
                  <a:lnTo>
                    <a:pt x="36" y="23"/>
                  </a:lnTo>
                  <a:lnTo>
                    <a:pt x="42" y="10"/>
                  </a:lnTo>
                  <a:lnTo>
                    <a:pt x="38" y="2"/>
                  </a:lnTo>
                  <a:lnTo>
                    <a:pt x="18" y="0"/>
                  </a:lnTo>
                  <a:lnTo>
                    <a:pt x="17" y="8"/>
                  </a:lnTo>
                  <a:lnTo>
                    <a:pt x="6" y="5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60" name="Freeform 21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419197" y="2229448"/>
              <a:ext cx="222150" cy="266903"/>
            </a:xfrm>
            <a:custGeom>
              <a:avLst/>
              <a:gdLst>
                <a:gd name="T0" fmla="*/ 0 w 176"/>
                <a:gd name="T1" fmla="*/ 164 h 186"/>
                <a:gd name="T2" fmla="*/ 4 w 176"/>
                <a:gd name="T3" fmla="*/ 174 h 186"/>
                <a:gd name="T4" fmla="*/ 5 w 176"/>
                <a:gd name="T5" fmla="*/ 174 h 186"/>
                <a:gd name="T6" fmla="*/ 5 w 176"/>
                <a:gd name="T7" fmla="*/ 166 h 186"/>
                <a:gd name="T8" fmla="*/ 5 w 176"/>
                <a:gd name="T9" fmla="*/ 153 h 186"/>
                <a:gd name="T10" fmla="*/ 5 w 176"/>
                <a:gd name="T11" fmla="*/ 154 h 186"/>
                <a:gd name="T12" fmla="*/ 5 w 176"/>
                <a:gd name="T13" fmla="*/ 174 h 186"/>
                <a:gd name="T14" fmla="*/ 5 w 176"/>
                <a:gd name="T15" fmla="*/ 186 h 186"/>
                <a:gd name="T16" fmla="*/ 5 w 176"/>
                <a:gd name="T17" fmla="*/ 164 h 186"/>
                <a:gd name="T18" fmla="*/ 5 w 176"/>
                <a:gd name="T19" fmla="*/ 157 h 186"/>
                <a:gd name="T20" fmla="*/ 5 w 176"/>
                <a:gd name="T21" fmla="*/ 149 h 186"/>
                <a:gd name="T22" fmla="*/ 5 w 176"/>
                <a:gd name="T23" fmla="*/ 158 h 186"/>
                <a:gd name="T24" fmla="*/ 5 w 176"/>
                <a:gd name="T25" fmla="*/ 158 h 186"/>
                <a:gd name="T26" fmla="*/ 5 w 176"/>
                <a:gd name="T27" fmla="*/ 147 h 186"/>
                <a:gd name="T28" fmla="*/ 5 w 176"/>
                <a:gd name="T29" fmla="*/ 158 h 186"/>
                <a:gd name="T30" fmla="*/ 5 w 176"/>
                <a:gd name="T31" fmla="*/ 143 h 186"/>
                <a:gd name="T32" fmla="*/ 5 w 176"/>
                <a:gd name="T33" fmla="*/ 137 h 186"/>
                <a:gd name="T34" fmla="*/ 5 w 176"/>
                <a:gd name="T35" fmla="*/ 151 h 186"/>
                <a:gd name="T36" fmla="*/ 5 w 176"/>
                <a:gd name="T37" fmla="*/ 145 h 186"/>
                <a:gd name="T38" fmla="*/ 5 w 176"/>
                <a:gd name="T39" fmla="*/ 131 h 186"/>
                <a:gd name="T40" fmla="*/ 5 w 176"/>
                <a:gd name="T41" fmla="*/ 78 h 186"/>
                <a:gd name="T42" fmla="*/ 5 w 176"/>
                <a:gd name="T43" fmla="*/ 73 h 186"/>
                <a:gd name="T44" fmla="*/ 5 w 176"/>
                <a:gd name="T45" fmla="*/ 73 h 186"/>
                <a:gd name="T46" fmla="*/ 5 w 176"/>
                <a:gd name="T47" fmla="*/ 55 h 186"/>
                <a:gd name="T48" fmla="*/ 5 w 176"/>
                <a:gd name="T49" fmla="*/ 4 h 186"/>
                <a:gd name="T50" fmla="*/ 5 w 176"/>
                <a:gd name="T51" fmla="*/ 0 h 186"/>
                <a:gd name="T52" fmla="*/ 5 w 176"/>
                <a:gd name="T53" fmla="*/ 14 h 186"/>
                <a:gd name="T54" fmla="*/ 5 w 176"/>
                <a:gd name="T55" fmla="*/ 8 h 186"/>
                <a:gd name="T56" fmla="*/ 5 w 176"/>
                <a:gd name="T57" fmla="*/ 57 h 186"/>
                <a:gd name="T58" fmla="*/ 5 w 176"/>
                <a:gd name="T59" fmla="*/ 94 h 186"/>
                <a:gd name="T60" fmla="*/ 5 w 176"/>
                <a:gd name="T61" fmla="*/ 108 h 186"/>
                <a:gd name="T62" fmla="*/ 5 w 176"/>
                <a:gd name="T63" fmla="*/ 91 h 186"/>
                <a:gd name="T64" fmla="*/ 5 w 176"/>
                <a:gd name="T65" fmla="*/ 97 h 186"/>
                <a:gd name="T66" fmla="*/ 5 w 176"/>
                <a:gd name="T67" fmla="*/ 134 h 186"/>
                <a:gd name="T68" fmla="*/ 5 w 176"/>
                <a:gd name="T69" fmla="*/ 137 h 186"/>
                <a:gd name="T70" fmla="*/ 5 w 176"/>
                <a:gd name="T71" fmla="*/ 131 h 186"/>
                <a:gd name="T72" fmla="*/ 5 w 176"/>
                <a:gd name="T73" fmla="*/ 137 h 186"/>
                <a:gd name="T74" fmla="*/ 0 w 176"/>
                <a:gd name="T75" fmla="*/ 164 h 1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76"/>
                <a:gd name="T115" fmla="*/ 0 h 186"/>
                <a:gd name="T116" fmla="*/ 176 w 176"/>
                <a:gd name="T117" fmla="*/ 186 h 18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76" h="186">
                  <a:moveTo>
                    <a:pt x="0" y="164"/>
                  </a:moveTo>
                  <a:lnTo>
                    <a:pt x="4" y="174"/>
                  </a:lnTo>
                  <a:lnTo>
                    <a:pt x="25" y="174"/>
                  </a:lnTo>
                  <a:lnTo>
                    <a:pt x="28" y="166"/>
                  </a:lnTo>
                  <a:lnTo>
                    <a:pt x="64" y="153"/>
                  </a:lnTo>
                  <a:lnTo>
                    <a:pt x="84" y="154"/>
                  </a:lnTo>
                  <a:lnTo>
                    <a:pt x="86" y="174"/>
                  </a:lnTo>
                  <a:lnTo>
                    <a:pt x="103" y="186"/>
                  </a:lnTo>
                  <a:lnTo>
                    <a:pt x="113" y="164"/>
                  </a:lnTo>
                  <a:lnTo>
                    <a:pt x="105" y="157"/>
                  </a:lnTo>
                  <a:lnTo>
                    <a:pt x="106" y="149"/>
                  </a:lnTo>
                  <a:lnTo>
                    <a:pt x="120" y="158"/>
                  </a:lnTo>
                  <a:lnTo>
                    <a:pt x="136" y="158"/>
                  </a:lnTo>
                  <a:lnTo>
                    <a:pt x="143" y="147"/>
                  </a:lnTo>
                  <a:lnTo>
                    <a:pt x="150" y="158"/>
                  </a:lnTo>
                  <a:lnTo>
                    <a:pt x="149" y="143"/>
                  </a:lnTo>
                  <a:lnTo>
                    <a:pt x="160" y="137"/>
                  </a:lnTo>
                  <a:lnTo>
                    <a:pt x="165" y="151"/>
                  </a:lnTo>
                  <a:lnTo>
                    <a:pt x="173" y="145"/>
                  </a:lnTo>
                  <a:lnTo>
                    <a:pt x="176" y="131"/>
                  </a:lnTo>
                  <a:lnTo>
                    <a:pt x="153" y="78"/>
                  </a:lnTo>
                  <a:lnTo>
                    <a:pt x="154" y="73"/>
                  </a:lnTo>
                  <a:lnTo>
                    <a:pt x="161" y="73"/>
                  </a:lnTo>
                  <a:lnTo>
                    <a:pt x="159" y="55"/>
                  </a:lnTo>
                  <a:lnTo>
                    <a:pt x="123" y="4"/>
                  </a:lnTo>
                  <a:lnTo>
                    <a:pt x="110" y="0"/>
                  </a:lnTo>
                  <a:lnTo>
                    <a:pt x="122" y="14"/>
                  </a:lnTo>
                  <a:lnTo>
                    <a:pt x="105" y="8"/>
                  </a:lnTo>
                  <a:lnTo>
                    <a:pt x="122" y="57"/>
                  </a:lnTo>
                  <a:lnTo>
                    <a:pt x="116" y="94"/>
                  </a:lnTo>
                  <a:lnTo>
                    <a:pt x="92" y="108"/>
                  </a:lnTo>
                  <a:lnTo>
                    <a:pt x="87" y="91"/>
                  </a:lnTo>
                  <a:lnTo>
                    <a:pt x="82" y="97"/>
                  </a:lnTo>
                  <a:lnTo>
                    <a:pt x="85" y="134"/>
                  </a:lnTo>
                  <a:lnTo>
                    <a:pt x="80" y="137"/>
                  </a:lnTo>
                  <a:lnTo>
                    <a:pt x="69" y="131"/>
                  </a:lnTo>
                  <a:lnTo>
                    <a:pt x="24" y="137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61" name="Freeform 218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505822" y="2097432"/>
              <a:ext cx="136923" cy="136321"/>
            </a:xfrm>
            <a:custGeom>
              <a:avLst/>
              <a:gdLst>
                <a:gd name="T0" fmla="*/ 5 w 108"/>
                <a:gd name="T1" fmla="*/ 68 h 95"/>
                <a:gd name="T2" fmla="*/ 5 w 108"/>
                <a:gd name="T3" fmla="*/ 95 h 95"/>
                <a:gd name="T4" fmla="*/ 5 w 108"/>
                <a:gd name="T5" fmla="*/ 85 h 95"/>
                <a:gd name="T6" fmla="*/ 5 w 108"/>
                <a:gd name="T7" fmla="*/ 69 h 95"/>
                <a:gd name="T8" fmla="*/ 5 w 108"/>
                <a:gd name="T9" fmla="*/ 73 h 95"/>
                <a:gd name="T10" fmla="*/ 5 w 108"/>
                <a:gd name="T11" fmla="*/ 68 h 95"/>
                <a:gd name="T12" fmla="*/ 5 w 108"/>
                <a:gd name="T13" fmla="*/ 81 h 95"/>
                <a:gd name="T14" fmla="*/ 5 w 108"/>
                <a:gd name="T15" fmla="*/ 58 h 95"/>
                <a:gd name="T16" fmla="*/ 5 w 108"/>
                <a:gd name="T17" fmla="*/ 60 h 95"/>
                <a:gd name="T18" fmla="*/ 5 w 108"/>
                <a:gd name="T19" fmla="*/ 49 h 95"/>
                <a:gd name="T20" fmla="*/ 5 w 108"/>
                <a:gd name="T21" fmla="*/ 51 h 95"/>
                <a:gd name="T22" fmla="*/ 5 w 108"/>
                <a:gd name="T23" fmla="*/ 41 h 95"/>
                <a:gd name="T24" fmla="*/ 5 w 108"/>
                <a:gd name="T25" fmla="*/ 30 h 95"/>
                <a:gd name="T26" fmla="*/ 5 w 108"/>
                <a:gd name="T27" fmla="*/ 38 h 95"/>
                <a:gd name="T28" fmla="*/ 5 w 108"/>
                <a:gd name="T29" fmla="*/ 32 h 95"/>
                <a:gd name="T30" fmla="*/ 5 w 108"/>
                <a:gd name="T31" fmla="*/ 0 h 95"/>
                <a:gd name="T32" fmla="*/ 0 w 108"/>
                <a:gd name="T33" fmla="*/ 6 h 95"/>
                <a:gd name="T34" fmla="*/ 5 w 108"/>
                <a:gd name="T35" fmla="*/ 17 h 95"/>
                <a:gd name="T36" fmla="*/ 5 w 108"/>
                <a:gd name="T37" fmla="*/ 55 h 95"/>
                <a:gd name="T38" fmla="*/ 5 w 108"/>
                <a:gd name="T39" fmla="*/ 52 h 95"/>
                <a:gd name="T40" fmla="*/ 5 w 108"/>
                <a:gd name="T41" fmla="*/ 60 h 95"/>
                <a:gd name="T42" fmla="*/ 5 w 108"/>
                <a:gd name="T43" fmla="*/ 68 h 9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8"/>
                <a:gd name="T67" fmla="*/ 0 h 95"/>
                <a:gd name="T68" fmla="*/ 108 w 108"/>
                <a:gd name="T69" fmla="*/ 95 h 9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8" h="95">
                  <a:moveTo>
                    <a:pt x="7" y="68"/>
                  </a:moveTo>
                  <a:lnTo>
                    <a:pt x="26" y="95"/>
                  </a:lnTo>
                  <a:lnTo>
                    <a:pt x="41" y="85"/>
                  </a:lnTo>
                  <a:lnTo>
                    <a:pt x="18" y="69"/>
                  </a:lnTo>
                  <a:lnTo>
                    <a:pt x="31" y="73"/>
                  </a:lnTo>
                  <a:lnTo>
                    <a:pt x="45" y="68"/>
                  </a:lnTo>
                  <a:lnTo>
                    <a:pt x="79" y="81"/>
                  </a:lnTo>
                  <a:lnTo>
                    <a:pt x="82" y="58"/>
                  </a:lnTo>
                  <a:lnTo>
                    <a:pt x="94" y="60"/>
                  </a:lnTo>
                  <a:lnTo>
                    <a:pt x="108" y="49"/>
                  </a:lnTo>
                  <a:lnTo>
                    <a:pt x="98" y="51"/>
                  </a:lnTo>
                  <a:lnTo>
                    <a:pt x="87" y="41"/>
                  </a:lnTo>
                  <a:lnTo>
                    <a:pt x="86" y="30"/>
                  </a:lnTo>
                  <a:lnTo>
                    <a:pt x="79" y="38"/>
                  </a:lnTo>
                  <a:lnTo>
                    <a:pt x="56" y="32"/>
                  </a:lnTo>
                  <a:lnTo>
                    <a:pt x="5" y="0"/>
                  </a:lnTo>
                  <a:lnTo>
                    <a:pt x="0" y="6"/>
                  </a:lnTo>
                  <a:lnTo>
                    <a:pt x="12" y="17"/>
                  </a:lnTo>
                  <a:lnTo>
                    <a:pt x="26" y="55"/>
                  </a:lnTo>
                  <a:lnTo>
                    <a:pt x="7" y="52"/>
                  </a:lnTo>
                  <a:lnTo>
                    <a:pt x="13" y="60"/>
                  </a:lnTo>
                  <a:lnTo>
                    <a:pt x="7" y="6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62" name="Freeform 219"/>
            <p:cNvSpPr>
              <a:spLocks noChangeAspect="1"/>
            </p:cNvSpPr>
            <p:nvPr/>
          </p:nvSpPr>
          <p:spPr bwMode="auto">
            <a:xfrm>
              <a:off x="7226388" y="3225312"/>
              <a:ext cx="58681" cy="94707"/>
            </a:xfrm>
            <a:custGeom>
              <a:avLst/>
              <a:gdLst>
                <a:gd name="T0" fmla="*/ 0 w 46"/>
                <a:gd name="T1" fmla="*/ 66 h 66"/>
                <a:gd name="T2" fmla="*/ 5 w 46"/>
                <a:gd name="T3" fmla="*/ 17 h 66"/>
                <a:gd name="T4" fmla="*/ 5 w 46"/>
                <a:gd name="T5" fmla="*/ 0 h 66"/>
                <a:gd name="T6" fmla="*/ 5 w 46"/>
                <a:gd name="T7" fmla="*/ 17 h 66"/>
                <a:gd name="T8" fmla="*/ 0 w 46"/>
                <a:gd name="T9" fmla="*/ 66 h 6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6"/>
                <a:gd name="T16" fmla="*/ 0 h 66"/>
                <a:gd name="T17" fmla="*/ 46 w 46"/>
                <a:gd name="T18" fmla="*/ 66 h 6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6" h="66">
                  <a:moveTo>
                    <a:pt x="0" y="66"/>
                  </a:moveTo>
                  <a:lnTo>
                    <a:pt x="46" y="17"/>
                  </a:lnTo>
                  <a:lnTo>
                    <a:pt x="42" y="0"/>
                  </a:lnTo>
                  <a:lnTo>
                    <a:pt x="35" y="17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63" name="Freeform 220"/>
            <p:cNvSpPr>
              <a:spLocks noChangeAspect="1"/>
            </p:cNvSpPr>
            <p:nvPr/>
          </p:nvSpPr>
          <p:spPr bwMode="auto">
            <a:xfrm>
              <a:off x="8025570" y="3733288"/>
              <a:ext cx="106185" cy="68878"/>
            </a:xfrm>
            <a:custGeom>
              <a:avLst/>
              <a:gdLst>
                <a:gd name="T0" fmla="*/ 0 w 85"/>
                <a:gd name="T1" fmla="*/ 31 h 48"/>
                <a:gd name="T2" fmla="*/ 4 w 85"/>
                <a:gd name="T3" fmla="*/ 46 h 48"/>
                <a:gd name="T4" fmla="*/ 4 w 85"/>
                <a:gd name="T5" fmla="*/ 48 h 48"/>
                <a:gd name="T6" fmla="*/ 4 w 85"/>
                <a:gd name="T7" fmla="*/ 33 h 48"/>
                <a:gd name="T8" fmla="*/ 4 w 85"/>
                <a:gd name="T9" fmla="*/ 11 h 48"/>
                <a:gd name="T10" fmla="*/ 4 w 85"/>
                <a:gd name="T11" fmla="*/ 0 h 48"/>
                <a:gd name="T12" fmla="*/ 4 w 85"/>
                <a:gd name="T13" fmla="*/ 0 h 48"/>
                <a:gd name="T14" fmla="*/ 4 w 85"/>
                <a:gd name="T15" fmla="*/ 17 h 48"/>
                <a:gd name="T16" fmla="*/ 4 w 85"/>
                <a:gd name="T17" fmla="*/ 17 h 48"/>
                <a:gd name="T18" fmla="*/ 4 w 85"/>
                <a:gd name="T19" fmla="*/ 31 h 48"/>
                <a:gd name="T20" fmla="*/ 0 w 85"/>
                <a:gd name="T21" fmla="*/ 31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5"/>
                <a:gd name="T34" fmla="*/ 0 h 48"/>
                <a:gd name="T35" fmla="*/ 85 w 85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5" h="48">
                  <a:moveTo>
                    <a:pt x="0" y="31"/>
                  </a:moveTo>
                  <a:lnTo>
                    <a:pt x="18" y="46"/>
                  </a:lnTo>
                  <a:lnTo>
                    <a:pt x="48" y="48"/>
                  </a:lnTo>
                  <a:lnTo>
                    <a:pt x="77" y="33"/>
                  </a:lnTo>
                  <a:lnTo>
                    <a:pt x="85" y="11"/>
                  </a:lnTo>
                  <a:lnTo>
                    <a:pt x="83" y="0"/>
                  </a:lnTo>
                  <a:lnTo>
                    <a:pt x="68" y="0"/>
                  </a:lnTo>
                  <a:lnTo>
                    <a:pt x="71" y="17"/>
                  </a:lnTo>
                  <a:lnTo>
                    <a:pt x="62" y="17"/>
                  </a:lnTo>
                  <a:lnTo>
                    <a:pt x="52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64" name="Freeform 221"/>
            <p:cNvSpPr>
              <a:spLocks noChangeAspect="1"/>
            </p:cNvSpPr>
            <p:nvPr/>
          </p:nvSpPr>
          <p:spPr bwMode="auto">
            <a:xfrm>
              <a:off x="8095428" y="3681629"/>
              <a:ext cx="53092" cy="74618"/>
            </a:xfrm>
            <a:custGeom>
              <a:avLst/>
              <a:gdLst>
                <a:gd name="T0" fmla="*/ 0 w 43"/>
                <a:gd name="T1" fmla="*/ 0 h 52"/>
                <a:gd name="T2" fmla="*/ 4 w 43"/>
                <a:gd name="T3" fmla="*/ 24 h 52"/>
                <a:gd name="T4" fmla="*/ 4 w 43"/>
                <a:gd name="T5" fmla="*/ 52 h 52"/>
                <a:gd name="T6" fmla="*/ 4 w 43"/>
                <a:gd name="T7" fmla="*/ 30 h 52"/>
                <a:gd name="T8" fmla="*/ 4 w 43"/>
                <a:gd name="T9" fmla="*/ 6 h 52"/>
                <a:gd name="T10" fmla="*/ 0 w 43"/>
                <a:gd name="T11" fmla="*/ 0 h 5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3"/>
                <a:gd name="T19" fmla="*/ 0 h 52"/>
                <a:gd name="T20" fmla="*/ 43 w 43"/>
                <a:gd name="T21" fmla="*/ 52 h 5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3" h="52">
                  <a:moveTo>
                    <a:pt x="0" y="0"/>
                  </a:moveTo>
                  <a:lnTo>
                    <a:pt x="27" y="24"/>
                  </a:lnTo>
                  <a:lnTo>
                    <a:pt x="40" y="52"/>
                  </a:lnTo>
                  <a:lnTo>
                    <a:pt x="43" y="30"/>
                  </a:lnTo>
                  <a:lnTo>
                    <a:pt x="13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65" name="Freeform 222"/>
            <p:cNvSpPr>
              <a:spLocks noChangeAspect="1"/>
            </p:cNvSpPr>
            <p:nvPr/>
          </p:nvSpPr>
          <p:spPr bwMode="auto">
            <a:xfrm>
              <a:off x="7340956" y="1819049"/>
              <a:ext cx="191412" cy="266903"/>
            </a:xfrm>
            <a:custGeom>
              <a:avLst/>
              <a:gdLst>
                <a:gd name="T0" fmla="*/ 5 w 152"/>
                <a:gd name="T1" fmla="*/ 21 h 186"/>
                <a:gd name="T2" fmla="*/ 5 w 152"/>
                <a:gd name="T3" fmla="*/ 138 h 186"/>
                <a:gd name="T4" fmla="*/ 5 w 152"/>
                <a:gd name="T5" fmla="*/ 170 h 186"/>
                <a:gd name="T6" fmla="*/ 5 w 152"/>
                <a:gd name="T7" fmla="*/ 186 h 186"/>
                <a:gd name="T8" fmla="*/ 5 w 152"/>
                <a:gd name="T9" fmla="*/ 169 h 186"/>
                <a:gd name="T10" fmla="*/ 5 w 152"/>
                <a:gd name="T11" fmla="*/ 177 h 186"/>
                <a:gd name="T12" fmla="*/ 5 w 152"/>
                <a:gd name="T13" fmla="*/ 131 h 186"/>
                <a:gd name="T14" fmla="*/ 5 w 152"/>
                <a:gd name="T15" fmla="*/ 109 h 186"/>
                <a:gd name="T16" fmla="*/ 5 w 152"/>
                <a:gd name="T17" fmla="*/ 114 h 186"/>
                <a:gd name="T18" fmla="*/ 5 w 152"/>
                <a:gd name="T19" fmla="*/ 6 h 186"/>
                <a:gd name="T20" fmla="*/ 0 w 152"/>
                <a:gd name="T21" fmla="*/ 0 h 186"/>
                <a:gd name="T22" fmla="*/ 5 w 152"/>
                <a:gd name="T23" fmla="*/ 10 h 186"/>
                <a:gd name="T24" fmla="*/ 5 w 152"/>
                <a:gd name="T25" fmla="*/ 21 h 18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2"/>
                <a:gd name="T40" fmla="*/ 0 h 186"/>
                <a:gd name="T41" fmla="*/ 152 w 152"/>
                <a:gd name="T42" fmla="*/ 186 h 18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2" h="186">
                  <a:moveTo>
                    <a:pt x="7" y="21"/>
                  </a:moveTo>
                  <a:lnTo>
                    <a:pt x="103" y="138"/>
                  </a:lnTo>
                  <a:lnTo>
                    <a:pt x="117" y="170"/>
                  </a:lnTo>
                  <a:lnTo>
                    <a:pt x="131" y="186"/>
                  </a:lnTo>
                  <a:lnTo>
                    <a:pt x="131" y="169"/>
                  </a:lnTo>
                  <a:lnTo>
                    <a:pt x="152" y="177"/>
                  </a:lnTo>
                  <a:lnTo>
                    <a:pt x="106" y="131"/>
                  </a:lnTo>
                  <a:lnTo>
                    <a:pt x="102" y="109"/>
                  </a:lnTo>
                  <a:lnTo>
                    <a:pt x="125" y="114"/>
                  </a:lnTo>
                  <a:lnTo>
                    <a:pt x="16" y="6"/>
                  </a:lnTo>
                  <a:lnTo>
                    <a:pt x="0" y="0"/>
                  </a:lnTo>
                  <a:lnTo>
                    <a:pt x="12" y="10"/>
                  </a:lnTo>
                  <a:lnTo>
                    <a:pt x="7" y="21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66" name="Freeform 223"/>
            <p:cNvSpPr>
              <a:spLocks noChangeAspect="1"/>
            </p:cNvSpPr>
            <p:nvPr/>
          </p:nvSpPr>
          <p:spPr bwMode="auto">
            <a:xfrm>
              <a:off x="4922453" y="2394469"/>
              <a:ext cx="15369" cy="20089"/>
            </a:xfrm>
            <a:custGeom>
              <a:avLst/>
              <a:gdLst>
                <a:gd name="T0" fmla="*/ 0 w 11"/>
                <a:gd name="T1" fmla="*/ 8 h 14"/>
                <a:gd name="T2" fmla="*/ 2 w 11"/>
                <a:gd name="T3" fmla="*/ 14 h 14"/>
                <a:gd name="T4" fmla="*/ 11 w 11"/>
                <a:gd name="T5" fmla="*/ 0 h 14"/>
                <a:gd name="T6" fmla="*/ 0 w 11"/>
                <a:gd name="T7" fmla="*/ 8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4"/>
                <a:gd name="T14" fmla="*/ 11 w 11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4">
                  <a:moveTo>
                    <a:pt x="0" y="8"/>
                  </a:moveTo>
                  <a:lnTo>
                    <a:pt x="2" y="14"/>
                  </a:lnTo>
                  <a:lnTo>
                    <a:pt x="11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67" name="Freeform 224"/>
            <p:cNvSpPr>
              <a:spLocks noChangeAspect="1"/>
            </p:cNvSpPr>
            <p:nvPr/>
          </p:nvSpPr>
          <p:spPr bwMode="auto">
            <a:xfrm>
              <a:off x="4458592" y="3472125"/>
              <a:ext cx="11177" cy="15785"/>
            </a:xfrm>
            <a:custGeom>
              <a:avLst/>
              <a:gdLst>
                <a:gd name="T0" fmla="*/ 0 w 9"/>
                <a:gd name="T1" fmla="*/ 10 h 11"/>
                <a:gd name="T2" fmla="*/ 4 w 9"/>
                <a:gd name="T3" fmla="*/ 11 h 11"/>
                <a:gd name="T4" fmla="*/ 4 w 9"/>
                <a:gd name="T5" fmla="*/ 4 h 11"/>
                <a:gd name="T6" fmla="*/ 4 w 9"/>
                <a:gd name="T7" fmla="*/ 0 h 11"/>
                <a:gd name="T8" fmla="*/ 0 w 9"/>
                <a:gd name="T9" fmla="*/ 1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1"/>
                <a:gd name="T17" fmla="*/ 9 w 9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1">
                  <a:moveTo>
                    <a:pt x="0" y="10"/>
                  </a:moveTo>
                  <a:lnTo>
                    <a:pt x="5" y="11"/>
                  </a:lnTo>
                  <a:lnTo>
                    <a:pt x="9" y="4"/>
                  </a:lnTo>
                  <a:lnTo>
                    <a:pt x="4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68" name="Freeform 225"/>
            <p:cNvSpPr>
              <a:spLocks noChangeAspect="1"/>
            </p:cNvSpPr>
            <p:nvPr/>
          </p:nvSpPr>
          <p:spPr bwMode="auto">
            <a:xfrm>
              <a:off x="4916864" y="4535432"/>
              <a:ext cx="60078" cy="68878"/>
            </a:xfrm>
            <a:custGeom>
              <a:avLst/>
              <a:gdLst>
                <a:gd name="T0" fmla="*/ 7 w 46"/>
                <a:gd name="T1" fmla="*/ 18 h 48"/>
                <a:gd name="T2" fmla="*/ 7 w 46"/>
                <a:gd name="T3" fmla="*/ 32 h 48"/>
                <a:gd name="T4" fmla="*/ 7 w 46"/>
                <a:gd name="T5" fmla="*/ 48 h 48"/>
                <a:gd name="T6" fmla="*/ 0 w 46"/>
                <a:gd name="T7" fmla="*/ 27 h 48"/>
                <a:gd name="T8" fmla="*/ 7 w 46"/>
                <a:gd name="T9" fmla="*/ 0 h 48"/>
                <a:gd name="T10" fmla="*/ 7 w 46"/>
                <a:gd name="T11" fmla="*/ 3 h 48"/>
                <a:gd name="T12" fmla="*/ 7 w 46"/>
                <a:gd name="T13" fmla="*/ 18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6"/>
                <a:gd name="T22" fmla="*/ 0 h 48"/>
                <a:gd name="T23" fmla="*/ 46 w 46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6" h="48">
                  <a:moveTo>
                    <a:pt x="46" y="18"/>
                  </a:moveTo>
                  <a:lnTo>
                    <a:pt x="40" y="32"/>
                  </a:lnTo>
                  <a:lnTo>
                    <a:pt x="15" y="48"/>
                  </a:lnTo>
                  <a:lnTo>
                    <a:pt x="0" y="27"/>
                  </a:lnTo>
                  <a:lnTo>
                    <a:pt x="27" y="0"/>
                  </a:lnTo>
                  <a:lnTo>
                    <a:pt x="37" y="3"/>
                  </a:lnTo>
                  <a:lnTo>
                    <a:pt x="46" y="18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69" name="Freeform 226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6281900" y="3272665"/>
              <a:ext cx="51695" cy="124842"/>
            </a:xfrm>
            <a:custGeom>
              <a:avLst/>
              <a:gdLst>
                <a:gd name="T0" fmla="*/ 0 w 43"/>
                <a:gd name="T1" fmla="*/ 40 h 87"/>
                <a:gd name="T2" fmla="*/ 3 w 43"/>
                <a:gd name="T3" fmla="*/ 87 h 87"/>
                <a:gd name="T4" fmla="*/ 3 w 43"/>
                <a:gd name="T5" fmla="*/ 84 h 87"/>
                <a:gd name="T6" fmla="*/ 3 w 43"/>
                <a:gd name="T7" fmla="*/ 76 h 87"/>
                <a:gd name="T8" fmla="*/ 3 w 43"/>
                <a:gd name="T9" fmla="*/ 51 h 87"/>
                <a:gd name="T10" fmla="*/ 3 w 43"/>
                <a:gd name="T11" fmla="*/ 7 h 87"/>
                <a:gd name="T12" fmla="*/ 3 w 43"/>
                <a:gd name="T13" fmla="*/ 0 h 87"/>
                <a:gd name="T14" fmla="*/ 3 w 43"/>
                <a:gd name="T15" fmla="*/ 10 h 87"/>
                <a:gd name="T16" fmla="*/ 0 w 43"/>
                <a:gd name="T17" fmla="*/ 40 h 8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"/>
                <a:gd name="T28" fmla="*/ 0 h 87"/>
                <a:gd name="T29" fmla="*/ 43 w 43"/>
                <a:gd name="T30" fmla="*/ 87 h 8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" h="87">
                  <a:moveTo>
                    <a:pt x="0" y="40"/>
                  </a:moveTo>
                  <a:lnTo>
                    <a:pt x="13" y="87"/>
                  </a:lnTo>
                  <a:lnTo>
                    <a:pt x="32" y="84"/>
                  </a:lnTo>
                  <a:lnTo>
                    <a:pt x="40" y="76"/>
                  </a:lnTo>
                  <a:lnTo>
                    <a:pt x="43" y="51"/>
                  </a:lnTo>
                  <a:lnTo>
                    <a:pt x="15" y="7"/>
                  </a:lnTo>
                  <a:lnTo>
                    <a:pt x="3" y="0"/>
                  </a:lnTo>
                  <a:lnTo>
                    <a:pt x="8" y="1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70" name="Freeform 22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5943785" y="2414558"/>
              <a:ext cx="706969" cy="919810"/>
            </a:xfrm>
            <a:custGeom>
              <a:avLst/>
              <a:gdLst>
                <a:gd name="T0" fmla="*/ 5 w 561"/>
                <a:gd name="T1" fmla="*/ 199 h 641"/>
                <a:gd name="T2" fmla="*/ 5 w 561"/>
                <a:gd name="T3" fmla="*/ 213 h 641"/>
                <a:gd name="T4" fmla="*/ 5 w 561"/>
                <a:gd name="T5" fmla="*/ 202 h 641"/>
                <a:gd name="T6" fmla="*/ 5 w 561"/>
                <a:gd name="T7" fmla="*/ 179 h 641"/>
                <a:gd name="T8" fmla="*/ 5 w 561"/>
                <a:gd name="T9" fmla="*/ 151 h 641"/>
                <a:gd name="T10" fmla="*/ 5 w 561"/>
                <a:gd name="T11" fmla="*/ 203 h 641"/>
                <a:gd name="T12" fmla="*/ 5 w 561"/>
                <a:gd name="T13" fmla="*/ 219 h 641"/>
                <a:gd name="T14" fmla="*/ 5 w 561"/>
                <a:gd name="T15" fmla="*/ 282 h 641"/>
                <a:gd name="T16" fmla="*/ 5 w 561"/>
                <a:gd name="T17" fmla="*/ 323 h 641"/>
                <a:gd name="T18" fmla="*/ 5 w 561"/>
                <a:gd name="T19" fmla="*/ 281 h 641"/>
                <a:gd name="T20" fmla="*/ 5 w 561"/>
                <a:gd name="T21" fmla="*/ 283 h 641"/>
                <a:gd name="T22" fmla="*/ 5 w 561"/>
                <a:gd name="T23" fmla="*/ 251 h 641"/>
                <a:gd name="T24" fmla="*/ 5 w 561"/>
                <a:gd name="T25" fmla="*/ 226 h 641"/>
                <a:gd name="T26" fmla="*/ 5 w 561"/>
                <a:gd name="T27" fmla="*/ 227 h 641"/>
                <a:gd name="T28" fmla="*/ 5 w 561"/>
                <a:gd name="T29" fmla="*/ 227 h 641"/>
                <a:gd name="T30" fmla="*/ 5 w 561"/>
                <a:gd name="T31" fmla="*/ 241 h 641"/>
                <a:gd name="T32" fmla="*/ 5 w 561"/>
                <a:gd name="T33" fmla="*/ 268 h 641"/>
                <a:gd name="T34" fmla="*/ 5 w 561"/>
                <a:gd name="T35" fmla="*/ 333 h 641"/>
                <a:gd name="T36" fmla="*/ 5 w 561"/>
                <a:gd name="T37" fmla="*/ 327 h 641"/>
                <a:gd name="T38" fmla="*/ 5 w 561"/>
                <a:gd name="T39" fmla="*/ 369 h 641"/>
                <a:gd name="T40" fmla="*/ 5 w 561"/>
                <a:gd name="T41" fmla="*/ 399 h 641"/>
                <a:gd name="T42" fmla="*/ 5 w 561"/>
                <a:gd name="T43" fmla="*/ 452 h 641"/>
                <a:gd name="T44" fmla="*/ 5 w 561"/>
                <a:gd name="T45" fmla="*/ 465 h 641"/>
                <a:gd name="T46" fmla="*/ 5 w 561"/>
                <a:gd name="T47" fmla="*/ 482 h 641"/>
                <a:gd name="T48" fmla="*/ 5 w 561"/>
                <a:gd name="T49" fmla="*/ 557 h 641"/>
                <a:gd name="T50" fmla="*/ 5 w 561"/>
                <a:gd name="T51" fmla="*/ 591 h 641"/>
                <a:gd name="T52" fmla="*/ 5 w 561"/>
                <a:gd name="T53" fmla="*/ 621 h 641"/>
                <a:gd name="T54" fmla="*/ 5 w 561"/>
                <a:gd name="T55" fmla="*/ 620 h 641"/>
                <a:gd name="T56" fmla="*/ 5 w 561"/>
                <a:gd name="T57" fmla="*/ 449 h 641"/>
                <a:gd name="T58" fmla="*/ 5 w 561"/>
                <a:gd name="T59" fmla="*/ 316 h 641"/>
                <a:gd name="T60" fmla="*/ 5 w 561"/>
                <a:gd name="T61" fmla="*/ 346 h 641"/>
                <a:gd name="T62" fmla="*/ 5 w 561"/>
                <a:gd name="T63" fmla="*/ 316 h 641"/>
                <a:gd name="T64" fmla="*/ 5 w 561"/>
                <a:gd name="T65" fmla="*/ 300 h 641"/>
                <a:gd name="T66" fmla="*/ 0 w 561"/>
                <a:gd name="T67" fmla="*/ 282 h 641"/>
                <a:gd name="T68" fmla="*/ 5 w 561"/>
                <a:gd name="T69" fmla="*/ 268 h 641"/>
                <a:gd name="T70" fmla="*/ 5 w 561"/>
                <a:gd name="T71" fmla="*/ 237 h 641"/>
                <a:gd name="T72" fmla="*/ 5 w 561"/>
                <a:gd name="T73" fmla="*/ 218 h 641"/>
                <a:gd name="T74" fmla="*/ 5 w 561"/>
                <a:gd name="T75" fmla="*/ 201 h 641"/>
                <a:gd name="T76" fmla="*/ 5 w 561"/>
                <a:gd name="T77" fmla="*/ 191 h 641"/>
                <a:gd name="T78" fmla="*/ 5 w 561"/>
                <a:gd name="T79" fmla="*/ 112 h 641"/>
                <a:gd name="T80" fmla="*/ 5 w 561"/>
                <a:gd name="T81" fmla="*/ 90 h 641"/>
                <a:gd name="T82" fmla="*/ 5 w 561"/>
                <a:gd name="T83" fmla="*/ 67 h 641"/>
                <a:gd name="T84" fmla="*/ 5 w 561"/>
                <a:gd name="T85" fmla="*/ 33 h 641"/>
                <a:gd name="T86" fmla="*/ 5 w 561"/>
                <a:gd name="T87" fmla="*/ 33 h 641"/>
                <a:gd name="T88" fmla="*/ 5 w 561"/>
                <a:gd name="T89" fmla="*/ 13 h 641"/>
                <a:gd name="T90" fmla="*/ 5 w 561"/>
                <a:gd name="T91" fmla="*/ 10 h 641"/>
                <a:gd name="T92" fmla="*/ 5 w 561"/>
                <a:gd name="T93" fmla="*/ 51 h 641"/>
                <a:gd name="T94" fmla="*/ 5 w 561"/>
                <a:gd name="T95" fmla="*/ 79 h 641"/>
                <a:gd name="T96" fmla="*/ 5 w 561"/>
                <a:gd name="T97" fmla="*/ 116 h 641"/>
                <a:gd name="T98" fmla="*/ 5 w 561"/>
                <a:gd name="T99" fmla="*/ 165 h 641"/>
                <a:gd name="T100" fmla="*/ 5 w 561"/>
                <a:gd name="T101" fmla="*/ 199 h 641"/>
                <a:gd name="T102" fmla="*/ 5 w 561"/>
                <a:gd name="T103" fmla="*/ 220 h 641"/>
                <a:gd name="T104" fmla="*/ 5 w 561"/>
                <a:gd name="T105" fmla="*/ 204 h 641"/>
                <a:gd name="T106" fmla="*/ 5 w 561"/>
                <a:gd name="T107" fmla="*/ 182 h 64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61"/>
                <a:gd name="T163" fmla="*/ 0 h 641"/>
                <a:gd name="T164" fmla="*/ 561 w 561"/>
                <a:gd name="T165" fmla="*/ 641 h 641"/>
                <a:gd name="connsiteX0" fmla="*/ 6952 w 10000"/>
                <a:gd name="connsiteY0" fmla="*/ 2839 h 10000"/>
                <a:gd name="connsiteX1" fmla="*/ 7112 w 10000"/>
                <a:gd name="connsiteY1" fmla="*/ 3105 h 10000"/>
                <a:gd name="connsiteX2" fmla="*/ 7059 w 10000"/>
                <a:gd name="connsiteY2" fmla="*/ 3183 h 10000"/>
                <a:gd name="connsiteX3" fmla="*/ 7255 w 10000"/>
                <a:gd name="connsiteY3" fmla="*/ 3323 h 10000"/>
                <a:gd name="connsiteX4" fmla="*/ 8128 w 10000"/>
                <a:gd name="connsiteY4" fmla="*/ 3276 h 10000"/>
                <a:gd name="connsiteX5" fmla="*/ 8253 w 10000"/>
                <a:gd name="connsiteY5" fmla="*/ 3151 h 10000"/>
                <a:gd name="connsiteX6" fmla="*/ 8057 w 10000"/>
                <a:gd name="connsiteY6" fmla="*/ 2933 h 10000"/>
                <a:gd name="connsiteX7" fmla="*/ 8538 w 10000"/>
                <a:gd name="connsiteY7" fmla="*/ 2793 h 10000"/>
                <a:gd name="connsiteX8" fmla="*/ 8895 w 10000"/>
                <a:gd name="connsiteY8" fmla="*/ 2402 h 10000"/>
                <a:gd name="connsiteX9" fmla="*/ 9340 w 10000"/>
                <a:gd name="connsiteY9" fmla="*/ 2356 h 10000"/>
                <a:gd name="connsiteX10" fmla="*/ 10000 w 10000"/>
                <a:gd name="connsiteY10" fmla="*/ 2824 h 10000"/>
                <a:gd name="connsiteX11" fmla="*/ 9947 w 10000"/>
                <a:gd name="connsiteY11" fmla="*/ 3167 h 10000"/>
                <a:gd name="connsiteX12" fmla="*/ 9661 w 10000"/>
                <a:gd name="connsiteY12" fmla="*/ 3167 h 10000"/>
                <a:gd name="connsiteX13" fmla="*/ 9394 w 10000"/>
                <a:gd name="connsiteY13" fmla="*/ 3417 h 10000"/>
                <a:gd name="connsiteX14" fmla="*/ 9180 w 10000"/>
                <a:gd name="connsiteY14" fmla="*/ 4321 h 10000"/>
                <a:gd name="connsiteX15" fmla="*/ 8895 w 10000"/>
                <a:gd name="connsiteY15" fmla="*/ 4399 h 10000"/>
                <a:gd name="connsiteX16" fmla="*/ 8859 w 10000"/>
                <a:gd name="connsiteY16" fmla="*/ 4945 h 10000"/>
                <a:gd name="connsiteX17" fmla="*/ 8752 w 10000"/>
                <a:gd name="connsiteY17" fmla="*/ 5039 h 10000"/>
                <a:gd name="connsiteX18" fmla="*/ 8538 w 10000"/>
                <a:gd name="connsiteY18" fmla="*/ 4477 h 10000"/>
                <a:gd name="connsiteX19" fmla="*/ 8431 w 10000"/>
                <a:gd name="connsiteY19" fmla="*/ 4384 h 10000"/>
                <a:gd name="connsiteX20" fmla="*/ 8342 w 10000"/>
                <a:gd name="connsiteY20" fmla="*/ 4587 h 10000"/>
                <a:gd name="connsiteX21" fmla="*/ 8111 w 10000"/>
                <a:gd name="connsiteY21" fmla="*/ 4415 h 10000"/>
                <a:gd name="connsiteX22" fmla="*/ 8075 w 10000"/>
                <a:gd name="connsiteY22" fmla="*/ 4290 h 10000"/>
                <a:gd name="connsiteX23" fmla="*/ 8431 w 10000"/>
                <a:gd name="connsiteY23" fmla="*/ 3916 h 10000"/>
                <a:gd name="connsiteX24" fmla="*/ 7629 w 10000"/>
                <a:gd name="connsiteY24" fmla="*/ 3822 h 10000"/>
                <a:gd name="connsiteX25" fmla="*/ 7415 w 10000"/>
                <a:gd name="connsiteY25" fmla="*/ 3526 h 10000"/>
                <a:gd name="connsiteX26" fmla="*/ 7166 w 10000"/>
                <a:gd name="connsiteY26" fmla="*/ 3432 h 10000"/>
                <a:gd name="connsiteX27" fmla="*/ 7130 w 10000"/>
                <a:gd name="connsiteY27" fmla="*/ 3541 h 10000"/>
                <a:gd name="connsiteX28" fmla="*/ 7041 w 10000"/>
                <a:gd name="connsiteY28" fmla="*/ 3432 h 10000"/>
                <a:gd name="connsiteX29" fmla="*/ 6934 w 10000"/>
                <a:gd name="connsiteY29" fmla="*/ 3541 h 10000"/>
                <a:gd name="connsiteX30" fmla="*/ 6952 w 10000"/>
                <a:gd name="connsiteY30" fmla="*/ 3729 h 10000"/>
                <a:gd name="connsiteX31" fmla="*/ 7077 w 10000"/>
                <a:gd name="connsiteY31" fmla="*/ 3760 h 10000"/>
                <a:gd name="connsiteX32" fmla="*/ 6916 w 10000"/>
                <a:gd name="connsiteY32" fmla="*/ 4041 h 10000"/>
                <a:gd name="connsiteX33" fmla="*/ 7148 w 10000"/>
                <a:gd name="connsiteY33" fmla="*/ 4181 h 10000"/>
                <a:gd name="connsiteX34" fmla="*/ 7451 w 10000"/>
                <a:gd name="connsiteY34" fmla="*/ 5148 h 10000"/>
                <a:gd name="connsiteX35" fmla="*/ 7255 w 10000"/>
                <a:gd name="connsiteY35" fmla="*/ 5195 h 10000"/>
                <a:gd name="connsiteX36" fmla="*/ 7148 w 10000"/>
                <a:gd name="connsiteY36" fmla="*/ 4977 h 10000"/>
                <a:gd name="connsiteX37" fmla="*/ 7130 w 10000"/>
                <a:gd name="connsiteY37" fmla="*/ 5101 h 10000"/>
                <a:gd name="connsiteX38" fmla="*/ 6809 w 10000"/>
                <a:gd name="connsiteY38" fmla="*/ 5226 h 10000"/>
                <a:gd name="connsiteX39" fmla="*/ 6649 w 10000"/>
                <a:gd name="connsiteY39" fmla="*/ 5757 h 10000"/>
                <a:gd name="connsiteX40" fmla="*/ 6203 w 10000"/>
                <a:gd name="connsiteY40" fmla="*/ 5959 h 10000"/>
                <a:gd name="connsiteX41" fmla="*/ 6025 w 10000"/>
                <a:gd name="connsiteY41" fmla="*/ 6225 h 10000"/>
                <a:gd name="connsiteX42" fmla="*/ 5312 w 10000"/>
                <a:gd name="connsiteY42" fmla="*/ 6802 h 10000"/>
                <a:gd name="connsiteX43" fmla="*/ 5223 w 10000"/>
                <a:gd name="connsiteY43" fmla="*/ 7051 h 10000"/>
                <a:gd name="connsiteX44" fmla="*/ 4938 w 10000"/>
                <a:gd name="connsiteY44" fmla="*/ 7098 h 10000"/>
                <a:gd name="connsiteX45" fmla="*/ 4902 w 10000"/>
                <a:gd name="connsiteY45" fmla="*/ 7254 h 10000"/>
                <a:gd name="connsiteX46" fmla="*/ 4688 w 10000"/>
                <a:gd name="connsiteY46" fmla="*/ 7223 h 10000"/>
                <a:gd name="connsiteX47" fmla="*/ 4599 w 10000"/>
                <a:gd name="connsiteY47" fmla="*/ 7520 h 10000"/>
                <a:gd name="connsiteX48" fmla="*/ 4724 w 10000"/>
                <a:gd name="connsiteY48" fmla="*/ 8144 h 10000"/>
                <a:gd name="connsiteX49" fmla="*/ 4563 w 10000"/>
                <a:gd name="connsiteY49" fmla="*/ 8690 h 10000"/>
                <a:gd name="connsiteX50" fmla="*/ 4617 w 10000"/>
                <a:gd name="connsiteY50" fmla="*/ 9220 h 10000"/>
                <a:gd name="connsiteX51" fmla="*/ 4456 w 10000"/>
                <a:gd name="connsiteY51" fmla="*/ 9220 h 10000"/>
                <a:gd name="connsiteX52" fmla="*/ 4332 w 10000"/>
                <a:gd name="connsiteY52" fmla="*/ 9579 h 10000"/>
                <a:gd name="connsiteX53" fmla="*/ 4064 w 10000"/>
                <a:gd name="connsiteY53" fmla="*/ 9688 h 10000"/>
                <a:gd name="connsiteX54" fmla="*/ 3868 w 10000"/>
                <a:gd name="connsiteY54" fmla="*/ 10000 h 10000"/>
                <a:gd name="connsiteX55" fmla="*/ 3458 w 10000"/>
                <a:gd name="connsiteY55" fmla="*/ 9672 h 10000"/>
                <a:gd name="connsiteX56" fmla="*/ 2567 w 10000"/>
                <a:gd name="connsiteY56" fmla="*/ 7707 h 10000"/>
                <a:gd name="connsiteX57" fmla="*/ 2139 w 10000"/>
                <a:gd name="connsiteY57" fmla="*/ 7005 h 10000"/>
                <a:gd name="connsiteX58" fmla="*/ 1640 w 10000"/>
                <a:gd name="connsiteY58" fmla="*/ 4945 h 10000"/>
                <a:gd name="connsiteX59" fmla="*/ 1551 w 10000"/>
                <a:gd name="connsiteY59" fmla="*/ 4930 h 10000"/>
                <a:gd name="connsiteX60" fmla="*/ 1515 w 10000"/>
                <a:gd name="connsiteY60" fmla="*/ 5289 h 10000"/>
                <a:gd name="connsiteX61" fmla="*/ 1373 w 10000"/>
                <a:gd name="connsiteY61" fmla="*/ 5398 h 10000"/>
                <a:gd name="connsiteX62" fmla="*/ 980 w 10000"/>
                <a:gd name="connsiteY62" fmla="*/ 5460 h 10000"/>
                <a:gd name="connsiteX63" fmla="*/ 410 w 10000"/>
                <a:gd name="connsiteY63" fmla="*/ 4930 h 10000"/>
                <a:gd name="connsiteX64" fmla="*/ 766 w 10000"/>
                <a:gd name="connsiteY64" fmla="*/ 4867 h 10000"/>
                <a:gd name="connsiteX65" fmla="*/ 820 w 10000"/>
                <a:gd name="connsiteY65" fmla="*/ 4680 h 10000"/>
                <a:gd name="connsiteX66" fmla="*/ 428 w 10000"/>
                <a:gd name="connsiteY66" fmla="*/ 4743 h 10000"/>
                <a:gd name="connsiteX67" fmla="*/ 0 w 10000"/>
                <a:gd name="connsiteY67" fmla="*/ 4399 h 10000"/>
                <a:gd name="connsiteX68" fmla="*/ 250 w 10000"/>
                <a:gd name="connsiteY68" fmla="*/ 4212 h 10000"/>
                <a:gd name="connsiteX69" fmla="*/ 963 w 10000"/>
                <a:gd name="connsiteY69" fmla="*/ 4181 h 10000"/>
                <a:gd name="connsiteX70" fmla="*/ 963 w 10000"/>
                <a:gd name="connsiteY70" fmla="*/ 3978 h 10000"/>
                <a:gd name="connsiteX71" fmla="*/ 802 w 10000"/>
                <a:gd name="connsiteY71" fmla="*/ 3697 h 10000"/>
                <a:gd name="connsiteX72" fmla="*/ 606 w 10000"/>
                <a:gd name="connsiteY72" fmla="*/ 3604 h 10000"/>
                <a:gd name="connsiteX73" fmla="*/ 606 w 10000"/>
                <a:gd name="connsiteY73" fmla="*/ 3401 h 10000"/>
                <a:gd name="connsiteX74" fmla="*/ 374 w 10000"/>
                <a:gd name="connsiteY74" fmla="*/ 3354 h 10000"/>
                <a:gd name="connsiteX75" fmla="*/ 374 w 10000"/>
                <a:gd name="connsiteY75" fmla="*/ 3136 h 10000"/>
                <a:gd name="connsiteX76" fmla="*/ 570 w 10000"/>
                <a:gd name="connsiteY76" fmla="*/ 2886 h 10000"/>
                <a:gd name="connsiteX77" fmla="*/ 802 w 10000"/>
                <a:gd name="connsiteY77" fmla="*/ 2980 h 10000"/>
                <a:gd name="connsiteX78" fmla="*/ 1105 w 10000"/>
                <a:gd name="connsiteY78" fmla="*/ 2886 h 10000"/>
                <a:gd name="connsiteX79" fmla="*/ 1925 w 10000"/>
                <a:gd name="connsiteY79" fmla="*/ 1747 h 10000"/>
                <a:gd name="connsiteX80" fmla="*/ 1836 w 10000"/>
                <a:gd name="connsiteY80" fmla="*/ 1466 h 10000"/>
                <a:gd name="connsiteX81" fmla="*/ 1996 w 10000"/>
                <a:gd name="connsiteY81" fmla="*/ 1404 h 10000"/>
                <a:gd name="connsiteX82" fmla="*/ 1996 w 10000"/>
                <a:gd name="connsiteY82" fmla="*/ 1310 h 10000"/>
                <a:gd name="connsiteX83" fmla="*/ 1551 w 10000"/>
                <a:gd name="connsiteY83" fmla="*/ 1045 h 10000"/>
                <a:gd name="connsiteX84" fmla="*/ 1480 w 10000"/>
                <a:gd name="connsiteY84" fmla="*/ 686 h 10000"/>
                <a:gd name="connsiteX85" fmla="*/ 1319 w 10000"/>
                <a:gd name="connsiteY85" fmla="*/ 515 h 10000"/>
                <a:gd name="connsiteX86" fmla="*/ 1373 w 10000"/>
                <a:gd name="connsiteY86" fmla="*/ 421 h 10000"/>
                <a:gd name="connsiteX87" fmla="*/ 1979 w 10000"/>
                <a:gd name="connsiteY87" fmla="*/ 515 h 10000"/>
                <a:gd name="connsiteX88" fmla="*/ 2353 w 10000"/>
                <a:gd name="connsiteY88" fmla="*/ 406 h 10000"/>
                <a:gd name="connsiteX89" fmla="*/ 2549 w 10000"/>
                <a:gd name="connsiteY89" fmla="*/ 203 h 10000"/>
                <a:gd name="connsiteX90" fmla="*/ 3066 w 10000"/>
                <a:gd name="connsiteY90" fmla="*/ 0 h 10000"/>
                <a:gd name="connsiteX91" fmla="*/ 3440 w 10000"/>
                <a:gd name="connsiteY91" fmla="*/ 156 h 10000"/>
                <a:gd name="connsiteX92" fmla="*/ 3405 w 10000"/>
                <a:gd name="connsiteY92" fmla="*/ 468 h 10000"/>
                <a:gd name="connsiteX93" fmla="*/ 3173 w 10000"/>
                <a:gd name="connsiteY93" fmla="*/ 796 h 10000"/>
                <a:gd name="connsiteX94" fmla="*/ 3405 w 10000"/>
                <a:gd name="connsiteY94" fmla="*/ 1232 h 10000"/>
                <a:gd name="connsiteX95" fmla="*/ 3102 w 10000"/>
                <a:gd name="connsiteY95" fmla="*/ 1232 h 10000"/>
                <a:gd name="connsiteX96" fmla="*/ 3102 w 10000"/>
                <a:gd name="connsiteY96" fmla="*/ 1326 h 10000"/>
                <a:gd name="connsiteX97" fmla="*/ 3440 w 10000"/>
                <a:gd name="connsiteY97" fmla="*/ 1810 h 10000"/>
                <a:gd name="connsiteX98" fmla="*/ 4153 w 10000"/>
                <a:gd name="connsiteY98" fmla="*/ 2059 h 10000"/>
                <a:gd name="connsiteX99" fmla="*/ 3922 w 10000"/>
                <a:gd name="connsiteY99" fmla="*/ 2574 h 10000"/>
                <a:gd name="connsiteX100" fmla="*/ 4991 w 10000"/>
                <a:gd name="connsiteY100" fmla="*/ 3089 h 10000"/>
                <a:gd name="connsiteX101" fmla="*/ 5437 w 10000"/>
                <a:gd name="connsiteY101" fmla="*/ 3105 h 10000"/>
                <a:gd name="connsiteX102" fmla="*/ 5793 w 10000"/>
                <a:gd name="connsiteY102" fmla="*/ 3323 h 10000"/>
                <a:gd name="connsiteX103" fmla="*/ 6524 w 10000"/>
                <a:gd name="connsiteY103" fmla="*/ 3432 h 10000"/>
                <a:gd name="connsiteX104" fmla="*/ 6845 w 10000"/>
                <a:gd name="connsiteY104" fmla="*/ 3432 h 10000"/>
                <a:gd name="connsiteX105" fmla="*/ 6791 w 10000"/>
                <a:gd name="connsiteY105" fmla="*/ 3183 h 10000"/>
                <a:gd name="connsiteX106" fmla="*/ 6791 w 10000"/>
                <a:gd name="connsiteY106" fmla="*/ 2902 h 10000"/>
                <a:gd name="connsiteX107" fmla="*/ 6952 w 10000"/>
                <a:gd name="connsiteY107" fmla="*/ 283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0000" h="10000">
                  <a:moveTo>
                    <a:pt x="6952" y="2839"/>
                  </a:moveTo>
                  <a:cubicBezTo>
                    <a:pt x="7005" y="2928"/>
                    <a:pt x="7059" y="3016"/>
                    <a:pt x="7112" y="3105"/>
                  </a:cubicBezTo>
                  <a:cubicBezTo>
                    <a:pt x="7094" y="3131"/>
                    <a:pt x="7077" y="3157"/>
                    <a:pt x="7059" y="3183"/>
                  </a:cubicBezTo>
                  <a:lnTo>
                    <a:pt x="7255" y="3323"/>
                  </a:lnTo>
                  <a:lnTo>
                    <a:pt x="8128" y="3276"/>
                  </a:lnTo>
                  <a:lnTo>
                    <a:pt x="8253" y="3151"/>
                  </a:lnTo>
                  <a:cubicBezTo>
                    <a:pt x="8188" y="3078"/>
                    <a:pt x="8122" y="3006"/>
                    <a:pt x="8057" y="2933"/>
                  </a:cubicBezTo>
                  <a:lnTo>
                    <a:pt x="8538" y="2793"/>
                  </a:lnTo>
                  <a:lnTo>
                    <a:pt x="8895" y="2402"/>
                  </a:lnTo>
                  <a:lnTo>
                    <a:pt x="9340" y="2356"/>
                  </a:lnTo>
                  <a:lnTo>
                    <a:pt x="10000" y="2824"/>
                  </a:lnTo>
                  <a:cubicBezTo>
                    <a:pt x="9982" y="2938"/>
                    <a:pt x="9965" y="3053"/>
                    <a:pt x="9947" y="3167"/>
                  </a:cubicBezTo>
                  <a:lnTo>
                    <a:pt x="9661" y="3167"/>
                  </a:lnTo>
                  <a:lnTo>
                    <a:pt x="9394" y="3417"/>
                  </a:lnTo>
                  <a:cubicBezTo>
                    <a:pt x="9323" y="3718"/>
                    <a:pt x="9251" y="4020"/>
                    <a:pt x="9180" y="4321"/>
                  </a:cubicBezTo>
                  <a:lnTo>
                    <a:pt x="8895" y="4399"/>
                  </a:lnTo>
                  <a:lnTo>
                    <a:pt x="8859" y="4945"/>
                  </a:lnTo>
                  <a:cubicBezTo>
                    <a:pt x="8823" y="4976"/>
                    <a:pt x="8788" y="5008"/>
                    <a:pt x="8752" y="5039"/>
                  </a:cubicBezTo>
                  <a:lnTo>
                    <a:pt x="8538" y="4477"/>
                  </a:lnTo>
                  <a:lnTo>
                    <a:pt x="8431" y="4384"/>
                  </a:lnTo>
                  <a:cubicBezTo>
                    <a:pt x="8401" y="4452"/>
                    <a:pt x="8372" y="4519"/>
                    <a:pt x="8342" y="4587"/>
                  </a:cubicBezTo>
                  <a:lnTo>
                    <a:pt x="8111" y="4415"/>
                  </a:lnTo>
                  <a:cubicBezTo>
                    <a:pt x="8099" y="4373"/>
                    <a:pt x="8087" y="4332"/>
                    <a:pt x="8075" y="4290"/>
                  </a:cubicBezTo>
                  <a:lnTo>
                    <a:pt x="8431" y="3916"/>
                  </a:lnTo>
                  <a:lnTo>
                    <a:pt x="7629" y="3822"/>
                  </a:lnTo>
                  <a:cubicBezTo>
                    <a:pt x="7558" y="3723"/>
                    <a:pt x="7486" y="3625"/>
                    <a:pt x="7415" y="3526"/>
                  </a:cubicBezTo>
                  <a:lnTo>
                    <a:pt x="7166" y="3432"/>
                  </a:lnTo>
                  <a:cubicBezTo>
                    <a:pt x="7154" y="3468"/>
                    <a:pt x="7142" y="3505"/>
                    <a:pt x="7130" y="3541"/>
                  </a:cubicBezTo>
                  <a:cubicBezTo>
                    <a:pt x="7100" y="3505"/>
                    <a:pt x="7071" y="3468"/>
                    <a:pt x="7041" y="3432"/>
                  </a:cubicBezTo>
                  <a:cubicBezTo>
                    <a:pt x="7005" y="3468"/>
                    <a:pt x="6970" y="3505"/>
                    <a:pt x="6934" y="3541"/>
                  </a:cubicBezTo>
                  <a:cubicBezTo>
                    <a:pt x="6940" y="3604"/>
                    <a:pt x="6946" y="3666"/>
                    <a:pt x="6952" y="3729"/>
                  </a:cubicBezTo>
                  <a:lnTo>
                    <a:pt x="7077" y="3760"/>
                  </a:lnTo>
                  <a:lnTo>
                    <a:pt x="6916" y="4041"/>
                  </a:lnTo>
                  <a:lnTo>
                    <a:pt x="7148" y="4181"/>
                  </a:lnTo>
                  <a:lnTo>
                    <a:pt x="7451" y="5148"/>
                  </a:lnTo>
                  <a:lnTo>
                    <a:pt x="7255" y="5195"/>
                  </a:lnTo>
                  <a:lnTo>
                    <a:pt x="7148" y="4977"/>
                  </a:lnTo>
                  <a:cubicBezTo>
                    <a:pt x="7142" y="5018"/>
                    <a:pt x="7136" y="5060"/>
                    <a:pt x="7130" y="5101"/>
                  </a:cubicBezTo>
                  <a:lnTo>
                    <a:pt x="6809" y="5226"/>
                  </a:lnTo>
                  <a:cubicBezTo>
                    <a:pt x="6756" y="5403"/>
                    <a:pt x="6702" y="5580"/>
                    <a:pt x="6649" y="5757"/>
                  </a:cubicBezTo>
                  <a:lnTo>
                    <a:pt x="6203" y="5959"/>
                  </a:lnTo>
                  <a:cubicBezTo>
                    <a:pt x="6144" y="6048"/>
                    <a:pt x="6084" y="6136"/>
                    <a:pt x="6025" y="6225"/>
                  </a:cubicBezTo>
                  <a:lnTo>
                    <a:pt x="5312" y="6802"/>
                  </a:lnTo>
                  <a:cubicBezTo>
                    <a:pt x="5282" y="6885"/>
                    <a:pt x="5253" y="6968"/>
                    <a:pt x="5223" y="7051"/>
                  </a:cubicBezTo>
                  <a:lnTo>
                    <a:pt x="4938" y="7098"/>
                  </a:lnTo>
                  <a:lnTo>
                    <a:pt x="4902" y="7254"/>
                  </a:lnTo>
                  <a:lnTo>
                    <a:pt x="4688" y="7223"/>
                  </a:lnTo>
                  <a:cubicBezTo>
                    <a:pt x="4658" y="7322"/>
                    <a:pt x="4629" y="7421"/>
                    <a:pt x="4599" y="7520"/>
                  </a:cubicBezTo>
                  <a:cubicBezTo>
                    <a:pt x="4641" y="7728"/>
                    <a:pt x="4682" y="7936"/>
                    <a:pt x="4724" y="8144"/>
                  </a:cubicBezTo>
                  <a:cubicBezTo>
                    <a:pt x="4670" y="8326"/>
                    <a:pt x="4617" y="8508"/>
                    <a:pt x="4563" y="8690"/>
                  </a:cubicBezTo>
                  <a:cubicBezTo>
                    <a:pt x="4581" y="8867"/>
                    <a:pt x="4599" y="9043"/>
                    <a:pt x="4617" y="9220"/>
                  </a:cubicBezTo>
                  <a:lnTo>
                    <a:pt x="4456" y="9220"/>
                  </a:lnTo>
                  <a:cubicBezTo>
                    <a:pt x="4415" y="9340"/>
                    <a:pt x="4373" y="9459"/>
                    <a:pt x="4332" y="9579"/>
                  </a:cubicBezTo>
                  <a:lnTo>
                    <a:pt x="4064" y="9688"/>
                  </a:lnTo>
                  <a:lnTo>
                    <a:pt x="3868" y="10000"/>
                  </a:lnTo>
                  <a:lnTo>
                    <a:pt x="3458" y="9672"/>
                  </a:lnTo>
                  <a:lnTo>
                    <a:pt x="2567" y="7707"/>
                  </a:lnTo>
                  <a:lnTo>
                    <a:pt x="2139" y="7005"/>
                  </a:lnTo>
                  <a:cubicBezTo>
                    <a:pt x="1973" y="6318"/>
                    <a:pt x="1806" y="5632"/>
                    <a:pt x="1640" y="4945"/>
                  </a:cubicBezTo>
                  <a:lnTo>
                    <a:pt x="1551" y="4930"/>
                  </a:lnTo>
                  <a:cubicBezTo>
                    <a:pt x="1539" y="5050"/>
                    <a:pt x="1527" y="5169"/>
                    <a:pt x="1515" y="5289"/>
                  </a:cubicBezTo>
                  <a:lnTo>
                    <a:pt x="1373" y="5398"/>
                  </a:lnTo>
                  <a:lnTo>
                    <a:pt x="980" y="5460"/>
                  </a:lnTo>
                  <a:lnTo>
                    <a:pt x="410" y="4930"/>
                  </a:lnTo>
                  <a:lnTo>
                    <a:pt x="766" y="4867"/>
                  </a:lnTo>
                  <a:cubicBezTo>
                    <a:pt x="784" y="4805"/>
                    <a:pt x="802" y="4742"/>
                    <a:pt x="820" y="4680"/>
                  </a:cubicBezTo>
                  <a:lnTo>
                    <a:pt x="428" y="4743"/>
                  </a:lnTo>
                  <a:lnTo>
                    <a:pt x="0" y="4399"/>
                  </a:lnTo>
                  <a:lnTo>
                    <a:pt x="250" y="4212"/>
                  </a:lnTo>
                  <a:lnTo>
                    <a:pt x="963" y="4181"/>
                  </a:lnTo>
                  <a:lnTo>
                    <a:pt x="963" y="3978"/>
                  </a:lnTo>
                  <a:lnTo>
                    <a:pt x="802" y="3697"/>
                  </a:lnTo>
                  <a:lnTo>
                    <a:pt x="606" y="3604"/>
                  </a:lnTo>
                  <a:lnTo>
                    <a:pt x="606" y="3401"/>
                  </a:lnTo>
                  <a:lnTo>
                    <a:pt x="374" y="3354"/>
                  </a:lnTo>
                  <a:lnTo>
                    <a:pt x="374" y="3136"/>
                  </a:lnTo>
                  <a:lnTo>
                    <a:pt x="570" y="2886"/>
                  </a:lnTo>
                  <a:lnTo>
                    <a:pt x="802" y="2980"/>
                  </a:lnTo>
                  <a:lnTo>
                    <a:pt x="1105" y="2886"/>
                  </a:lnTo>
                  <a:lnTo>
                    <a:pt x="1925" y="1747"/>
                  </a:lnTo>
                  <a:cubicBezTo>
                    <a:pt x="1895" y="1653"/>
                    <a:pt x="1866" y="1560"/>
                    <a:pt x="1836" y="1466"/>
                  </a:cubicBezTo>
                  <a:lnTo>
                    <a:pt x="1996" y="1404"/>
                  </a:lnTo>
                  <a:lnTo>
                    <a:pt x="1996" y="1310"/>
                  </a:lnTo>
                  <a:lnTo>
                    <a:pt x="1551" y="1045"/>
                  </a:lnTo>
                  <a:cubicBezTo>
                    <a:pt x="1527" y="925"/>
                    <a:pt x="1504" y="806"/>
                    <a:pt x="1480" y="686"/>
                  </a:cubicBezTo>
                  <a:lnTo>
                    <a:pt x="1319" y="515"/>
                  </a:lnTo>
                  <a:cubicBezTo>
                    <a:pt x="1337" y="484"/>
                    <a:pt x="1355" y="452"/>
                    <a:pt x="1373" y="421"/>
                  </a:cubicBezTo>
                  <a:lnTo>
                    <a:pt x="1979" y="515"/>
                  </a:lnTo>
                  <a:lnTo>
                    <a:pt x="2353" y="406"/>
                  </a:lnTo>
                  <a:cubicBezTo>
                    <a:pt x="2418" y="338"/>
                    <a:pt x="2484" y="271"/>
                    <a:pt x="2549" y="203"/>
                  </a:cubicBezTo>
                  <a:lnTo>
                    <a:pt x="3066" y="0"/>
                  </a:lnTo>
                  <a:lnTo>
                    <a:pt x="3440" y="156"/>
                  </a:lnTo>
                  <a:cubicBezTo>
                    <a:pt x="3428" y="260"/>
                    <a:pt x="3417" y="364"/>
                    <a:pt x="3405" y="468"/>
                  </a:cubicBezTo>
                  <a:lnTo>
                    <a:pt x="3173" y="796"/>
                  </a:lnTo>
                  <a:lnTo>
                    <a:pt x="3405" y="1232"/>
                  </a:lnTo>
                  <a:lnTo>
                    <a:pt x="3102" y="1232"/>
                  </a:lnTo>
                  <a:lnTo>
                    <a:pt x="3102" y="1326"/>
                  </a:lnTo>
                  <a:lnTo>
                    <a:pt x="3440" y="1810"/>
                  </a:lnTo>
                  <a:lnTo>
                    <a:pt x="4153" y="2059"/>
                  </a:lnTo>
                  <a:lnTo>
                    <a:pt x="3922" y="2574"/>
                  </a:lnTo>
                  <a:lnTo>
                    <a:pt x="4991" y="3089"/>
                  </a:lnTo>
                  <a:lnTo>
                    <a:pt x="5437" y="3105"/>
                  </a:lnTo>
                  <a:lnTo>
                    <a:pt x="5793" y="3323"/>
                  </a:lnTo>
                  <a:lnTo>
                    <a:pt x="6524" y="3432"/>
                  </a:lnTo>
                  <a:lnTo>
                    <a:pt x="6845" y="3432"/>
                  </a:lnTo>
                  <a:lnTo>
                    <a:pt x="6791" y="3183"/>
                  </a:lnTo>
                  <a:lnTo>
                    <a:pt x="6791" y="2902"/>
                  </a:lnTo>
                  <a:lnTo>
                    <a:pt x="6952" y="2839"/>
                  </a:lnTo>
                  <a:close/>
                </a:path>
              </a:pathLst>
            </a:custGeom>
            <a:solidFill>
              <a:srgbClr val="996633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71" name="Freeform 228"/>
            <p:cNvSpPr>
              <a:spLocks noChangeAspect="1"/>
            </p:cNvSpPr>
            <p:nvPr/>
          </p:nvSpPr>
          <p:spPr bwMode="auto">
            <a:xfrm>
              <a:off x="4658387" y="4324492"/>
              <a:ext cx="406577" cy="419009"/>
            </a:xfrm>
            <a:custGeom>
              <a:avLst/>
              <a:gdLst>
                <a:gd name="T0" fmla="*/ 4 w 324"/>
                <a:gd name="T1" fmla="*/ 0 h 292"/>
                <a:gd name="T2" fmla="*/ 4 w 324"/>
                <a:gd name="T3" fmla="*/ 4 h 292"/>
                <a:gd name="T4" fmla="*/ 4 w 324"/>
                <a:gd name="T5" fmla="*/ 13 h 292"/>
                <a:gd name="T6" fmla="*/ 4 w 324"/>
                <a:gd name="T7" fmla="*/ 85 h 292"/>
                <a:gd name="T8" fmla="*/ 4 w 324"/>
                <a:gd name="T9" fmla="*/ 87 h 292"/>
                <a:gd name="T10" fmla="*/ 4 w 324"/>
                <a:gd name="T11" fmla="*/ 108 h 292"/>
                <a:gd name="T12" fmla="*/ 4 w 324"/>
                <a:gd name="T13" fmla="*/ 117 h 292"/>
                <a:gd name="T14" fmla="*/ 4 w 324"/>
                <a:gd name="T15" fmla="*/ 107 h 292"/>
                <a:gd name="T16" fmla="*/ 4 w 324"/>
                <a:gd name="T17" fmla="*/ 107 h 292"/>
                <a:gd name="T18" fmla="*/ 4 w 324"/>
                <a:gd name="T19" fmla="*/ 113 h 292"/>
                <a:gd name="T20" fmla="*/ 4 w 324"/>
                <a:gd name="T21" fmla="*/ 150 h 292"/>
                <a:gd name="T22" fmla="*/ 4 w 324"/>
                <a:gd name="T23" fmla="*/ 163 h 292"/>
                <a:gd name="T24" fmla="*/ 4 w 324"/>
                <a:gd name="T25" fmla="*/ 203 h 292"/>
                <a:gd name="T26" fmla="*/ 4 w 324"/>
                <a:gd name="T27" fmla="*/ 245 h 292"/>
                <a:gd name="T28" fmla="*/ 4 w 324"/>
                <a:gd name="T29" fmla="*/ 266 h 292"/>
                <a:gd name="T30" fmla="*/ 4 w 324"/>
                <a:gd name="T31" fmla="*/ 279 h 292"/>
                <a:gd name="T32" fmla="*/ 4 w 324"/>
                <a:gd name="T33" fmla="*/ 276 h 292"/>
                <a:gd name="T34" fmla="*/ 4 w 324"/>
                <a:gd name="T35" fmla="*/ 292 h 292"/>
                <a:gd name="T36" fmla="*/ 4 w 324"/>
                <a:gd name="T37" fmla="*/ 292 h 292"/>
                <a:gd name="T38" fmla="*/ 4 w 324"/>
                <a:gd name="T39" fmla="*/ 276 h 292"/>
                <a:gd name="T40" fmla="*/ 4 w 324"/>
                <a:gd name="T41" fmla="*/ 279 h 292"/>
                <a:gd name="T42" fmla="*/ 4 w 324"/>
                <a:gd name="T43" fmla="*/ 248 h 292"/>
                <a:gd name="T44" fmla="*/ 4 w 324"/>
                <a:gd name="T45" fmla="*/ 242 h 292"/>
                <a:gd name="T46" fmla="*/ 4 w 324"/>
                <a:gd name="T47" fmla="*/ 229 h 292"/>
                <a:gd name="T48" fmla="*/ 4 w 324"/>
                <a:gd name="T49" fmla="*/ 159 h 292"/>
                <a:gd name="T50" fmla="*/ 0 w 324"/>
                <a:gd name="T51" fmla="*/ 152 h 292"/>
                <a:gd name="T52" fmla="*/ 4 w 324"/>
                <a:gd name="T53" fmla="*/ 144 h 292"/>
                <a:gd name="T54" fmla="*/ 4 w 324"/>
                <a:gd name="T55" fmla="*/ 150 h 292"/>
                <a:gd name="T56" fmla="*/ 4 w 324"/>
                <a:gd name="T57" fmla="*/ 159 h 292"/>
                <a:gd name="T58" fmla="*/ 4 w 324"/>
                <a:gd name="T59" fmla="*/ 159 h 292"/>
                <a:gd name="T60" fmla="*/ 4 w 324"/>
                <a:gd name="T61" fmla="*/ 145 h 292"/>
                <a:gd name="T62" fmla="*/ 4 w 324"/>
                <a:gd name="T63" fmla="*/ 61 h 292"/>
                <a:gd name="T64" fmla="*/ 4 w 324"/>
                <a:gd name="T65" fmla="*/ 61 h 292"/>
                <a:gd name="T66" fmla="*/ 4 w 324"/>
                <a:gd name="T67" fmla="*/ 77 h 292"/>
                <a:gd name="T68" fmla="*/ 4 w 324"/>
                <a:gd name="T69" fmla="*/ 104 h 292"/>
                <a:gd name="T70" fmla="*/ 4 w 324"/>
                <a:gd name="T71" fmla="*/ 108 h 292"/>
                <a:gd name="T72" fmla="*/ 4 w 324"/>
                <a:gd name="T73" fmla="*/ 105 h 292"/>
                <a:gd name="T74" fmla="*/ 4 w 324"/>
                <a:gd name="T75" fmla="*/ 76 h 292"/>
                <a:gd name="T76" fmla="*/ 4 w 324"/>
                <a:gd name="T77" fmla="*/ 83 h 292"/>
                <a:gd name="T78" fmla="*/ 4 w 324"/>
                <a:gd name="T79" fmla="*/ 81 h 292"/>
                <a:gd name="T80" fmla="*/ 4 w 324"/>
                <a:gd name="T81" fmla="*/ 26 h 292"/>
                <a:gd name="T82" fmla="*/ 4 w 324"/>
                <a:gd name="T83" fmla="*/ 0 h 29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24"/>
                <a:gd name="T127" fmla="*/ 0 h 292"/>
                <a:gd name="T128" fmla="*/ 324 w 324"/>
                <a:gd name="T129" fmla="*/ 292 h 29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24" h="292">
                  <a:moveTo>
                    <a:pt x="256" y="0"/>
                  </a:moveTo>
                  <a:lnTo>
                    <a:pt x="289" y="4"/>
                  </a:lnTo>
                  <a:lnTo>
                    <a:pt x="301" y="13"/>
                  </a:lnTo>
                  <a:lnTo>
                    <a:pt x="307" y="85"/>
                  </a:lnTo>
                  <a:lnTo>
                    <a:pt x="291" y="87"/>
                  </a:lnTo>
                  <a:lnTo>
                    <a:pt x="284" y="108"/>
                  </a:lnTo>
                  <a:lnTo>
                    <a:pt x="295" y="117"/>
                  </a:lnTo>
                  <a:lnTo>
                    <a:pt x="307" y="107"/>
                  </a:lnTo>
                  <a:lnTo>
                    <a:pt x="322" y="107"/>
                  </a:lnTo>
                  <a:lnTo>
                    <a:pt x="324" y="113"/>
                  </a:lnTo>
                  <a:lnTo>
                    <a:pt x="312" y="150"/>
                  </a:lnTo>
                  <a:lnTo>
                    <a:pt x="294" y="163"/>
                  </a:lnTo>
                  <a:lnTo>
                    <a:pt x="271" y="203"/>
                  </a:lnTo>
                  <a:lnTo>
                    <a:pt x="231" y="245"/>
                  </a:lnTo>
                  <a:lnTo>
                    <a:pt x="203" y="266"/>
                  </a:lnTo>
                  <a:lnTo>
                    <a:pt x="157" y="279"/>
                  </a:lnTo>
                  <a:lnTo>
                    <a:pt x="118" y="276"/>
                  </a:lnTo>
                  <a:lnTo>
                    <a:pt x="69" y="292"/>
                  </a:lnTo>
                  <a:lnTo>
                    <a:pt x="57" y="292"/>
                  </a:lnTo>
                  <a:lnTo>
                    <a:pt x="43" y="276"/>
                  </a:lnTo>
                  <a:lnTo>
                    <a:pt x="35" y="279"/>
                  </a:lnTo>
                  <a:lnTo>
                    <a:pt x="26" y="248"/>
                  </a:lnTo>
                  <a:lnTo>
                    <a:pt x="35" y="242"/>
                  </a:lnTo>
                  <a:lnTo>
                    <a:pt x="34" y="229"/>
                  </a:lnTo>
                  <a:lnTo>
                    <a:pt x="6" y="159"/>
                  </a:lnTo>
                  <a:lnTo>
                    <a:pt x="0" y="152"/>
                  </a:lnTo>
                  <a:lnTo>
                    <a:pt x="7" y="144"/>
                  </a:lnTo>
                  <a:lnTo>
                    <a:pt x="21" y="150"/>
                  </a:lnTo>
                  <a:lnTo>
                    <a:pt x="24" y="159"/>
                  </a:lnTo>
                  <a:lnTo>
                    <a:pt x="50" y="159"/>
                  </a:lnTo>
                  <a:lnTo>
                    <a:pt x="66" y="145"/>
                  </a:lnTo>
                  <a:lnTo>
                    <a:pt x="68" y="61"/>
                  </a:lnTo>
                  <a:lnTo>
                    <a:pt x="69" y="61"/>
                  </a:lnTo>
                  <a:lnTo>
                    <a:pt x="84" y="77"/>
                  </a:lnTo>
                  <a:lnTo>
                    <a:pt x="83" y="104"/>
                  </a:lnTo>
                  <a:lnTo>
                    <a:pt x="92" y="108"/>
                  </a:lnTo>
                  <a:lnTo>
                    <a:pt x="112" y="105"/>
                  </a:lnTo>
                  <a:lnTo>
                    <a:pt x="140" y="76"/>
                  </a:lnTo>
                  <a:lnTo>
                    <a:pt x="158" y="83"/>
                  </a:lnTo>
                  <a:lnTo>
                    <a:pt x="176" y="81"/>
                  </a:lnTo>
                  <a:lnTo>
                    <a:pt x="220" y="26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996633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72" name="Freeform 229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275289" y="2328460"/>
              <a:ext cx="89419" cy="136321"/>
            </a:xfrm>
            <a:custGeom>
              <a:avLst/>
              <a:gdLst>
                <a:gd name="T0" fmla="*/ 0 w 72"/>
                <a:gd name="T1" fmla="*/ 17 h 95"/>
                <a:gd name="T2" fmla="*/ 4 w 72"/>
                <a:gd name="T3" fmla="*/ 6 h 95"/>
                <a:gd name="T4" fmla="*/ 4 w 72"/>
                <a:gd name="T5" fmla="*/ 0 h 95"/>
                <a:gd name="T6" fmla="*/ 4 w 72"/>
                <a:gd name="T7" fmla="*/ 22 h 95"/>
                <a:gd name="T8" fmla="*/ 4 w 72"/>
                <a:gd name="T9" fmla="*/ 57 h 95"/>
                <a:gd name="T10" fmla="*/ 4 w 72"/>
                <a:gd name="T11" fmla="*/ 76 h 95"/>
                <a:gd name="T12" fmla="*/ 4 w 72"/>
                <a:gd name="T13" fmla="*/ 95 h 95"/>
                <a:gd name="T14" fmla="*/ 4 w 72"/>
                <a:gd name="T15" fmla="*/ 72 h 95"/>
                <a:gd name="T16" fmla="*/ 4 w 72"/>
                <a:gd name="T17" fmla="*/ 62 h 95"/>
                <a:gd name="T18" fmla="*/ 0 w 72"/>
                <a:gd name="T19" fmla="*/ 36 h 95"/>
                <a:gd name="T20" fmla="*/ 4 w 72"/>
                <a:gd name="T21" fmla="*/ 34 h 95"/>
                <a:gd name="T22" fmla="*/ 3 w 72"/>
                <a:gd name="T23" fmla="*/ 25 h 95"/>
                <a:gd name="T24" fmla="*/ 0 w 72"/>
                <a:gd name="T25" fmla="*/ 17 h 9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2"/>
                <a:gd name="T40" fmla="*/ 0 h 95"/>
                <a:gd name="T41" fmla="*/ 72 w 72"/>
                <a:gd name="T42" fmla="*/ 95 h 9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2" h="95">
                  <a:moveTo>
                    <a:pt x="0" y="17"/>
                  </a:moveTo>
                  <a:lnTo>
                    <a:pt x="8" y="6"/>
                  </a:lnTo>
                  <a:lnTo>
                    <a:pt x="29" y="0"/>
                  </a:lnTo>
                  <a:lnTo>
                    <a:pt x="52" y="22"/>
                  </a:lnTo>
                  <a:lnTo>
                    <a:pt x="71" y="57"/>
                  </a:lnTo>
                  <a:lnTo>
                    <a:pt x="72" y="76"/>
                  </a:lnTo>
                  <a:lnTo>
                    <a:pt x="32" y="95"/>
                  </a:lnTo>
                  <a:lnTo>
                    <a:pt x="18" y="72"/>
                  </a:lnTo>
                  <a:lnTo>
                    <a:pt x="23" y="62"/>
                  </a:lnTo>
                  <a:lnTo>
                    <a:pt x="0" y="36"/>
                  </a:lnTo>
                  <a:lnTo>
                    <a:pt x="11" y="34"/>
                  </a:lnTo>
                  <a:lnTo>
                    <a:pt x="3" y="25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73" name="Freeform 230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339559" y="3206657"/>
              <a:ext cx="72653" cy="93273"/>
            </a:xfrm>
            <a:custGeom>
              <a:avLst/>
              <a:gdLst>
                <a:gd name="T0" fmla="*/ 2 w 57"/>
                <a:gd name="T1" fmla="*/ 30 h 65"/>
                <a:gd name="T2" fmla="*/ 5 w 57"/>
                <a:gd name="T3" fmla="*/ 32 h 65"/>
                <a:gd name="T4" fmla="*/ 5 w 57"/>
                <a:gd name="T5" fmla="*/ 42 h 65"/>
                <a:gd name="T6" fmla="*/ 5 w 57"/>
                <a:gd name="T7" fmla="*/ 48 h 65"/>
                <a:gd name="T8" fmla="*/ 5 w 57"/>
                <a:gd name="T9" fmla="*/ 65 h 65"/>
                <a:gd name="T10" fmla="*/ 5 w 57"/>
                <a:gd name="T11" fmla="*/ 59 h 65"/>
                <a:gd name="T12" fmla="*/ 5 w 57"/>
                <a:gd name="T13" fmla="*/ 48 h 65"/>
                <a:gd name="T14" fmla="*/ 5 w 57"/>
                <a:gd name="T15" fmla="*/ 52 h 65"/>
                <a:gd name="T16" fmla="*/ 5 w 57"/>
                <a:gd name="T17" fmla="*/ 43 h 65"/>
                <a:gd name="T18" fmla="*/ 5 w 57"/>
                <a:gd name="T19" fmla="*/ 52 h 65"/>
                <a:gd name="T20" fmla="*/ 5 w 57"/>
                <a:gd name="T21" fmla="*/ 49 h 65"/>
                <a:gd name="T22" fmla="*/ 5 w 57"/>
                <a:gd name="T23" fmla="*/ 40 h 65"/>
                <a:gd name="T24" fmla="*/ 5 w 57"/>
                <a:gd name="T25" fmla="*/ 39 h 65"/>
                <a:gd name="T26" fmla="*/ 5 w 57"/>
                <a:gd name="T27" fmla="*/ 17 h 65"/>
                <a:gd name="T28" fmla="*/ 5 w 57"/>
                <a:gd name="T29" fmla="*/ 32 h 65"/>
                <a:gd name="T30" fmla="*/ 5 w 57"/>
                <a:gd name="T31" fmla="*/ 7 h 65"/>
                <a:gd name="T32" fmla="*/ 5 w 57"/>
                <a:gd name="T33" fmla="*/ 7 h 65"/>
                <a:gd name="T34" fmla="*/ 5 w 57"/>
                <a:gd name="T35" fmla="*/ 2 h 65"/>
                <a:gd name="T36" fmla="*/ 0 w 57"/>
                <a:gd name="T37" fmla="*/ 0 h 65"/>
                <a:gd name="T38" fmla="*/ 2 w 57"/>
                <a:gd name="T39" fmla="*/ 30 h 6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7"/>
                <a:gd name="T61" fmla="*/ 0 h 65"/>
                <a:gd name="T62" fmla="*/ 57 w 57"/>
                <a:gd name="T63" fmla="*/ 65 h 6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7" h="65">
                  <a:moveTo>
                    <a:pt x="2" y="30"/>
                  </a:moveTo>
                  <a:lnTo>
                    <a:pt x="20" y="32"/>
                  </a:lnTo>
                  <a:lnTo>
                    <a:pt x="22" y="42"/>
                  </a:lnTo>
                  <a:lnTo>
                    <a:pt x="14" y="48"/>
                  </a:lnTo>
                  <a:lnTo>
                    <a:pt x="27" y="65"/>
                  </a:lnTo>
                  <a:lnTo>
                    <a:pt x="34" y="59"/>
                  </a:lnTo>
                  <a:lnTo>
                    <a:pt x="29" y="48"/>
                  </a:lnTo>
                  <a:lnTo>
                    <a:pt x="36" y="52"/>
                  </a:lnTo>
                  <a:lnTo>
                    <a:pt x="41" y="43"/>
                  </a:lnTo>
                  <a:lnTo>
                    <a:pt x="46" y="52"/>
                  </a:lnTo>
                  <a:lnTo>
                    <a:pt x="57" y="49"/>
                  </a:lnTo>
                  <a:lnTo>
                    <a:pt x="56" y="40"/>
                  </a:lnTo>
                  <a:lnTo>
                    <a:pt x="45" y="39"/>
                  </a:lnTo>
                  <a:lnTo>
                    <a:pt x="44" y="17"/>
                  </a:lnTo>
                  <a:lnTo>
                    <a:pt x="33" y="32"/>
                  </a:lnTo>
                  <a:lnTo>
                    <a:pt x="25" y="7"/>
                  </a:lnTo>
                  <a:lnTo>
                    <a:pt x="13" y="7"/>
                  </a:lnTo>
                  <a:lnTo>
                    <a:pt x="12" y="2"/>
                  </a:lnTo>
                  <a:lnTo>
                    <a:pt x="0" y="0"/>
                  </a:lnTo>
                  <a:lnTo>
                    <a:pt x="2" y="30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74" name="Freeform 231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6800251" y="3374548"/>
              <a:ext cx="104788" cy="175065"/>
            </a:xfrm>
            <a:custGeom>
              <a:avLst/>
              <a:gdLst>
                <a:gd name="T0" fmla="*/ 0 w 83"/>
                <a:gd name="T1" fmla="*/ 6 h 122"/>
                <a:gd name="T2" fmla="*/ 0 w 83"/>
                <a:gd name="T3" fmla="*/ 0 h 122"/>
                <a:gd name="T4" fmla="*/ 5 w 83"/>
                <a:gd name="T5" fmla="*/ 6 h 122"/>
                <a:gd name="T6" fmla="*/ 5 w 83"/>
                <a:gd name="T7" fmla="*/ 19 h 122"/>
                <a:gd name="T8" fmla="*/ 5 w 83"/>
                <a:gd name="T9" fmla="*/ 21 h 122"/>
                <a:gd name="T10" fmla="*/ 5 w 83"/>
                <a:gd name="T11" fmla="*/ 14 h 122"/>
                <a:gd name="T12" fmla="*/ 5 w 83"/>
                <a:gd name="T13" fmla="*/ 42 h 122"/>
                <a:gd name="T14" fmla="*/ 5 w 83"/>
                <a:gd name="T15" fmla="*/ 88 h 122"/>
                <a:gd name="T16" fmla="*/ 5 w 83"/>
                <a:gd name="T17" fmla="*/ 122 h 122"/>
                <a:gd name="T18" fmla="*/ 5 w 83"/>
                <a:gd name="T19" fmla="*/ 122 h 122"/>
                <a:gd name="T20" fmla="*/ 5 w 83"/>
                <a:gd name="T21" fmla="*/ 89 h 122"/>
                <a:gd name="T22" fmla="*/ 5 w 83"/>
                <a:gd name="T23" fmla="*/ 57 h 122"/>
                <a:gd name="T24" fmla="*/ 0 w 83"/>
                <a:gd name="T25" fmla="*/ 6 h 12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3"/>
                <a:gd name="T40" fmla="*/ 0 h 122"/>
                <a:gd name="T41" fmla="*/ 83 w 83"/>
                <a:gd name="T42" fmla="*/ 122 h 12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3" h="122">
                  <a:moveTo>
                    <a:pt x="0" y="6"/>
                  </a:moveTo>
                  <a:lnTo>
                    <a:pt x="0" y="0"/>
                  </a:lnTo>
                  <a:lnTo>
                    <a:pt x="14" y="6"/>
                  </a:lnTo>
                  <a:lnTo>
                    <a:pt x="18" y="19"/>
                  </a:lnTo>
                  <a:lnTo>
                    <a:pt x="25" y="21"/>
                  </a:lnTo>
                  <a:lnTo>
                    <a:pt x="39" y="14"/>
                  </a:lnTo>
                  <a:lnTo>
                    <a:pt x="64" y="42"/>
                  </a:lnTo>
                  <a:lnTo>
                    <a:pt x="65" y="88"/>
                  </a:lnTo>
                  <a:lnTo>
                    <a:pt x="83" y="122"/>
                  </a:lnTo>
                  <a:lnTo>
                    <a:pt x="68" y="122"/>
                  </a:lnTo>
                  <a:lnTo>
                    <a:pt x="25" y="89"/>
                  </a:lnTo>
                  <a:lnTo>
                    <a:pt x="7" y="57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75" name="Freeform 232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585461" y="3607011"/>
              <a:ext cx="258477" cy="291297"/>
            </a:xfrm>
            <a:custGeom>
              <a:avLst/>
              <a:gdLst>
                <a:gd name="T0" fmla="*/ 4 w 206"/>
                <a:gd name="T1" fmla="*/ 203 h 203"/>
                <a:gd name="T2" fmla="*/ 4 w 206"/>
                <a:gd name="T3" fmla="*/ 176 h 203"/>
                <a:gd name="T4" fmla="*/ 4 w 206"/>
                <a:gd name="T5" fmla="*/ 184 h 203"/>
                <a:gd name="T6" fmla="*/ 4 w 206"/>
                <a:gd name="T7" fmla="*/ 161 h 203"/>
                <a:gd name="T8" fmla="*/ 4 w 206"/>
                <a:gd name="T9" fmla="*/ 159 h 203"/>
                <a:gd name="T10" fmla="*/ 4 w 206"/>
                <a:gd name="T11" fmla="*/ 121 h 203"/>
                <a:gd name="T12" fmla="*/ 4 w 206"/>
                <a:gd name="T13" fmla="*/ 108 h 203"/>
                <a:gd name="T14" fmla="*/ 4 w 206"/>
                <a:gd name="T15" fmla="*/ 92 h 203"/>
                <a:gd name="T16" fmla="*/ 4 w 206"/>
                <a:gd name="T17" fmla="*/ 72 h 203"/>
                <a:gd name="T18" fmla="*/ 4 w 206"/>
                <a:gd name="T19" fmla="*/ 85 h 203"/>
                <a:gd name="T20" fmla="*/ 4 w 206"/>
                <a:gd name="T21" fmla="*/ 85 h 203"/>
                <a:gd name="T22" fmla="*/ 4 w 206"/>
                <a:gd name="T23" fmla="*/ 68 h 203"/>
                <a:gd name="T24" fmla="*/ 4 w 206"/>
                <a:gd name="T25" fmla="*/ 58 h 203"/>
                <a:gd name="T26" fmla="*/ 4 w 206"/>
                <a:gd name="T27" fmla="*/ 49 h 203"/>
                <a:gd name="T28" fmla="*/ 4 w 206"/>
                <a:gd name="T29" fmla="*/ 39 h 203"/>
                <a:gd name="T30" fmla="*/ 4 w 206"/>
                <a:gd name="T31" fmla="*/ 45 h 203"/>
                <a:gd name="T32" fmla="*/ 4 w 206"/>
                <a:gd name="T33" fmla="*/ 39 h 203"/>
                <a:gd name="T34" fmla="*/ 4 w 206"/>
                <a:gd name="T35" fmla="*/ 29 h 203"/>
                <a:gd name="T36" fmla="*/ 0 w 206"/>
                <a:gd name="T37" fmla="*/ 23 h 203"/>
                <a:gd name="T38" fmla="*/ 4 w 206"/>
                <a:gd name="T39" fmla="*/ 0 h 203"/>
                <a:gd name="T40" fmla="*/ 4 w 206"/>
                <a:gd name="T41" fmla="*/ 0 h 203"/>
                <a:gd name="T42" fmla="*/ 4 w 206"/>
                <a:gd name="T43" fmla="*/ 8 h 203"/>
                <a:gd name="T44" fmla="*/ 4 w 206"/>
                <a:gd name="T45" fmla="*/ 8 h 203"/>
                <a:gd name="T46" fmla="*/ 4 w 206"/>
                <a:gd name="T47" fmla="*/ 46 h 203"/>
                <a:gd name="T48" fmla="*/ 4 w 206"/>
                <a:gd name="T49" fmla="*/ 69 h 203"/>
                <a:gd name="T50" fmla="*/ 4 w 206"/>
                <a:gd name="T51" fmla="*/ 69 h 203"/>
                <a:gd name="T52" fmla="*/ 4 w 206"/>
                <a:gd name="T53" fmla="*/ 42 h 203"/>
                <a:gd name="T54" fmla="*/ 4 w 206"/>
                <a:gd name="T55" fmla="*/ 25 h 203"/>
                <a:gd name="T56" fmla="*/ 4 w 206"/>
                <a:gd name="T57" fmla="*/ 54 h 203"/>
                <a:gd name="T58" fmla="*/ 4 w 206"/>
                <a:gd name="T59" fmla="*/ 203 h 20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6"/>
                <a:gd name="T91" fmla="*/ 0 h 203"/>
                <a:gd name="T92" fmla="*/ 206 w 206"/>
                <a:gd name="T93" fmla="*/ 203 h 20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6" h="203">
                  <a:moveTo>
                    <a:pt x="204" y="203"/>
                  </a:moveTo>
                  <a:lnTo>
                    <a:pt x="178" y="176"/>
                  </a:lnTo>
                  <a:lnTo>
                    <a:pt x="131" y="184"/>
                  </a:lnTo>
                  <a:lnTo>
                    <a:pt x="144" y="161"/>
                  </a:lnTo>
                  <a:lnTo>
                    <a:pt x="154" y="159"/>
                  </a:lnTo>
                  <a:lnTo>
                    <a:pt x="145" y="121"/>
                  </a:lnTo>
                  <a:lnTo>
                    <a:pt x="129" y="108"/>
                  </a:lnTo>
                  <a:lnTo>
                    <a:pt x="82" y="92"/>
                  </a:lnTo>
                  <a:lnTo>
                    <a:pt x="56" y="72"/>
                  </a:lnTo>
                  <a:lnTo>
                    <a:pt x="47" y="85"/>
                  </a:lnTo>
                  <a:lnTo>
                    <a:pt x="39" y="85"/>
                  </a:lnTo>
                  <a:lnTo>
                    <a:pt x="36" y="68"/>
                  </a:lnTo>
                  <a:lnTo>
                    <a:pt x="21" y="58"/>
                  </a:lnTo>
                  <a:lnTo>
                    <a:pt x="57" y="49"/>
                  </a:lnTo>
                  <a:lnTo>
                    <a:pt x="61" y="39"/>
                  </a:lnTo>
                  <a:lnTo>
                    <a:pt x="28" y="45"/>
                  </a:lnTo>
                  <a:lnTo>
                    <a:pt x="21" y="39"/>
                  </a:lnTo>
                  <a:lnTo>
                    <a:pt x="21" y="29"/>
                  </a:lnTo>
                  <a:lnTo>
                    <a:pt x="0" y="23"/>
                  </a:lnTo>
                  <a:lnTo>
                    <a:pt x="28" y="0"/>
                  </a:lnTo>
                  <a:lnTo>
                    <a:pt x="41" y="0"/>
                  </a:lnTo>
                  <a:lnTo>
                    <a:pt x="50" y="8"/>
                  </a:lnTo>
                  <a:lnTo>
                    <a:pt x="63" y="8"/>
                  </a:lnTo>
                  <a:lnTo>
                    <a:pt x="67" y="46"/>
                  </a:lnTo>
                  <a:lnTo>
                    <a:pt x="86" y="69"/>
                  </a:lnTo>
                  <a:lnTo>
                    <a:pt x="95" y="69"/>
                  </a:lnTo>
                  <a:lnTo>
                    <a:pt x="115" y="42"/>
                  </a:lnTo>
                  <a:lnTo>
                    <a:pt x="143" y="25"/>
                  </a:lnTo>
                  <a:lnTo>
                    <a:pt x="206" y="54"/>
                  </a:lnTo>
                  <a:lnTo>
                    <a:pt x="204" y="203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76" name="Freeform 233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040564" y="3365938"/>
              <a:ext cx="243108" cy="196590"/>
            </a:xfrm>
            <a:custGeom>
              <a:avLst/>
              <a:gdLst>
                <a:gd name="T0" fmla="*/ 4 w 194"/>
                <a:gd name="T1" fmla="*/ 59 h 137"/>
                <a:gd name="T2" fmla="*/ 4 w 194"/>
                <a:gd name="T3" fmla="*/ 49 h 137"/>
                <a:gd name="T4" fmla="*/ 4 w 194"/>
                <a:gd name="T5" fmla="*/ 42 h 137"/>
                <a:gd name="T6" fmla="*/ 4 w 194"/>
                <a:gd name="T7" fmla="*/ 25 h 137"/>
                <a:gd name="T8" fmla="*/ 4 w 194"/>
                <a:gd name="T9" fmla="*/ 12 h 137"/>
                <a:gd name="T10" fmla="*/ 4 w 194"/>
                <a:gd name="T11" fmla="*/ 0 h 137"/>
                <a:gd name="T12" fmla="*/ 4 w 194"/>
                <a:gd name="T13" fmla="*/ 38 h 137"/>
                <a:gd name="T14" fmla="*/ 4 w 194"/>
                <a:gd name="T15" fmla="*/ 48 h 137"/>
                <a:gd name="T16" fmla="*/ 4 w 194"/>
                <a:gd name="T17" fmla="*/ 52 h 137"/>
                <a:gd name="T18" fmla="*/ 4 w 194"/>
                <a:gd name="T19" fmla="*/ 59 h 137"/>
                <a:gd name="T20" fmla="*/ 4 w 194"/>
                <a:gd name="T21" fmla="*/ 54 h 137"/>
                <a:gd name="T22" fmla="*/ 4 w 194"/>
                <a:gd name="T23" fmla="*/ 67 h 137"/>
                <a:gd name="T24" fmla="*/ 4 w 194"/>
                <a:gd name="T25" fmla="*/ 56 h 137"/>
                <a:gd name="T26" fmla="*/ 4 w 194"/>
                <a:gd name="T27" fmla="*/ 91 h 137"/>
                <a:gd name="T28" fmla="*/ 4 w 194"/>
                <a:gd name="T29" fmla="*/ 95 h 137"/>
                <a:gd name="T30" fmla="*/ 4 w 194"/>
                <a:gd name="T31" fmla="*/ 124 h 137"/>
                <a:gd name="T32" fmla="*/ 0 w 194"/>
                <a:gd name="T33" fmla="*/ 114 h 137"/>
                <a:gd name="T34" fmla="*/ 4 w 194"/>
                <a:gd name="T35" fmla="*/ 137 h 137"/>
                <a:gd name="T36" fmla="*/ 4 w 194"/>
                <a:gd name="T37" fmla="*/ 137 h 137"/>
                <a:gd name="T38" fmla="*/ 4 w 194"/>
                <a:gd name="T39" fmla="*/ 125 h 137"/>
                <a:gd name="T40" fmla="*/ 4 w 194"/>
                <a:gd name="T41" fmla="*/ 133 h 137"/>
                <a:gd name="T42" fmla="*/ 4 w 194"/>
                <a:gd name="T43" fmla="*/ 122 h 137"/>
                <a:gd name="T44" fmla="*/ 4 w 194"/>
                <a:gd name="T45" fmla="*/ 63 h 137"/>
                <a:gd name="T46" fmla="*/ 4 w 194"/>
                <a:gd name="T47" fmla="*/ 60 h 137"/>
                <a:gd name="T48" fmla="*/ 4 w 194"/>
                <a:gd name="T49" fmla="*/ 65 h 137"/>
                <a:gd name="T50" fmla="*/ 4 w 194"/>
                <a:gd name="T51" fmla="*/ 59 h 13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94"/>
                <a:gd name="T79" fmla="*/ 0 h 137"/>
                <a:gd name="T80" fmla="*/ 194 w 194"/>
                <a:gd name="T81" fmla="*/ 137 h 13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94" h="137">
                  <a:moveTo>
                    <a:pt x="182" y="59"/>
                  </a:moveTo>
                  <a:lnTo>
                    <a:pt x="175" y="49"/>
                  </a:lnTo>
                  <a:lnTo>
                    <a:pt x="194" y="42"/>
                  </a:lnTo>
                  <a:lnTo>
                    <a:pt x="164" y="25"/>
                  </a:lnTo>
                  <a:lnTo>
                    <a:pt x="163" y="12"/>
                  </a:lnTo>
                  <a:lnTo>
                    <a:pt x="147" y="0"/>
                  </a:lnTo>
                  <a:lnTo>
                    <a:pt x="117" y="38"/>
                  </a:lnTo>
                  <a:lnTo>
                    <a:pt x="113" y="48"/>
                  </a:lnTo>
                  <a:lnTo>
                    <a:pt x="117" y="52"/>
                  </a:lnTo>
                  <a:lnTo>
                    <a:pt x="113" y="59"/>
                  </a:lnTo>
                  <a:lnTo>
                    <a:pt x="104" y="54"/>
                  </a:lnTo>
                  <a:lnTo>
                    <a:pt x="101" y="67"/>
                  </a:lnTo>
                  <a:lnTo>
                    <a:pt x="89" y="56"/>
                  </a:lnTo>
                  <a:lnTo>
                    <a:pt x="61" y="91"/>
                  </a:lnTo>
                  <a:lnTo>
                    <a:pt x="39" y="95"/>
                  </a:lnTo>
                  <a:lnTo>
                    <a:pt x="32" y="124"/>
                  </a:lnTo>
                  <a:lnTo>
                    <a:pt x="0" y="114"/>
                  </a:lnTo>
                  <a:lnTo>
                    <a:pt x="16" y="137"/>
                  </a:lnTo>
                  <a:lnTo>
                    <a:pt x="46" y="137"/>
                  </a:lnTo>
                  <a:lnTo>
                    <a:pt x="55" y="125"/>
                  </a:lnTo>
                  <a:lnTo>
                    <a:pt x="83" y="133"/>
                  </a:lnTo>
                  <a:lnTo>
                    <a:pt x="103" y="122"/>
                  </a:lnTo>
                  <a:lnTo>
                    <a:pt x="124" y="63"/>
                  </a:lnTo>
                  <a:lnTo>
                    <a:pt x="137" y="60"/>
                  </a:lnTo>
                  <a:lnTo>
                    <a:pt x="163" y="65"/>
                  </a:lnTo>
                  <a:lnTo>
                    <a:pt x="182" y="59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77" name="Freeform 234"/>
            <p:cNvSpPr>
              <a:spLocks noChangeAspect="1"/>
            </p:cNvSpPr>
            <p:nvPr/>
          </p:nvSpPr>
          <p:spPr bwMode="auto">
            <a:xfrm>
              <a:off x="7153735" y="3434816"/>
              <a:ext cx="33532" cy="27264"/>
            </a:xfrm>
            <a:custGeom>
              <a:avLst/>
              <a:gdLst>
                <a:gd name="T0" fmla="*/ 3 w 28"/>
                <a:gd name="T1" fmla="*/ 4 h 19"/>
                <a:gd name="T2" fmla="*/ 3 w 28"/>
                <a:gd name="T3" fmla="*/ 11 h 19"/>
                <a:gd name="T4" fmla="*/ 3 w 28"/>
                <a:gd name="T5" fmla="*/ 6 h 19"/>
                <a:gd name="T6" fmla="*/ 3 w 28"/>
                <a:gd name="T7" fmla="*/ 19 h 19"/>
                <a:gd name="T8" fmla="*/ 0 w 28"/>
                <a:gd name="T9" fmla="*/ 8 h 19"/>
                <a:gd name="T10" fmla="*/ 3 w 28"/>
                <a:gd name="T11" fmla="*/ 0 h 19"/>
                <a:gd name="T12" fmla="*/ 3 w 28"/>
                <a:gd name="T13" fmla="*/ 4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19"/>
                <a:gd name="T23" fmla="*/ 28 w 28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19">
                  <a:moveTo>
                    <a:pt x="28" y="4"/>
                  </a:moveTo>
                  <a:lnTo>
                    <a:pt x="24" y="11"/>
                  </a:lnTo>
                  <a:lnTo>
                    <a:pt x="15" y="6"/>
                  </a:lnTo>
                  <a:lnTo>
                    <a:pt x="12" y="19"/>
                  </a:lnTo>
                  <a:lnTo>
                    <a:pt x="0" y="8"/>
                  </a:lnTo>
                  <a:lnTo>
                    <a:pt x="24" y="0"/>
                  </a:lnTo>
                  <a:lnTo>
                    <a:pt x="28" y="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78" name="Freeform 235"/>
            <p:cNvSpPr>
              <a:spLocks noChangeAspect="1"/>
            </p:cNvSpPr>
            <p:nvPr/>
          </p:nvSpPr>
          <p:spPr bwMode="auto">
            <a:xfrm>
              <a:off x="6977691" y="2936884"/>
              <a:ext cx="54490" cy="58833"/>
            </a:xfrm>
            <a:custGeom>
              <a:avLst/>
              <a:gdLst>
                <a:gd name="T0" fmla="*/ 0 w 44"/>
                <a:gd name="T1" fmla="*/ 15 h 41"/>
                <a:gd name="T2" fmla="*/ 4 w 44"/>
                <a:gd name="T3" fmla="*/ 35 h 41"/>
                <a:gd name="T4" fmla="*/ 4 w 44"/>
                <a:gd name="T5" fmla="*/ 41 h 41"/>
                <a:gd name="T6" fmla="*/ 4 w 44"/>
                <a:gd name="T7" fmla="*/ 28 h 41"/>
                <a:gd name="T8" fmla="*/ 4 w 44"/>
                <a:gd name="T9" fmla="*/ 0 h 41"/>
                <a:gd name="T10" fmla="*/ 4 w 44"/>
                <a:gd name="T11" fmla="*/ 2 h 41"/>
                <a:gd name="T12" fmla="*/ 0 w 44"/>
                <a:gd name="T13" fmla="*/ 15 h 4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4"/>
                <a:gd name="T22" fmla="*/ 0 h 41"/>
                <a:gd name="T23" fmla="*/ 44 w 44"/>
                <a:gd name="T24" fmla="*/ 41 h 4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4" h="41">
                  <a:moveTo>
                    <a:pt x="0" y="15"/>
                  </a:moveTo>
                  <a:lnTo>
                    <a:pt x="5" y="35"/>
                  </a:lnTo>
                  <a:lnTo>
                    <a:pt x="23" y="41"/>
                  </a:lnTo>
                  <a:lnTo>
                    <a:pt x="38" y="28"/>
                  </a:lnTo>
                  <a:lnTo>
                    <a:pt x="44" y="0"/>
                  </a:lnTo>
                  <a:lnTo>
                    <a:pt x="16" y="2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79" name="Freeform 236"/>
            <p:cNvSpPr>
              <a:spLocks noChangeAspect="1"/>
            </p:cNvSpPr>
            <p:nvPr/>
          </p:nvSpPr>
          <p:spPr bwMode="auto">
            <a:xfrm>
              <a:off x="7247345" y="2764689"/>
              <a:ext cx="33532" cy="107622"/>
            </a:xfrm>
            <a:custGeom>
              <a:avLst/>
              <a:gdLst>
                <a:gd name="T0" fmla="*/ 0 w 28"/>
                <a:gd name="T1" fmla="*/ 36 h 75"/>
                <a:gd name="T2" fmla="*/ 3 w 28"/>
                <a:gd name="T3" fmla="*/ 60 h 75"/>
                <a:gd name="T4" fmla="*/ 3 w 28"/>
                <a:gd name="T5" fmla="*/ 75 h 75"/>
                <a:gd name="T6" fmla="*/ 3 w 28"/>
                <a:gd name="T7" fmla="*/ 3 h 75"/>
                <a:gd name="T8" fmla="*/ 3 w 28"/>
                <a:gd name="T9" fmla="*/ 0 h 75"/>
                <a:gd name="T10" fmla="*/ 3 w 28"/>
                <a:gd name="T11" fmla="*/ 6 h 75"/>
                <a:gd name="T12" fmla="*/ 0 w 28"/>
                <a:gd name="T13" fmla="*/ 36 h 7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75"/>
                <a:gd name="T23" fmla="*/ 28 w 28"/>
                <a:gd name="T24" fmla="*/ 75 h 7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75">
                  <a:moveTo>
                    <a:pt x="0" y="36"/>
                  </a:moveTo>
                  <a:lnTo>
                    <a:pt x="7" y="60"/>
                  </a:lnTo>
                  <a:lnTo>
                    <a:pt x="19" y="75"/>
                  </a:lnTo>
                  <a:lnTo>
                    <a:pt x="28" y="3"/>
                  </a:lnTo>
                  <a:lnTo>
                    <a:pt x="20" y="0"/>
                  </a:lnTo>
                  <a:lnTo>
                    <a:pt x="12" y="6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80" name="Freeform 23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6675902" y="3410422"/>
              <a:ext cx="276640" cy="375960"/>
            </a:xfrm>
            <a:custGeom>
              <a:avLst/>
              <a:gdLst>
                <a:gd name="T0" fmla="*/ 0 w 221"/>
                <a:gd name="T1" fmla="*/ 0 h 262"/>
                <a:gd name="T2" fmla="*/ 4 w 221"/>
                <a:gd name="T3" fmla="*/ 20 h 262"/>
                <a:gd name="T4" fmla="*/ 4 w 221"/>
                <a:gd name="T5" fmla="*/ 43 h 262"/>
                <a:gd name="T6" fmla="*/ 4 w 221"/>
                <a:gd name="T7" fmla="*/ 74 h 262"/>
                <a:gd name="T8" fmla="*/ 4 w 221"/>
                <a:gd name="T9" fmla="*/ 87 h 262"/>
                <a:gd name="T10" fmla="*/ 4 w 221"/>
                <a:gd name="T11" fmla="*/ 122 h 262"/>
                <a:gd name="T12" fmla="*/ 4 w 221"/>
                <a:gd name="T13" fmla="*/ 145 h 262"/>
                <a:gd name="T14" fmla="*/ 4 w 221"/>
                <a:gd name="T15" fmla="*/ 177 h 262"/>
                <a:gd name="T16" fmla="*/ 4 w 221"/>
                <a:gd name="T17" fmla="*/ 202 h 262"/>
                <a:gd name="T18" fmla="*/ 4 w 221"/>
                <a:gd name="T19" fmla="*/ 258 h 262"/>
                <a:gd name="T20" fmla="*/ 4 w 221"/>
                <a:gd name="T21" fmla="*/ 262 h 262"/>
                <a:gd name="T22" fmla="*/ 4 w 221"/>
                <a:gd name="T23" fmla="*/ 256 h 262"/>
                <a:gd name="T24" fmla="*/ 4 w 221"/>
                <a:gd name="T25" fmla="*/ 262 h 262"/>
                <a:gd name="T26" fmla="*/ 4 w 221"/>
                <a:gd name="T27" fmla="*/ 199 h 262"/>
                <a:gd name="T28" fmla="*/ 4 w 221"/>
                <a:gd name="T29" fmla="*/ 183 h 262"/>
                <a:gd name="T30" fmla="*/ 4 w 221"/>
                <a:gd name="T31" fmla="*/ 183 h 262"/>
                <a:gd name="T32" fmla="*/ 4 w 221"/>
                <a:gd name="T33" fmla="*/ 152 h 262"/>
                <a:gd name="T34" fmla="*/ 4 w 221"/>
                <a:gd name="T35" fmla="*/ 152 h 262"/>
                <a:gd name="T36" fmla="*/ 4 w 221"/>
                <a:gd name="T37" fmla="*/ 145 h 262"/>
                <a:gd name="T38" fmla="*/ 4 w 221"/>
                <a:gd name="T39" fmla="*/ 126 h 262"/>
                <a:gd name="T40" fmla="*/ 4 w 221"/>
                <a:gd name="T41" fmla="*/ 116 h 262"/>
                <a:gd name="T42" fmla="*/ 4 w 221"/>
                <a:gd name="T43" fmla="*/ 104 h 262"/>
                <a:gd name="T44" fmla="*/ 4 w 221"/>
                <a:gd name="T45" fmla="*/ 77 h 262"/>
                <a:gd name="T46" fmla="*/ 4 w 221"/>
                <a:gd name="T47" fmla="*/ 80 h 262"/>
                <a:gd name="T48" fmla="*/ 4 w 221"/>
                <a:gd name="T49" fmla="*/ 9 h 262"/>
                <a:gd name="T50" fmla="*/ 0 w 221"/>
                <a:gd name="T51" fmla="*/ 0 h 2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21"/>
                <a:gd name="T79" fmla="*/ 0 h 262"/>
                <a:gd name="T80" fmla="*/ 221 w 221"/>
                <a:gd name="T81" fmla="*/ 262 h 26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21" h="262">
                  <a:moveTo>
                    <a:pt x="0" y="0"/>
                  </a:moveTo>
                  <a:lnTo>
                    <a:pt x="8" y="20"/>
                  </a:lnTo>
                  <a:lnTo>
                    <a:pt x="33" y="43"/>
                  </a:lnTo>
                  <a:lnTo>
                    <a:pt x="52" y="74"/>
                  </a:lnTo>
                  <a:lnTo>
                    <a:pt x="73" y="87"/>
                  </a:lnTo>
                  <a:lnTo>
                    <a:pt x="81" y="122"/>
                  </a:lnTo>
                  <a:lnTo>
                    <a:pt x="106" y="145"/>
                  </a:lnTo>
                  <a:lnTo>
                    <a:pt x="115" y="177"/>
                  </a:lnTo>
                  <a:lnTo>
                    <a:pt x="131" y="202"/>
                  </a:lnTo>
                  <a:lnTo>
                    <a:pt x="183" y="258"/>
                  </a:lnTo>
                  <a:lnTo>
                    <a:pt x="191" y="262"/>
                  </a:lnTo>
                  <a:lnTo>
                    <a:pt x="203" y="256"/>
                  </a:lnTo>
                  <a:lnTo>
                    <a:pt x="210" y="262"/>
                  </a:lnTo>
                  <a:lnTo>
                    <a:pt x="221" y="199"/>
                  </a:lnTo>
                  <a:lnTo>
                    <a:pt x="210" y="183"/>
                  </a:lnTo>
                  <a:lnTo>
                    <a:pt x="199" y="183"/>
                  </a:lnTo>
                  <a:lnTo>
                    <a:pt x="187" y="152"/>
                  </a:lnTo>
                  <a:lnTo>
                    <a:pt x="175" y="152"/>
                  </a:lnTo>
                  <a:lnTo>
                    <a:pt x="168" y="145"/>
                  </a:lnTo>
                  <a:lnTo>
                    <a:pt x="175" y="126"/>
                  </a:lnTo>
                  <a:lnTo>
                    <a:pt x="158" y="116"/>
                  </a:lnTo>
                  <a:lnTo>
                    <a:pt x="159" y="104"/>
                  </a:lnTo>
                  <a:lnTo>
                    <a:pt x="122" y="77"/>
                  </a:lnTo>
                  <a:lnTo>
                    <a:pt x="112" y="80"/>
                  </a:lnTo>
                  <a:lnTo>
                    <a:pt x="45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81" name="Freeform 238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6931585" y="3787816"/>
              <a:ext cx="227739" cy="90403"/>
            </a:xfrm>
            <a:custGeom>
              <a:avLst/>
              <a:gdLst>
                <a:gd name="T0" fmla="*/ 0 w 180"/>
                <a:gd name="T1" fmla="*/ 19 h 63"/>
                <a:gd name="T2" fmla="*/ 5 w 180"/>
                <a:gd name="T3" fmla="*/ 42 h 63"/>
                <a:gd name="T4" fmla="*/ 5 w 180"/>
                <a:gd name="T5" fmla="*/ 42 h 63"/>
                <a:gd name="T6" fmla="*/ 5 w 180"/>
                <a:gd name="T7" fmla="*/ 58 h 63"/>
                <a:gd name="T8" fmla="*/ 5 w 180"/>
                <a:gd name="T9" fmla="*/ 54 h 63"/>
                <a:gd name="T10" fmla="*/ 5 w 180"/>
                <a:gd name="T11" fmla="*/ 63 h 63"/>
                <a:gd name="T12" fmla="*/ 5 w 180"/>
                <a:gd name="T13" fmla="*/ 42 h 63"/>
                <a:gd name="T14" fmla="*/ 5 w 180"/>
                <a:gd name="T15" fmla="*/ 39 h 63"/>
                <a:gd name="T16" fmla="*/ 5 w 180"/>
                <a:gd name="T17" fmla="*/ 23 h 63"/>
                <a:gd name="T18" fmla="*/ 5 w 180"/>
                <a:gd name="T19" fmla="*/ 12 h 63"/>
                <a:gd name="T20" fmla="*/ 5 w 180"/>
                <a:gd name="T21" fmla="*/ 23 h 63"/>
                <a:gd name="T22" fmla="*/ 5 w 180"/>
                <a:gd name="T23" fmla="*/ 22 h 63"/>
                <a:gd name="T24" fmla="*/ 5 w 180"/>
                <a:gd name="T25" fmla="*/ 2 h 63"/>
                <a:gd name="T26" fmla="*/ 5 w 180"/>
                <a:gd name="T27" fmla="*/ 0 h 63"/>
                <a:gd name="T28" fmla="*/ 0 w 180"/>
                <a:gd name="T29" fmla="*/ 19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0"/>
                <a:gd name="T46" fmla="*/ 0 h 63"/>
                <a:gd name="T47" fmla="*/ 180 w 180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0" h="63">
                  <a:moveTo>
                    <a:pt x="0" y="19"/>
                  </a:moveTo>
                  <a:lnTo>
                    <a:pt x="50" y="42"/>
                  </a:lnTo>
                  <a:lnTo>
                    <a:pt x="82" y="42"/>
                  </a:lnTo>
                  <a:lnTo>
                    <a:pt x="139" y="58"/>
                  </a:lnTo>
                  <a:lnTo>
                    <a:pt x="152" y="54"/>
                  </a:lnTo>
                  <a:lnTo>
                    <a:pt x="178" y="63"/>
                  </a:lnTo>
                  <a:lnTo>
                    <a:pt x="180" y="42"/>
                  </a:lnTo>
                  <a:lnTo>
                    <a:pt x="148" y="39"/>
                  </a:lnTo>
                  <a:lnTo>
                    <a:pt x="141" y="23"/>
                  </a:lnTo>
                  <a:lnTo>
                    <a:pt x="109" y="12"/>
                  </a:lnTo>
                  <a:lnTo>
                    <a:pt x="102" y="23"/>
                  </a:lnTo>
                  <a:lnTo>
                    <a:pt x="73" y="22"/>
                  </a:lnTo>
                  <a:lnTo>
                    <a:pt x="40" y="2"/>
                  </a:lnTo>
                  <a:lnTo>
                    <a:pt x="13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82" name="Freeform 239"/>
            <p:cNvSpPr>
              <a:spLocks noChangeAspect="1"/>
            </p:cNvSpPr>
            <p:nvPr/>
          </p:nvSpPr>
          <p:spPr bwMode="auto">
            <a:xfrm>
              <a:off x="7159324" y="3859565"/>
              <a:ext cx="29341" cy="21524"/>
            </a:xfrm>
            <a:custGeom>
              <a:avLst/>
              <a:gdLst>
                <a:gd name="T0" fmla="*/ 0 w 24"/>
                <a:gd name="T1" fmla="*/ 4 h 15"/>
                <a:gd name="T2" fmla="*/ 4 w 24"/>
                <a:gd name="T3" fmla="*/ 15 h 15"/>
                <a:gd name="T4" fmla="*/ 4 w 24"/>
                <a:gd name="T5" fmla="*/ 6 h 15"/>
                <a:gd name="T6" fmla="*/ 4 w 24"/>
                <a:gd name="T7" fmla="*/ 0 h 15"/>
                <a:gd name="T8" fmla="*/ 0 w 24"/>
                <a:gd name="T9" fmla="*/ 4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5"/>
                <a:gd name="T17" fmla="*/ 24 w 24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5">
                  <a:moveTo>
                    <a:pt x="0" y="4"/>
                  </a:moveTo>
                  <a:lnTo>
                    <a:pt x="13" y="15"/>
                  </a:lnTo>
                  <a:lnTo>
                    <a:pt x="24" y="6"/>
                  </a:lnTo>
                  <a:lnTo>
                    <a:pt x="1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83" name="Freeform 240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195650" y="3862435"/>
              <a:ext cx="198398" cy="33004"/>
            </a:xfrm>
            <a:custGeom>
              <a:avLst/>
              <a:gdLst>
                <a:gd name="T0" fmla="*/ 0 w 156"/>
                <a:gd name="T1" fmla="*/ 19 h 23"/>
                <a:gd name="T2" fmla="*/ 5 w 156"/>
                <a:gd name="T3" fmla="*/ 23 h 23"/>
                <a:gd name="T4" fmla="*/ 5 w 156"/>
                <a:gd name="T5" fmla="*/ 11 h 23"/>
                <a:gd name="T6" fmla="*/ 5 w 156"/>
                <a:gd name="T7" fmla="*/ 17 h 23"/>
                <a:gd name="T8" fmla="*/ 5 w 156"/>
                <a:gd name="T9" fmla="*/ 6 h 23"/>
                <a:gd name="T10" fmla="*/ 5 w 156"/>
                <a:gd name="T11" fmla="*/ 2 h 23"/>
                <a:gd name="T12" fmla="*/ 5 w 156"/>
                <a:gd name="T13" fmla="*/ 13 h 23"/>
                <a:gd name="T14" fmla="*/ 5 w 156"/>
                <a:gd name="T15" fmla="*/ 2 h 23"/>
                <a:gd name="T16" fmla="*/ 5 w 156"/>
                <a:gd name="T17" fmla="*/ 11 h 23"/>
                <a:gd name="T18" fmla="*/ 5 w 156"/>
                <a:gd name="T19" fmla="*/ 0 h 23"/>
                <a:gd name="T20" fmla="*/ 5 w 156"/>
                <a:gd name="T21" fmla="*/ 10 h 23"/>
                <a:gd name="T22" fmla="*/ 5 w 156"/>
                <a:gd name="T23" fmla="*/ 4 h 23"/>
                <a:gd name="T24" fmla="*/ 2 w 156"/>
                <a:gd name="T25" fmla="*/ 7 h 23"/>
                <a:gd name="T26" fmla="*/ 0 w 156"/>
                <a:gd name="T27" fmla="*/ 19 h 2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6"/>
                <a:gd name="T43" fmla="*/ 0 h 23"/>
                <a:gd name="T44" fmla="*/ 156 w 156"/>
                <a:gd name="T45" fmla="*/ 23 h 2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6" h="23">
                  <a:moveTo>
                    <a:pt x="0" y="19"/>
                  </a:moveTo>
                  <a:lnTo>
                    <a:pt x="23" y="23"/>
                  </a:lnTo>
                  <a:lnTo>
                    <a:pt x="71" y="11"/>
                  </a:lnTo>
                  <a:lnTo>
                    <a:pt x="121" y="17"/>
                  </a:lnTo>
                  <a:lnTo>
                    <a:pt x="156" y="6"/>
                  </a:lnTo>
                  <a:lnTo>
                    <a:pt x="141" y="2"/>
                  </a:lnTo>
                  <a:lnTo>
                    <a:pt x="130" y="13"/>
                  </a:lnTo>
                  <a:lnTo>
                    <a:pt x="92" y="2"/>
                  </a:lnTo>
                  <a:lnTo>
                    <a:pt x="71" y="11"/>
                  </a:lnTo>
                  <a:lnTo>
                    <a:pt x="36" y="0"/>
                  </a:lnTo>
                  <a:lnTo>
                    <a:pt x="41" y="10"/>
                  </a:lnTo>
                  <a:lnTo>
                    <a:pt x="11" y="4"/>
                  </a:lnTo>
                  <a:lnTo>
                    <a:pt x="2" y="7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84" name="Freeform 241"/>
            <p:cNvSpPr>
              <a:spLocks noChangeAspect="1"/>
            </p:cNvSpPr>
            <p:nvPr/>
          </p:nvSpPr>
          <p:spPr bwMode="auto">
            <a:xfrm>
              <a:off x="7408020" y="3862435"/>
              <a:ext cx="23752" cy="10045"/>
            </a:xfrm>
            <a:custGeom>
              <a:avLst/>
              <a:gdLst>
                <a:gd name="T0" fmla="*/ 0 w 19"/>
                <a:gd name="T1" fmla="*/ 7 h 7"/>
                <a:gd name="T2" fmla="*/ 4 w 19"/>
                <a:gd name="T3" fmla="*/ 4 h 7"/>
                <a:gd name="T4" fmla="*/ 4 w 19"/>
                <a:gd name="T5" fmla="*/ 0 h 7"/>
                <a:gd name="T6" fmla="*/ 0 w 19"/>
                <a:gd name="T7" fmla="*/ 7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7"/>
                <a:gd name="T14" fmla="*/ 19 w 19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7">
                  <a:moveTo>
                    <a:pt x="0" y="7"/>
                  </a:moveTo>
                  <a:lnTo>
                    <a:pt x="19" y="4"/>
                  </a:lnTo>
                  <a:lnTo>
                    <a:pt x="5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85" name="Freeform 242"/>
            <p:cNvSpPr>
              <a:spLocks noChangeAspect="1"/>
            </p:cNvSpPr>
            <p:nvPr/>
          </p:nvSpPr>
          <p:spPr bwMode="auto">
            <a:xfrm>
              <a:off x="7447141" y="3843780"/>
              <a:ext cx="22355" cy="12915"/>
            </a:xfrm>
            <a:custGeom>
              <a:avLst/>
              <a:gdLst>
                <a:gd name="T0" fmla="*/ 0 w 17"/>
                <a:gd name="T1" fmla="*/ 9 h 9"/>
                <a:gd name="T2" fmla="*/ 8 w 17"/>
                <a:gd name="T3" fmla="*/ 9 h 9"/>
                <a:gd name="T4" fmla="*/ 8 w 17"/>
                <a:gd name="T5" fmla="*/ 0 h 9"/>
                <a:gd name="T6" fmla="*/ 4 w 17"/>
                <a:gd name="T7" fmla="*/ 2 h 9"/>
                <a:gd name="T8" fmla="*/ 0 w 17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9"/>
                <a:gd name="T17" fmla="*/ 17 w 1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9">
                  <a:moveTo>
                    <a:pt x="0" y="9"/>
                  </a:moveTo>
                  <a:lnTo>
                    <a:pt x="12" y="9"/>
                  </a:lnTo>
                  <a:lnTo>
                    <a:pt x="17" y="0"/>
                  </a:lnTo>
                  <a:lnTo>
                    <a:pt x="4" y="2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86" name="Freeform 243"/>
            <p:cNvSpPr>
              <a:spLocks noChangeAspect="1"/>
            </p:cNvSpPr>
            <p:nvPr/>
          </p:nvSpPr>
          <p:spPr bwMode="auto">
            <a:xfrm>
              <a:off x="7271097" y="3904048"/>
              <a:ext cx="48901" cy="30134"/>
            </a:xfrm>
            <a:custGeom>
              <a:avLst/>
              <a:gdLst>
                <a:gd name="T0" fmla="*/ 0 w 38"/>
                <a:gd name="T1" fmla="*/ 1 h 21"/>
                <a:gd name="T2" fmla="*/ 3 w 38"/>
                <a:gd name="T3" fmla="*/ 9 h 21"/>
                <a:gd name="T4" fmla="*/ 6 w 38"/>
                <a:gd name="T5" fmla="*/ 21 h 21"/>
                <a:gd name="T6" fmla="*/ 6 w 38"/>
                <a:gd name="T7" fmla="*/ 15 h 21"/>
                <a:gd name="T8" fmla="*/ 6 w 38"/>
                <a:gd name="T9" fmla="*/ 0 h 21"/>
                <a:gd name="T10" fmla="*/ 0 w 38"/>
                <a:gd name="T11" fmla="*/ 1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21"/>
                <a:gd name="T20" fmla="*/ 38 w 38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21">
                  <a:moveTo>
                    <a:pt x="0" y="1"/>
                  </a:moveTo>
                  <a:lnTo>
                    <a:pt x="3" y="9"/>
                  </a:lnTo>
                  <a:lnTo>
                    <a:pt x="28" y="21"/>
                  </a:lnTo>
                  <a:lnTo>
                    <a:pt x="38" y="15"/>
                  </a:lnTo>
                  <a:lnTo>
                    <a:pt x="21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87" name="Freeform 244"/>
            <p:cNvSpPr>
              <a:spLocks noChangeAspect="1"/>
            </p:cNvSpPr>
            <p:nvPr/>
          </p:nvSpPr>
          <p:spPr bwMode="auto">
            <a:xfrm>
              <a:off x="7662305" y="3773467"/>
              <a:ext cx="16766" cy="50224"/>
            </a:xfrm>
            <a:custGeom>
              <a:avLst/>
              <a:gdLst>
                <a:gd name="T0" fmla="*/ 0 w 13"/>
                <a:gd name="T1" fmla="*/ 35 h 35"/>
                <a:gd name="T2" fmla="*/ 6 w 13"/>
                <a:gd name="T3" fmla="*/ 12 h 35"/>
                <a:gd name="T4" fmla="*/ 6 w 13"/>
                <a:gd name="T5" fmla="*/ 0 h 35"/>
                <a:gd name="T6" fmla="*/ 0 w 13"/>
                <a:gd name="T7" fmla="*/ 35 h 3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35"/>
                <a:gd name="T14" fmla="*/ 13 w 13"/>
                <a:gd name="T15" fmla="*/ 35 h 3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35">
                  <a:moveTo>
                    <a:pt x="0" y="35"/>
                  </a:moveTo>
                  <a:lnTo>
                    <a:pt x="13" y="12"/>
                  </a:lnTo>
                  <a:lnTo>
                    <a:pt x="11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88" name="Freeform 245"/>
            <p:cNvSpPr>
              <a:spLocks noChangeAspect="1"/>
            </p:cNvSpPr>
            <p:nvPr/>
          </p:nvSpPr>
          <p:spPr bwMode="auto">
            <a:xfrm>
              <a:off x="6931585" y="3619926"/>
              <a:ext cx="53480" cy="76054"/>
            </a:xfrm>
            <a:custGeom>
              <a:avLst/>
              <a:gdLst>
                <a:gd name="T0" fmla="*/ 0 w 30"/>
                <a:gd name="T1" fmla="*/ 10 h 36"/>
                <a:gd name="T2" fmla="*/ 3 w 30"/>
                <a:gd name="T3" fmla="*/ 13 h 36"/>
                <a:gd name="T4" fmla="*/ 3 w 30"/>
                <a:gd name="T5" fmla="*/ 28 h 36"/>
                <a:gd name="T6" fmla="*/ 3 w 30"/>
                <a:gd name="T7" fmla="*/ 36 h 36"/>
                <a:gd name="T8" fmla="*/ 3 w 30"/>
                <a:gd name="T9" fmla="*/ 23 h 36"/>
                <a:gd name="T10" fmla="*/ 3 w 30"/>
                <a:gd name="T11" fmla="*/ 22 h 36"/>
                <a:gd name="T12" fmla="*/ 3 w 30"/>
                <a:gd name="T13" fmla="*/ 0 h 36"/>
                <a:gd name="T14" fmla="*/ 0 w 30"/>
                <a:gd name="T15" fmla="*/ 10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0"/>
                <a:gd name="T25" fmla="*/ 0 h 36"/>
                <a:gd name="T26" fmla="*/ 30 w 30"/>
                <a:gd name="T27" fmla="*/ 36 h 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0" h="36">
                  <a:moveTo>
                    <a:pt x="0" y="10"/>
                  </a:moveTo>
                  <a:lnTo>
                    <a:pt x="11" y="13"/>
                  </a:lnTo>
                  <a:lnTo>
                    <a:pt x="13" y="28"/>
                  </a:lnTo>
                  <a:lnTo>
                    <a:pt x="28" y="36"/>
                  </a:lnTo>
                  <a:lnTo>
                    <a:pt x="30" y="23"/>
                  </a:lnTo>
                  <a:lnTo>
                    <a:pt x="24" y="22"/>
                  </a:lnTo>
                  <a:lnTo>
                    <a:pt x="16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89" name="Freeform 246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276686" y="3538133"/>
              <a:ext cx="164866" cy="243943"/>
            </a:xfrm>
            <a:custGeom>
              <a:avLst/>
              <a:gdLst>
                <a:gd name="T0" fmla="*/ 0 w 131"/>
                <a:gd name="T1" fmla="*/ 106 h 170"/>
                <a:gd name="T2" fmla="*/ 3 w 131"/>
                <a:gd name="T3" fmla="*/ 120 h 170"/>
                <a:gd name="T4" fmla="*/ 5 w 131"/>
                <a:gd name="T5" fmla="*/ 120 h 170"/>
                <a:gd name="T6" fmla="*/ 5 w 131"/>
                <a:gd name="T7" fmla="*/ 133 h 170"/>
                <a:gd name="T8" fmla="*/ 5 w 131"/>
                <a:gd name="T9" fmla="*/ 169 h 170"/>
                <a:gd name="T10" fmla="*/ 5 w 131"/>
                <a:gd name="T11" fmla="*/ 167 h 170"/>
                <a:gd name="T12" fmla="*/ 5 w 131"/>
                <a:gd name="T13" fmla="*/ 110 h 170"/>
                <a:gd name="T14" fmla="*/ 5 w 131"/>
                <a:gd name="T15" fmla="*/ 102 h 170"/>
                <a:gd name="T16" fmla="*/ 5 w 131"/>
                <a:gd name="T17" fmla="*/ 102 h 170"/>
                <a:gd name="T18" fmla="*/ 5 w 131"/>
                <a:gd name="T19" fmla="*/ 119 h 170"/>
                <a:gd name="T20" fmla="*/ 5 w 131"/>
                <a:gd name="T21" fmla="*/ 134 h 170"/>
                <a:gd name="T22" fmla="*/ 5 w 131"/>
                <a:gd name="T23" fmla="*/ 147 h 170"/>
                <a:gd name="T24" fmla="*/ 5 w 131"/>
                <a:gd name="T25" fmla="*/ 152 h 170"/>
                <a:gd name="T26" fmla="*/ 5 w 131"/>
                <a:gd name="T27" fmla="*/ 146 h 170"/>
                <a:gd name="T28" fmla="*/ 5 w 131"/>
                <a:gd name="T29" fmla="*/ 163 h 170"/>
                <a:gd name="T30" fmla="*/ 5 w 131"/>
                <a:gd name="T31" fmla="*/ 170 h 170"/>
                <a:gd name="T32" fmla="*/ 5 w 131"/>
                <a:gd name="T33" fmla="*/ 163 h 170"/>
                <a:gd name="T34" fmla="*/ 5 w 131"/>
                <a:gd name="T35" fmla="*/ 150 h 170"/>
                <a:gd name="T36" fmla="*/ 5 w 131"/>
                <a:gd name="T37" fmla="*/ 120 h 170"/>
                <a:gd name="T38" fmla="*/ 5 w 131"/>
                <a:gd name="T39" fmla="*/ 113 h 170"/>
                <a:gd name="T40" fmla="*/ 5 w 131"/>
                <a:gd name="T41" fmla="*/ 84 h 170"/>
                <a:gd name="T42" fmla="*/ 5 w 131"/>
                <a:gd name="T43" fmla="*/ 61 h 170"/>
                <a:gd name="T44" fmla="*/ 5 w 131"/>
                <a:gd name="T45" fmla="*/ 61 h 170"/>
                <a:gd name="T46" fmla="*/ 5 w 131"/>
                <a:gd name="T47" fmla="*/ 54 h 170"/>
                <a:gd name="T48" fmla="*/ 5 w 131"/>
                <a:gd name="T49" fmla="*/ 71 h 170"/>
                <a:gd name="T50" fmla="*/ 5 w 131"/>
                <a:gd name="T51" fmla="*/ 61 h 170"/>
                <a:gd name="T52" fmla="*/ 5 w 131"/>
                <a:gd name="T53" fmla="*/ 56 h 170"/>
                <a:gd name="T54" fmla="*/ 5 w 131"/>
                <a:gd name="T55" fmla="*/ 43 h 170"/>
                <a:gd name="T56" fmla="*/ 5 w 131"/>
                <a:gd name="T57" fmla="*/ 30 h 170"/>
                <a:gd name="T58" fmla="*/ 5 w 131"/>
                <a:gd name="T59" fmla="*/ 33 h 170"/>
                <a:gd name="T60" fmla="*/ 5 w 131"/>
                <a:gd name="T61" fmla="*/ 27 h 170"/>
                <a:gd name="T62" fmla="*/ 5 w 131"/>
                <a:gd name="T63" fmla="*/ 6 h 170"/>
                <a:gd name="T64" fmla="*/ 5 w 131"/>
                <a:gd name="T65" fmla="*/ 0 h 170"/>
                <a:gd name="T66" fmla="*/ 5 w 131"/>
                <a:gd name="T67" fmla="*/ 20 h 170"/>
                <a:gd name="T68" fmla="*/ 5 w 131"/>
                <a:gd name="T69" fmla="*/ 21 h 170"/>
                <a:gd name="T70" fmla="*/ 5 w 131"/>
                <a:gd name="T71" fmla="*/ 10 h 170"/>
                <a:gd name="T72" fmla="*/ 5 w 131"/>
                <a:gd name="T73" fmla="*/ 23 h 170"/>
                <a:gd name="T74" fmla="*/ 5 w 131"/>
                <a:gd name="T75" fmla="*/ 23 h 170"/>
                <a:gd name="T76" fmla="*/ 5 w 131"/>
                <a:gd name="T77" fmla="*/ 54 h 170"/>
                <a:gd name="T78" fmla="*/ 0 w 131"/>
                <a:gd name="T79" fmla="*/ 106 h 17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31"/>
                <a:gd name="T121" fmla="*/ 0 h 170"/>
                <a:gd name="T122" fmla="*/ 131 w 131"/>
                <a:gd name="T123" fmla="*/ 170 h 17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31" h="170">
                  <a:moveTo>
                    <a:pt x="0" y="106"/>
                  </a:moveTo>
                  <a:lnTo>
                    <a:pt x="3" y="120"/>
                  </a:lnTo>
                  <a:lnTo>
                    <a:pt x="13" y="120"/>
                  </a:lnTo>
                  <a:lnTo>
                    <a:pt x="16" y="133"/>
                  </a:lnTo>
                  <a:lnTo>
                    <a:pt x="11" y="169"/>
                  </a:lnTo>
                  <a:lnTo>
                    <a:pt x="29" y="167"/>
                  </a:lnTo>
                  <a:lnTo>
                    <a:pt x="29" y="110"/>
                  </a:lnTo>
                  <a:lnTo>
                    <a:pt x="38" y="102"/>
                  </a:lnTo>
                  <a:lnTo>
                    <a:pt x="46" y="102"/>
                  </a:lnTo>
                  <a:lnTo>
                    <a:pt x="41" y="119"/>
                  </a:lnTo>
                  <a:lnTo>
                    <a:pt x="56" y="134"/>
                  </a:lnTo>
                  <a:lnTo>
                    <a:pt x="55" y="147"/>
                  </a:lnTo>
                  <a:lnTo>
                    <a:pt x="62" y="152"/>
                  </a:lnTo>
                  <a:lnTo>
                    <a:pt x="69" y="146"/>
                  </a:lnTo>
                  <a:lnTo>
                    <a:pt x="68" y="163"/>
                  </a:lnTo>
                  <a:lnTo>
                    <a:pt x="75" y="170"/>
                  </a:lnTo>
                  <a:lnTo>
                    <a:pt x="85" y="163"/>
                  </a:lnTo>
                  <a:lnTo>
                    <a:pt x="86" y="150"/>
                  </a:lnTo>
                  <a:lnTo>
                    <a:pt x="66" y="120"/>
                  </a:lnTo>
                  <a:lnTo>
                    <a:pt x="73" y="113"/>
                  </a:lnTo>
                  <a:lnTo>
                    <a:pt x="55" y="84"/>
                  </a:lnTo>
                  <a:lnTo>
                    <a:pt x="84" y="61"/>
                  </a:lnTo>
                  <a:lnTo>
                    <a:pt x="96" y="61"/>
                  </a:lnTo>
                  <a:lnTo>
                    <a:pt x="89" y="54"/>
                  </a:lnTo>
                  <a:lnTo>
                    <a:pt x="38" y="71"/>
                  </a:lnTo>
                  <a:lnTo>
                    <a:pt x="37" y="61"/>
                  </a:lnTo>
                  <a:lnTo>
                    <a:pt x="27" y="56"/>
                  </a:lnTo>
                  <a:lnTo>
                    <a:pt x="27" y="43"/>
                  </a:lnTo>
                  <a:lnTo>
                    <a:pt x="39" y="30"/>
                  </a:lnTo>
                  <a:lnTo>
                    <a:pt x="96" y="33"/>
                  </a:lnTo>
                  <a:lnTo>
                    <a:pt x="118" y="27"/>
                  </a:lnTo>
                  <a:lnTo>
                    <a:pt x="131" y="6"/>
                  </a:lnTo>
                  <a:lnTo>
                    <a:pt x="126" y="0"/>
                  </a:lnTo>
                  <a:lnTo>
                    <a:pt x="104" y="20"/>
                  </a:lnTo>
                  <a:lnTo>
                    <a:pt x="84" y="21"/>
                  </a:lnTo>
                  <a:lnTo>
                    <a:pt x="43" y="10"/>
                  </a:lnTo>
                  <a:lnTo>
                    <a:pt x="38" y="23"/>
                  </a:lnTo>
                  <a:lnTo>
                    <a:pt x="24" y="23"/>
                  </a:lnTo>
                  <a:lnTo>
                    <a:pt x="22" y="54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90" name="Freeform 24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496042" y="3525219"/>
              <a:ext cx="32135" cy="100447"/>
            </a:xfrm>
            <a:custGeom>
              <a:avLst/>
              <a:gdLst>
                <a:gd name="T0" fmla="*/ 0 w 26"/>
                <a:gd name="T1" fmla="*/ 24 h 70"/>
                <a:gd name="T2" fmla="*/ 4 w 26"/>
                <a:gd name="T3" fmla="*/ 53 h 70"/>
                <a:gd name="T4" fmla="*/ 4 w 26"/>
                <a:gd name="T5" fmla="*/ 70 h 70"/>
                <a:gd name="T6" fmla="*/ 4 w 26"/>
                <a:gd name="T7" fmla="*/ 49 h 70"/>
                <a:gd name="T8" fmla="*/ 4 w 26"/>
                <a:gd name="T9" fmla="*/ 39 h 70"/>
                <a:gd name="T10" fmla="*/ 4 w 26"/>
                <a:gd name="T11" fmla="*/ 39 h 70"/>
                <a:gd name="T12" fmla="*/ 4 w 26"/>
                <a:gd name="T13" fmla="*/ 30 h 70"/>
                <a:gd name="T14" fmla="*/ 4 w 26"/>
                <a:gd name="T15" fmla="*/ 24 h 70"/>
                <a:gd name="T16" fmla="*/ 4 w 26"/>
                <a:gd name="T17" fmla="*/ 13 h 70"/>
                <a:gd name="T18" fmla="*/ 4 w 26"/>
                <a:gd name="T19" fmla="*/ 19 h 70"/>
                <a:gd name="T20" fmla="*/ 4 w 26"/>
                <a:gd name="T21" fmla="*/ 0 h 70"/>
                <a:gd name="T22" fmla="*/ 4 w 26"/>
                <a:gd name="T23" fmla="*/ 6 h 70"/>
                <a:gd name="T24" fmla="*/ 0 w 26"/>
                <a:gd name="T25" fmla="*/ 24 h 7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70"/>
                <a:gd name="T41" fmla="*/ 26 w 26"/>
                <a:gd name="T42" fmla="*/ 70 h 7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70">
                  <a:moveTo>
                    <a:pt x="0" y="24"/>
                  </a:moveTo>
                  <a:lnTo>
                    <a:pt x="4" y="53"/>
                  </a:lnTo>
                  <a:lnTo>
                    <a:pt x="21" y="70"/>
                  </a:lnTo>
                  <a:lnTo>
                    <a:pt x="12" y="49"/>
                  </a:lnTo>
                  <a:lnTo>
                    <a:pt x="13" y="39"/>
                  </a:lnTo>
                  <a:lnTo>
                    <a:pt x="23" y="39"/>
                  </a:lnTo>
                  <a:lnTo>
                    <a:pt x="18" y="30"/>
                  </a:lnTo>
                  <a:lnTo>
                    <a:pt x="26" y="24"/>
                  </a:lnTo>
                  <a:lnTo>
                    <a:pt x="26" y="13"/>
                  </a:lnTo>
                  <a:lnTo>
                    <a:pt x="14" y="19"/>
                  </a:lnTo>
                  <a:lnTo>
                    <a:pt x="12" y="0"/>
                  </a:lnTo>
                  <a:lnTo>
                    <a:pt x="4" y="6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91" name="Freeform 248"/>
            <p:cNvSpPr>
              <a:spLocks noChangeAspect="1"/>
            </p:cNvSpPr>
            <p:nvPr/>
          </p:nvSpPr>
          <p:spPr bwMode="auto">
            <a:xfrm>
              <a:off x="7458318" y="3700284"/>
              <a:ext cx="32135" cy="22959"/>
            </a:xfrm>
            <a:custGeom>
              <a:avLst/>
              <a:gdLst>
                <a:gd name="T0" fmla="*/ 0 w 25"/>
                <a:gd name="T1" fmla="*/ 3 h 16"/>
                <a:gd name="T2" fmla="*/ 6 w 25"/>
                <a:gd name="T3" fmla="*/ 16 h 16"/>
                <a:gd name="T4" fmla="*/ 6 w 25"/>
                <a:gd name="T5" fmla="*/ 10 h 16"/>
                <a:gd name="T6" fmla="*/ 6 w 25"/>
                <a:gd name="T7" fmla="*/ 0 h 16"/>
                <a:gd name="T8" fmla="*/ 0 w 25"/>
                <a:gd name="T9" fmla="*/ 3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16"/>
                <a:gd name="T17" fmla="*/ 25 w 25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16">
                  <a:moveTo>
                    <a:pt x="0" y="3"/>
                  </a:moveTo>
                  <a:lnTo>
                    <a:pt x="17" y="16"/>
                  </a:lnTo>
                  <a:lnTo>
                    <a:pt x="25" y="10"/>
                  </a:lnTo>
                  <a:lnTo>
                    <a:pt x="21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92" name="Freeform 249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508616" y="3687369"/>
              <a:ext cx="71256" cy="35874"/>
            </a:xfrm>
            <a:custGeom>
              <a:avLst/>
              <a:gdLst>
                <a:gd name="T0" fmla="*/ 0 w 56"/>
                <a:gd name="T1" fmla="*/ 9 h 25"/>
                <a:gd name="T2" fmla="*/ 5 w 56"/>
                <a:gd name="T3" fmla="*/ 25 h 25"/>
                <a:gd name="T4" fmla="*/ 5 w 56"/>
                <a:gd name="T5" fmla="*/ 6 h 25"/>
                <a:gd name="T6" fmla="*/ 5 w 56"/>
                <a:gd name="T7" fmla="*/ 0 h 25"/>
                <a:gd name="T8" fmla="*/ 5 w 56"/>
                <a:gd name="T9" fmla="*/ 2 h 25"/>
                <a:gd name="T10" fmla="*/ 0 w 56"/>
                <a:gd name="T11" fmla="*/ 9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6"/>
                <a:gd name="T19" fmla="*/ 0 h 25"/>
                <a:gd name="T20" fmla="*/ 56 w 56"/>
                <a:gd name="T21" fmla="*/ 25 h 2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6" h="25">
                  <a:moveTo>
                    <a:pt x="0" y="9"/>
                  </a:moveTo>
                  <a:lnTo>
                    <a:pt x="56" y="25"/>
                  </a:lnTo>
                  <a:lnTo>
                    <a:pt x="50" y="6"/>
                  </a:lnTo>
                  <a:lnTo>
                    <a:pt x="32" y="0"/>
                  </a:lnTo>
                  <a:lnTo>
                    <a:pt x="6" y="2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93" name="Freeform 250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271097" y="2987108"/>
              <a:ext cx="122951" cy="183675"/>
            </a:xfrm>
            <a:custGeom>
              <a:avLst/>
              <a:gdLst>
                <a:gd name="T0" fmla="*/ 0 w 97"/>
                <a:gd name="T1" fmla="*/ 51 h 128"/>
                <a:gd name="T2" fmla="*/ 5 w 97"/>
                <a:gd name="T3" fmla="*/ 86 h 128"/>
                <a:gd name="T4" fmla="*/ 5 w 97"/>
                <a:gd name="T5" fmla="*/ 92 h 128"/>
                <a:gd name="T6" fmla="*/ 5 w 97"/>
                <a:gd name="T7" fmla="*/ 109 h 128"/>
                <a:gd name="T8" fmla="*/ 5 w 97"/>
                <a:gd name="T9" fmla="*/ 113 h 128"/>
                <a:gd name="T10" fmla="*/ 5 w 97"/>
                <a:gd name="T11" fmla="*/ 105 h 128"/>
                <a:gd name="T12" fmla="*/ 5 w 97"/>
                <a:gd name="T13" fmla="*/ 124 h 128"/>
                <a:gd name="T14" fmla="*/ 5 w 97"/>
                <a:gd name="T15" fmla="*/ 107 h 128"/>
                <a:gd name="T16" fmla="*/ 5 w 97"/>
                <a:gd name="T17" fmla="*/ 126 h 128"/>
                <a:gd name="T18" fmla="*/ 5 w 97"/>
                <a:gd name="T19" fmla="*/ 128 h 128"/>
                <a:gd name="T20" fmla="*/ 5 w 97"/>
                <a:gd name="T21" fmla="*/ 110 h 128"/>
                <a:gd name="T22" fmla="*/ 5 w 97"/>
                <a:gd name="T23" fmla="*/ 109 h 128"/>
                <a:gd name="T24" fmla="*/ 5 w 97"/>
                <a:gd name="T25" fmla="*/ 99 h 128"/>
                <a:gd name="T26" fmla="*/ 5 w 97"/>
                <a:gd name="T27" fmla="*/ 105 h 128"/>
                <a:gd name="T28" fmla="*/ 5 w 97"/>
                <a:gd name="T29" fmla="*/ 101 h 128"/>
                <a:gd name="T30" fmla="*/ 5 w 97"/>
                <a:gd name="T31" fmla="*/ 74 h 128"/>
                <a:gd name="T32" fmla="*/ 5 w 97"/>
                <a:gd name="T33" fmla="*/ 33 h 128"/>
                <a:gd name="T34" fmla="*/ 5 w 97"/>
                <a:gd name="T35" fmla="*/ 24 h 128"/>
                <a:gd name="T36" fmla="*/ 5 w 97"/>
                <a:gd name="T37" fmla="*/ 0 h 128"/>
                <a:gd name="T38" fmla="*/ 5 w 97"/>
                <a:gd name="T39" fmla="*/ 6 h 128"/>
                <a:gd name="T40" fmla="*/ 5 w 97"/>
                <a:gd name="T41" fmla="*/ 0 h 128"/>
                <a:gd name="T42" fmla="*/ 5 w 97"/>
                <a:gd name="T43" fmla="*/ 56 h 128"/>
                <a:gd name="T44" fmla="*/ 0 w 97"/>
                <a:gd name="T45" fmla="*/ 51 h 1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7"/>
                <a:gd name="T70" fmla="*/ 0 h 128"/>
                <a:gd name="T71" fmla="*/ 97 w 97"/>
                <a:gd name="T72" fmla="*/ 128 h 12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7" h="128">
                  <a:moveTo>
                    <a:pt x="0" y="51"/>
                  </a:moveTo>
                  <a:lnTo>
                    <a:pt x="10" y="86"/>
                  </a:lnTo>
                  <a:lnTo>
                    <a:pt x="29" y="92"/>
                  </a:lnTo>
                  <a:lnTo>
                    <a:pt x="25" y="109"/>
                  </a:lnTo>
                  <a:lnTo>
                    <a:pt x="37" y="113"/>
                  </a:lnTo>
                  <a:lnTo>
                    <a:pt x="46" y="105"/>
                  </a:lnTo>
                  <a:lnTo>
                    <a:pt x="67" y="124"/>
                  </a:lnTo>
                  <a:lnTo>
                    <a:pt x="63" y="107"/>
                  </a:lnTo>
                  <a:lnTo>
                    <a:pt x="82" y="126"/>
                  </a:lnTo>
                  <a:lnTo>
                    <a:pt x="97" y="128"/>
                  </a:lnTo>
                  <a:lnTo>
                    <a:pt x="84" y="110"/>
                  </a:lnTo>
                  <a:lnTo>
                    <a:pt x="90" y="109"/>
                  </a:lnTo>
                  <a:lnTo>
                    <a:pt x="68" y="99"/>
                  </a:lnTo>
                  <a:lnTo>
                    <a:pt x="56" y="105"/>
                  </a:lnTo>
                  <a:lnTo>
                    <a:pt x="48" y="101"/>
                  </a:lnTo>
                  <a:lnTo>
                    <a:pt x="35" y="74"/>
                  </a:lnTo>
                  <a:lnTo>
                    <a:pt x="51" y="33"/>
                  </a:lnTo>
                  <a:lnTo>
                    <a:pt x="44" y="24"/>
                  </a:lnTo>
                  <a:lnTo>
                    <a:pt x="43" y="0"/>
                  </a:lnTo>
                  <a:lnTo>
                    <a:pt x="35" y="6"/>
                  </a:lnTo>
                  <a:lnTo>
                    <a:pt x="10" y="0"/>
                  </a:lnTo>
                  <a:lnTo>
                    <a:pt x="11" y="56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94" name="Freeform 251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296246" y="3153563"/>
              <a:ext cx="32135" cy="41614"/>
            </a:xfrm>
            <a:custGeom>
              <a:avLst/>
              <a:gdLst>
                <a:gd name="T0" fmla="*/ 0 w 25"/>
                <a:gd name="T1" fmla="*/ 0 h 29"/>
                <a:gd name="T2" fmla="*/ 6 w 25"/>
                <a:gd name="T3" fmla="*/ 29 h 29"/>
                <a:gd name="T4" fmla="*/ 6 w 25"/>
                <a:gd name="T5" fmla="*/ 21 h 29"/>
                <a:gd name="T6" fmla="*/ 6 w 25"/>
                <a:gd name="T7" fmla="*/ 10 h 29"/>
                <a:gd name="T8" fmla="*/ 6 w 25"/>
                <a:gd name="T9" fmla="*/ 3 h 29"/>
                <a:gd name="T10" fmla="*/ 0 w 25"/>
                <a:gd name="T11" fmla="*/ 0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5"/>
                <a:gd name="T19" fmla="*/ 0 h 29"/>
                <a:gd name="T20" fmla="*/ 25 w 25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5" h="29">
                  <a:moveTo>
                    <a:pt x="0" y="0"/>
                  </a:moveTo>
                  <a:lnTo>
                    <a:pt x="18" y="29"/>
                  </a:lnTo>
                  <a:lnTo>
                    <a:pt x="25" y="21"/>
                  </a:lnTo>
                  <a:lnTo>
                    <a:pt x="24" y="10"/>
                  </a:lnTo>
                  <a:lnTo>
                    <a:pt x="17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95" name="Freeform 252"/>
            <p:cNvSpPr>
              <a:spLocks noChangeAspect="1"/>
            </p:cNvSpPr>
            <p:nvPr/>
          </p:nvSpPr>
          <p:spPr bwMode="auto">
            <a:xfrm>
              <a:off x="7398240" y="3183698"/>
              <a:ext cx="36326" cy="78923"/>
            </a:xfrm>
            <a:custGeom>
              <a:avLst/>
              <a:gdLst>
                <a:gd name="T0" fmla="*/ 0 w 29"/>
                <a:gd name="T1" fmla="*/ 0 h 55"/>
                <a:gd name="T2" fmla="*/ 4 w 29"/>
                <a:gd name="T3" fmla="*/ 18 h 55"/>
                <a:gd name="T4" fmla="*/ 4 w 29"/>
                <a:gd name="T5" fmla="*/ 28 h 55"/>
                <a:gd name="T6" fmla="*/ 4 w 29"/>
                <a:gd name="T7" fmla="*/ 25 h 55"/>
                <a:gd name="T8" fmla="*/ 4 w 29"/>
                <a:gd name="T9" fmla="*/ 39 h 55"/>
                <a:gd name="T10" fmla="*/ 4 w 29"/>
                <a:gd name="T11" fmla="*/ 40 h 55"/>
                <a:gd name="T12" fmla="*/ 4 w 29"/>
                <a:gd name="T13" fmla="*/ 55 h 55"/>
                <a:gd name="T14" fmla="*/ 4 w 29"/>
                <a:gd name="T15" fmla="*/ 52 h 55"/>
                <a:gd name="T16" fmla="*/ 4 w 29"/>
                <a:gd name="T17" fmla="*/ 33 h 55"/>
                <a:gd name="T18" fmla="*/ 4 w 29"/>
                <a:gd name="T19" fmla="*/ 33 h 55"/>
                <a:gd name="T20" fmla="*/ 4 w 29"/>
                <a:gd name="T21" fmla="*/ 10 h 55"/>
                <a:gd name="T22" fmla="*/ 4 w 29"/>
                <a:gd name="T23" fmla="*/ 0 h 55"/>
                <a:gd name="T24" fmla="*/ 0 w 29"/>
                <a:gd name="T25" fmla="*/ 0 h 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55"/>
                <a:gd name="T41" fmla="*/ 29 w 29"/>
                <a:gd name="T42" fmla="*/ 55 h 5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55">
                  <a:moveTo>
                    <a:pt x="0" y="0"/>
                  </a:moveTo>
                  <a:lnTo>
                    <a:pt x="15" y="18"/>
                  </a:lnTo>
                  <a:lnTo>
                    <a:pt x="12" y="28"/>
                  </a:lnTo>
                  <a:lnTo>
                    <a:pt x="4" y="25"/>
                  </a:lnTo>
                  <a:lnTo>
                    <a:pt x="5" y="39"/>
                  </a:lnTo>
                  <a:lnTo>
                    <a:pt x="12" y="40"/>
                  </a:lnTo>
                  <a:lnTo>
                    <a:pt x="14" y="55"/>
                  </a:lnTo>
                  <a:lnTo>
                    <a:pt x="23" y="52"/>
                  </a:lnTo>
                  <a:lnTo>
                    <a:pt x="16" y="33"/>
                  </a:lnTo>
                  <a:lnTo>
                    <a:pt x="29" y="33"/>
                  </a:lnTo>
                  <a:lnTo>
                    <a:pt x="24" y="10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96" name="Freeform 253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352133" y="3275535"/>
              <a:ext cx="115965" cy="136321"/>
            </a:xfrm>
            <a:custGeom>
              <a:avLst/>
              <a:gdLst>
                <a:gd name="T0" fmla="*/ 0 w 92"/>
                <a:gd name="T1" fmla="*/ 58 h 95"/>
                <a:gd name="T2" fmla="*/ 2 w 92"/>
                <a:gd name="T3" fmla="*/ 67 h 95"/>
                <a:gd name="T4" fmla="*/ 5 w 92"/>
                <a:gd name="T5" fmla="*/ 48 h 95"/>
                <a:gd name="T6" fmla="*/ 5 w 92"/>
                <a:gd name="T7" fmla="*/ 45 h 95"/>
                <a:gd name="T8" fmla="*/ 5 w 92"/>
                <a:gd name="T9" fmla="*/ 55 h 95"/>
                <a:gd name="T10" fmla="*/ 5 w 92"/>
                <a:gd name="T11" fmla="*/ 45 h 95"/>
                <a:gd name="T12" fmla="*/ 5 w 92"/>
                <a:gd name="T13" fmla="*/ 49 h 95"/>
                <a:gd name="T14" fmla="*/ 5 w 92"/>
                <a:gd name="T15" fmla="*/ 55 h 95"/>
                <a:gd name="T16" fmla="*/ 5 w 92"/>
                <a:gd name="T17" fmla="*/ 75 h 95"/>
                <a:gd name="T18" fmla="*/ 5 w 92"/>
                <a:gd name="T19" fmla="*/ 95 h 95"/>
                <a:gd name="T20" fmla="*/ 5 w 92"/>
                <a:gd name="T21" fmla="*/ 84 h 95"/>
                <a:gd name="T22" fmla="*/ 5 w 92"/>
                <a:gd name="T23" fmla="*/ 68 h 95"/>
                <a:gd name="T24" fmla="*/ 5 w 92"/>
                <a:gd name="T25" fmla="*/ 63 h 95"/>
                <a:gd name="T26" fmla="*/ 5 w 92"/>
                <a:gd name="T27" fmla="*/ 55 h 95"/>
                <a:gd name="T28" fmla="*/ 5 w 92"/>
                <a:gd name="T29" fmla="*/ 78 h 95"/>
                <a:gd name="T30" fmla="*/ 5 w 92"/>
                <a:gd name="T31" fmla="*/ 57 h 95"/>
                <a:gd name="T32" fmla="*/ 5 w 92"/>
                <a:gd name="T33" fmla="*/ 21 h 95"/>
                <a:gd name="T34" fmla="*/ 5 w 92"/>
                <a:gd name="T35" fmla="*/ 0 h 95"/>
                <a:gd name="T36" fmla="*/ 5 w 92"/>
                <a:gd name="T37" fmla="*/ 15 h 95"/>
                <a:gd name="T38" fmla="*/ 5 w 92"/>
                <a:gd name="T39" fmla="*/ 21 h 95"/>
                <a:gd name="T40" fmla="*/ 5 w 92"/>
                <a:gd name="T41" fmla="*/ 17 h 95"/>
                <a:gd name="T42" fmla="*/ 5 w 92"/>
                <a:gd name="T43" fmla="*/ 28 h 95"/>
                <a:gd name="T44" fmla="*/ 5 w 92"/>
                <a:gd name="T45" fmla="*/ 38 h 95"/>
                <a:gd name="T46" fmla="*/ 5 w 92"/>
                <a:gd name="T47" fmla="*/ 28 h 95"/>
                <a:gd name="T48" fmla="*/ 5 w 92"/>
                <a:gd name="T49" fmla="*/ 28 h 95"/>
                <a:gd name="T50" fmla="*/ 1 w 92"/>
                <a:gd name="T51" fmla="*/ 45 h 95"/>
                <a:gd name="T52" fmla="*/ 0 w 92"/>
                <a:gd name="T53" fmla="*/ 58 h 9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92"/>
                <a:gd name="T82" fmla="*/ 0 h 95"/>
                <a:gd name="T83" fmla="*/ 92 w 92"/>
                <a:gd name="T84" fmla="*/ 95 h 9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92" h="95">
                  <a:moveTo>
                    <a:pt x="0" y="58"/>
                  </a:moveTo>
                  <a:lnTo>
                    <a:pt x="2" y="67"/>
                  </a:lnTo>
                  <a:lnTo>
                    <a:pt x="9" y="48"/>
                  </a:lnTo>
                  <a:lnTo>
                    <a:pt x="15" y="45"/>
                  </a:lnTo>
                  <a:lnTo>
                    <a:pt x="18" y="55"/>
                  </a:lnTo>
                  <a:lnTo>
                    <a:pt x="31" y="45"/>
                  </a:lnTo>
                  <a:lnTo>
                    <a:pt x="40" y="49"/>
                  </a:lnTo>
                  <a:lnTo>
                    <a:pt x="44" y="55"/>
                  </a:lnTo>
                  <a:lnTo>
                    <a:pt x="41" y="75"/>
                  </a:lnTo>
                  <a:lnTo>
                    <a:pt x="71" y="95"/>
                  </a:lnTo>
                  <a:lnTo>
                    <a:pt x="77" y="84"/>
                  </a:lnTo>
                  <a:lnTo>
                    <a:pt x="67" y="68"/>
                  </a:lnTo>
                  <a:lnTo>
                    <a:pt x="71" y="63"/>
                  </a:lnTo>
                  <a:lnTo>
                    <a:pt x="75" y="55"/>
                  </a:lnTo>
                  <a:lnTo>
                    <a:pt x="86" y="78"/>
                  </a:lnTo>
                  <a:lnTo>
                    <a:pt x="92" y="57"/>
                  </a:lnTo>
                  <a:lnTo>
                    <a:pt x="84" y="21"/>
                  </a:lnTo>
                  <a:lnTo>
                    <a:pt x="65" y="0"/>
                  </a:lnTo>
                  <a:lnTo>
                    <a:pt x="67" y="15"/>
                  </a:lnTo>
                  <a:lnTo>
                    <a:pt x="61" y="21"/>
                  </a:lnTo>
                  <a:lnTo>
                    <a:pt x="54" y="17"/>
                  </a:lnTo>
                  <a:lnTo>
                    <a:pt x="52" y="28"/>
                  </a:lnTo>
                  <a:lnTo>
                    <a:pt x="37" y="38"/>
                  </a:lnTo>
                  <a:lnTo>
                    <a:pt x="35" y="28"/>
                  </a:lnTo>
                  <a:lnTo>
                    <a:pt x="20" y="28"/>
                  </a:lnTo>
                  <a:lnTo>
                    <a:pt x="1" y="45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97" name="Freeform 254"/>
            <p:cNvSpPr>
              <a:spLocks noChangeAspect="1"/>
            </p:cNvSpPr>
            <p:nvPr/>
          </p:nvSpPr>
          <p:spPr bwMode="auto">
            <a:xfrm>
              <a:off x="7547737" y="3968622"/>
              <a:ext cx="36326" cy="22959"/>
            </a:xfrm>
            <a:custGeom>
              <a:avLst/>
              <a:gdLst>
                <a:gd name="T0" fmla="*/ 0 w 29"/>
                <a:gd name="T1" fmla="*/ 12 h 16"/>
                <a:gd name="T2" fmla="*/ 4 w 29"/>
                <a:gd name="T3" fmla="*/ 16 h 16"/>
                <a:gd name="T4" fmla="*/ 4 w 29"/>
                <a:gd name="T5" fmla="*/ 6 h 16"/>
                <a:gd name="T6" fmla="*/ 4 w 29"/>
                <a:gd name="T7" fmla="*/ 0 h 16"/>
                <a:gd name="T8" fmla="*/ 4 w 29"/>
                <a:gd name="T9" fmla="*/ 0 h 16"/>
                <a:gd name="T10" fmla="*/ 0 w 29"/>
                <a:gd name="T11" fmla="*/ 12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16"/>
                <a:gd name="T20" fmla="*/ 29 w 29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16">
                  <a:moveTo>
                    <a:pt x="0" y="12"/>
                  </a:moveTo>
                  <a:lnTo>
                    <a:pt x="18" y="16"/>
                  </a:lnTo>
                  <a:lnTo>
                    <a:pt x="29" y="6"/>
                  </a:lnTo>
                  <a:lnTo>
                    <a:pt x="26" y="0"/>
                  </a:lnTo>
                  <a:lnTo>
                    <a:pt x="7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98" name="Freeform 255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382871" y="3871044"/>
              <a:ext cx="100596" cy="66008"/>
            </a:xfrm>
            <a:custGeom>
              <a:avLst/>
              <a:gdLst>
                <a:gd name="T0" fmla="*/ 0 w 79"/>
                <a:gd name="T1" fmla="*/ 46 h 46"/>
                <a:gd name="T2" fmla="*/ 5 w 79"/>
                <a:gd name="T3" fmla="*/ 40 h 46"/>
                <a:gd name="T4" fmla="*/ 5 w 79"/>
                <a:gd name="T5" fmla="*/ 21 h 46"/>
                <a:gd name="T6" fmla="*/ 5 w 79"/>
                <a:gd name="T7" fmla="*/ 0 h 46"/>
                <a:gd name="T8" fmla="*/ 5 w 79"/>
                <a:gd name="T9" fmla="*/ 7 h 46"/>
                <a:gd name="T10" fmla="*/ 5 w 79"/>
                <a:gd name="T11" fmla="*/ 23 h 46"/>
                <a:gd name="T12" fmla="*/ 0 w 79"/>
                <a:gd name="T13" fmla="*/ 46 h 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9"/>
                <a:gd name="T22" fmla="*/ 0 h 46"/>
                <a:gd name="T23" fmla="*/ 79 w 79"/>
                <a:gd name="T24" fmla="*/ 46 h 4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9" h="46">
                  <a:moveTo>
                    <a:pt x="0" y="46"/>
                  </a:moveTo>
                  <a:lnTo>
                    <a:pt x="21" y="40"/>
                  </a:lnTo>
                  <a:lnTo>
                    <a:pt x="40" y="21"/>
                  </a:lnTo>
                  <a:lnTo>
                    <a:pt x="79" y="0"/>
                  </a:lnTo>
                  <a:lnTo>
                    <a:pt x="35" y="7"/>
                  </a:lnTo>
                  <a:lnTo>
                    <a:pt x="10" y="23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699" name="Freeform 256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6705243" y="2913925"/>
              <a:ext cx="206781" cy="490757"/>
            </a:xfrm>
            <a:custGeom>
              <a:avLst/>
              <a:gdLst>
                <a:gd name="T0" fmla="*/ 5 w 164"/>
                <a:gd name="T1" fmla="*/ 321 h 342"/>
                <a:gd name="T2" fmla="*/ 5 w 164"/>
                <a:gd name="T3" fmla="*/ 327 h 342"/>
                <a:gd name="T4" fmla="*/ 5 w 164"/>
                <a:gd name="T5" fmla="*/ 340 h 342"/>
                <a:gd name="T6" fmla="*/ 5 w 164"/>
                <a:gd name="T7" fmla="*/ 342 h 342"/>
                <a:gd name="T8" fmla="*/ 5 w 164"/>
                <a:gd name="T9" fmla="*/ 335 h 342"/>
                <a:gd name="T10" fmla="*/ 5 w 164"/>
                <a:gd name="T11" fmla="*/ 319 h 342"/>
                <a:gd name="T12" fmla="*/ 5 w 164"/>
                <a:gd name="T13" fmla="*/ 310 h 342"/>
                <a:gd name="T14" fmla="*/ 5 w 164"/>
                <a:gd name="T15" fmla="*/ 263 h 342"/>
                <a:gd name="T16" fmla="*/ 5 w 164"/>
                <a:gd name="T17" fmla="*/ 264 h 342"/>
                <a:gd name="T18" fmla="*/ 5 w 164"/>
                <a:gd name="T19" fmla="*/ 240 h 342"/>
                <a:gd name="T20" fmla="*/ 5 w 164"/>
                <a:gd name="T21" fmla="*/ 198 h 342"/>
                <a:gd name="T22" fmla="*/ 5 w 164"/>
                <a:gd name="T23" fmla="*/ 170 h 342"/>
                <a:gd name="T24" fmla="*/ 5 w 164"/>
                <a:gd name="T25" fmla="*/ 170 h 342"/>
                <a:gd name="T26" fmla="*/ 5 w 164"/>
                <a:gd name="T27" fmla="*/ 183 h 342"/>
                <a:gd name="T28" fmla="*/ 5 w 164"/>
                <a:gd name="T29" fmla="*/ 184 h 342"/>
                <a:gd name="T30" fmla="*/ 5 w 164"/>
                <a:gd name="T31" fmla="*/ 198 h 342"/>
                <a:gd name="T32" fmla="*/ 5 w 164"/>
                <a:gd name="T33" fmla="*/ 172 h 342"/>
                <a:gd name="T34" fmla="*/ 5 w 164"/>
                <a:gd name="T35" fmla="*/ 149 h 342"/>
                <a:gd name="T36" fmla="*/ 5 w 164"/>
                <a:gd name="T37" fmla="*/ 148 h 342"/>
                <a:gd name="T38" fmla="*/ 5 w 164"/>
                <a:gd name="T39" fmla="*/ 121 h 342"/>
                <a:gd name="T40" fmla="*/ 5 w 164"/>
                <a:gd name="T41" fmla="*/ 101 h 342"/>
                <a:gd name="T42" fmla="*/ 5 w 164"/>
                <a:gd name="T43" fmla="*/ 72 h 342"/>
                <a:gd name="T44" fmla="*/ 5 w 164"/>
                <a:gd name="T45" fmla="*/ 53 h 342"/>
                <a:gd name="T46" fmla="*/ 5 w 164"/>
                <a:gd name="T47" fmla="*/ 64 h 342"/>
                <a:gd name="T48" fmla="*/ 5 w 164"/>
                <a:gd name="T49" fmla="*/ 57 h 342"/>
                <a:gd name="T50" fmla="*/ 5 w 164"/>
                <a:gd name="T51" fmla="*/ 68 h 342"/>
                <a:gd name="T52" fmla="*/ 5 w 164"/>
                <a:gd name="T53" fmla="*/ 29 h 342"/>
                <a:gd name="T54" fmla="*/ 5 w 164"/>
                <a:gd name="T55" fmla="*/ 22 h 342"/>
                <a:gd name="T56" fmla="*/ 5 w 164"/>
                <a:gd name="T57" fmla="*/ 0 h 342"/>
                <a:gd name="T58" fmla="*/ 3 w 164"/>
                <a:gd name="T59" fmla="*/ 33 h 342"/>
                <a:gd name="T60" fmla="*/ 0 w 164"/>
                <a:gd name="T61" fmla="*/ 58 h 342"/>
                <a:gd name="T62" fmla="*/ 5 w 164"/>
                <a:gd name="T63" fmla="*/ 104 h 342"/>
                <a:gd name="T64" fmla="*/ 5 w 164"/>
                <a:gd name="T65" fmla="*/ 135 h 342"/>
                <a:gd name="T66" fmla="*/ 5 w 164"/>
                <a:gd name="T67" fmla="*/ 153 h 342"/>
                <a:gd name="T68" fmla="*/ 5 w 164"/>
                <a:gd name="T69" fmla="*/ 203 h 342"/>
                <a:gd name="T70" fmla="*/ 5 w 164"/>
                <a:gd name="T71" fmla="*/ 253 h 342"/>
                <a:gd name="T72" fmla="*/ 5 w 164"/>
                <a:gd name="T73" fmla="*/ 269 h 342"/>
                <a:gd name="T74" fmla="*/ 5 w 164"/>
                <a:gd name="T75" fmla="*/ 290 h 342"/>
                <a:gd name="T76" fmla="*/ 5 w 164"/>
                <a:gd name="T77" fmla="*/ 286 h 342"/>
                <a:gd name="T78" fmla="*/ 5 w 164"/>
                <a:gd name="T79" fmla="*/ 329 h 342"/>
                <a:gd name="T80" fmla="*/ 5 w 164"/>
                <a:gd name="T81" fmla="*/ 321 h 34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64"/>
                <a:gd name="T124" fmla="*/ 0 h 342"/>
                <a:gd name="T125" fmla="*/ 164 w 164"/>
                <a:gd name="T126" fmla="*/ 342 h 34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64" h="342">
                  <a:moveTo>
                    <a:pt x="76" y="321"/>
                  </a:moveTo>
                  <a:lnTo>
                    <a:pt x="90" y="327"/>
                  </a:lnTo>
                  <a:lnTo>
                    <a:pt x="94" y="340"/>
                  </a:lnTo>
                  <a:lnTo>
                    <a:pt x="101" y="342"/>
                  </a:lnTo>
                  <a:lnTo>
                    <a:pt x="115" y="335"/>
                  </a:lnTo>
                  <a:lnTo>
                    <a:pt x="100" y="319"/>
                  </a:lnTo>
                  <a:lnTo>
                    <a:pt x="81" y="310"/>
                  </a:lnTo>
                  <a:lnTo>
                    <a:pt x="62" y="263"/>
                  </a:lnTo>
                  <a:lnTo>
                    <a:pt x="53" y="264"/>
                  </a:lnTo>
                  <a:lnTo>
                    <a:pt x="48" y="240"/>
                  </a:lnTo>
                  <a:lnTo>
                    <a:pt x="60" y="198"/>
                  </a:lnTo>
                  <a:lnTo>
                    <a:pt x="59" y="170"/>
                  </a:lnTo>
                  <a:lnTo>
                    <a:pt x="77" y="170"/>
                  </a:lnTo>
                  <a:lnTo>
                    <a:pt x="78" y="183"/>
                  </a:lnTo>
                  <a:lnTo>
                    <a:pt x="98" y="184"/>
                  </a:lnTo>
                  <a:lnTo>
                    <a:pt x="113" y="198"/>
                  </a:lnTo>
                  <a:lnTo>
                    <a:pt x="106" y="172"/>
                  </a:lnTo>
                  <a:lnTo>
                    <a:pt x="117" y="149"/>
                  </a:lnTo>
                  <a:lnTo>
                    <a:pt x="162" y="148"/>
                  </a:lnTo>
                  <a:lnTo>
                    <a:pt x="164" y="121"/>
                  </a:lnTo>
                  <a:lnTo>
                    <a:pt x="147" y="101"/>
                  </a:lnTo>
                  <a:lnTo>
                    <a:pt x="139" y="72"/>
                  </a:lnTo>
                  <a:lnTo>
                    <a:pt x="117" y="53"/>
                  </a:lnTo>
                  <a:lnTo>
                    <a:pt x="100" y="64"/>
                  </a:lnTo>
                  <a:lnTo>
                    <a:pt x="88" y="57"/>
                  </a:lnTo>
                  <a:lnTo>
                    <a:pt x="67" y="68"/>
                  </a:lnTo>
                  <a:lnTo>
                    <a:pt x="66" y="29"/>
                  </a:lnTo>
                  <a:lnTo>
                    <a:pt x="54" y="22"/>
                  </a:lnTo>
                  <a:lnTo>
                    <a:pt x="44" y="0"/>
                  </a:lnTo>
                  <a:lnTo>
                    <a:pt x="3" y="33"/>
                  </a:lnTo>
                  <a:lnTo>
                    <a:pt x="0" y="58"/>
                  </a:lnTo>
                  <a:lnTo>
                    <a:pt x="30" y="104"/>
                  </a:lnTo>
                  <a:lnTo>
                    <a:pt x="20" y="135"/>
                  </a:lnTo>
                  <a:lnTo>
                    <a:pt x="37" y="153"/>
                  </a:lnTo>
                  <a:lnTo>
                    <a:pt x="55" y="203"/>
                  </a:lnTo>
                  <a:lnTo>
                    <a:pt x="33" y="253"/>
                  </a:lnTo>
                  <a:lnTo>
                    <a:pt x="31" y="269"/>
                  </a:lnTo>
                  <a:lnTo>
                    <a:pt x="36" y="290"/>
                  </a:lnTo>
                  <a:lnTo>
                    <a:pt x="41" y="286"/>
                  </a:lnTo>
                  <a:lnTo>
                    <a:pt x="76" y="329"/>
                  </a:lnTo>
                  <a:lnTo>
                    <a:pt x="76" y="321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00" name="Freeform 25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6803045" y="2833567"/>
              <a:ext cx="209576" cy="477842"/>
            </a:xfrm>
            <a:custGeom>
              <a:avLst/>
              <a:gdLst>
                <a:gd name="T0" fmla="*/ 0 w 166"/>
                <a:gd name="T1" fmla="*/ 17 h 333"/>
                <a:gd name="T2" fmla="*/ 5 w 166"/>
                <a:gd name="T3" fmla="*/ 51 h 333"/>
                <a:gd name="T4" fmla="*/ 5 w 166"/>
                <a:gd name="T5" fmla="*/ 56 h 333"/>
                <a:gd name="T6" fmla="*/ 5 w 166"/>
                <a:gd name="T7" fmla="*/ 78 h 333"/>
                <a:gd name="T8" fmla="*/ 5 w 166"/>
                <a:gd name="T9" fmla="*/ 85 h 333"/>
                <a:gd name="T10" fmla="*/ 5 w 166"/>
                <a:gd name="T11" fmla="*/ 135 h 333"/>
                <a:gd name="T12" fmla="*/ 5 w 166"/>
                <a:gd name="T13" fmla="*/ 146 h 333"/>
                <a:gd name="T14" fmla="*/ 5 w 166"/>
                <a:gd name="T15" fmla="*/ 172 h 333"/>
                <a:gd name="T16" fmla="*/ 5 w 166"/>
                <a:gd name="T17" fmla="*/ 194 h 333"/>
                <a:gd name="T18" fmla="*/ 5 w 166"/>
                <a:gd name="T19" fmla="*/ 246 h 333"/>
                <a:gd name="T20" fmla="*/ 5 w 166"/>
                <a:gd name="T21" fmla="*/ 263 h 333"/>
                <a:gd name="T22" fmla="*/ 5 w 166"/>
                <a:gd name="T23" fmla="*/ 279 h 333"/>
                <a:gd name="T24" fmla="*/ 5 w 166"/>
                <a:gd name="T25" fmla="*/ 292 h 333"/>
                <a:gd name="T26" fmla="*/ 5 w 166"/>
                <a:gd name="T27" fmla="*/ 300 h 333"/>
                <a:gd name="T28" fmla="*/ 5 w 166"/>
                <a:gd name="T29" fmla="*/ 333 h 333"/>
                <a:gd name="T30" fmla="*/ 5 w 166"/>
                <a:gd name="T31" fmla="*/ 316 h 333"/>
                <a:gd name="T32" fmla="*/ 5 w 166"/>
                <a:gd name="T33" fmla="*/ 292 h 333"/>
                <a:gd name="T34" fmla="*/ 5 w 166"/>
                <a:gd name="T35" fmla="*/ 292 h 333"/>
                <a:gd name="T36" fmla="*/ 5 w 166"/>
                <a:gd name="T37" fmla="*/ 269 h 333"/>
                <a:gd name="T38" fmla="*/ 5 w 166"/>
                <a:gd name="T39" fmla="*/ 216 h 333"/>
                <a:gd name="T40" fmla="*/ 5 w 166"/>
                <a:gd name="T41" fmla="*/ 180 h 333"/>
                <a:gd name="T42" fmla="*/ 5 w 166"/>
                <a:gd name="T43" fmla="*/ 108 h 333"/>
                <a:gd name="T44" fmla="*/ 5 w 166"/>
                <a:gd name="T45" fmla="*/ 95 h 333"/>
                <a:gd name="T46" fmla="*/ 5 w 166"/>
                <a:gd name="T47" fmla="*/ 74 h 333"/>
                <a:gd name="T48" fmla="*/ 5 w 166"/>
                <a:gd name="T49" fmla="*/ 49 h 333"/>
                <a:gd name="T50" fmla="*/ 5 w 166"/>
                <a:gd name="T51" fmla="*/ 40 h 333"/>
                <a:gd name="T52" fmla="*/ 5 w 166"/>
                <a:gd name="T53" fmla="*/ 29 h 333"/>
                <a:gd name="T54" fmla="*/ 5 w 166"/>
                <a:gd name="T55" fmla="*/ 9 h 333"/>
                <a:gd name="T56" fmla="*/ 5 w 166"/>
                <a:gd name="T57" fmla="*/ 0 h 333"/>
                <a:gd name="T58" fmla="*/ 5 w 166"/>
                <a:gd name="T59" fmla="*/ 13 h 333"/>
                <a:gd name="T60" fmla="*/ 3 w 166"/>
                <a:gd name="T61" fmla="*/ 10 h 333"/>
                <a:gd name="T62" fmla="*/ 0 w 166"/>
                <a:gd name="T63" fmla="*/ 17 h 3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6"/>
                <a:gd name="T97" fmla="*/ 0 h 333"/>
                <a:gd name="T98" fmla="*/ 166 w 166"/>
                <a:gd name="T99" fmla="*/ 333 h 33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6" h="333">
                  <a:moveTo>
                    <a:pt x="0" y="17"/>
                  </a:moveTo>
                  <a:lnTo>
                    <a:pt x="24" y="51"/>
                  </a:lnTo>
                  <a:lnTo>
                    <a:pt x="47" y="56"/>
                  </a:lnTo>
                  <a:lnTo>
                    <a:pt x="56" y="78"/>
                  </a:lnTo>
                  <a:lnTo>
                    <a:pt x="44" y="85"/>
                  </a:lnTo>
                  <a:lnTo>
                    <a:pt x="98" y="135"/>
                  </a:lnTo>
                  <a:lnTo>
                    <a:pt x="102" y="146"/>
                  </a:lnTo>
                  <a:lnTo>
                    <a:pt x="123" y="172"/>
                  </a:lnTo>
                  <a:lnTo>
                    <a:pt x="127" y="194"/>
                  </a:lnTo>
                  <a:lnTo>
                    <a:pt x="135" y="246"/>
                  </a:lnTo>
                  <a:lnTo>
                    <a:pt x="104" y="263"/>
                  </a:lnTo>
                  <a:lnTo>
                    <a:pt x="101" y="279"/>
                  </a:lnTo>
                  <a:lnTo>
                    <a:pt x="78" y="292"/>
                  </a:lnTo>
                  <a:lnTo>
                    <a:pt x="87" y="300"/>
                  </a:lnTo>
                  <a:lnTo>
                    <a:pt x="90" y="333"/>
                  </a:lnTo>
                  <a:lnTo>
                    <a:pt x="115" y="316"/>
                  </a:lnTo>
                  <a:lnTo>
                    <a:pt x="121" y="292"/>
                  </a:lnTo>
                  <a:lnTo>
                    <a:pt x="132" y="292"/>
                  </a:lnTo>
                  <a:lnTo>
                    <a:pt x="166" y="269"/>
                  </a:lnTo>
                  <a:lnTo>
                    <a:pt x="166" y="216"/>
                  </a:lnTo>
                  <a:lnTo>
                    <a:pt x="154" y="180"/>
                  </a:lnTo>
                  <a:lnTo>
                    <a:pt x="86" y="108"/>
                  </a:lnTo>
                  <a:lnTo>
                    <a:pt x="78" y="95"/>
                  </a:lnTo>
                  <a:lnTo>
                    <a:pt x="81" y="74"/>
                  </a:lnTo>
                  <a:lnTo>
                    <a:pt x="101" y="49"/>
                  </a:lnTo>
                  <a:lnTo>
                    <a:pt x="118" y="40"/>
                  </a:lnTo>
                  <a:lnTo>
                    <a:pt x="92" y="29"/>
                  </a:lnTo>
                  <a:lnTo>
                    <a:pt x="85" y="9"/>
                  </a:lnTo>
                  <a:lnTo>
                    <a:pt x="62" y="0"/>
                  </a:lnTo>
                  <a:lnTo>
                    <a:pt x="17" y="13"/>
                  </a:lnTo>
                  <a:lnTo>
                    <a:pt x="3" y="1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01" name="Freeform 258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025195" y="3452035"/>
              <a:ext cx="258477" cy="278383"/>
            </a:xfrm>
            <a:custGeom>
              <a:avLst/>
              <a:gdLst>
                <a:gd name="T0" fmla="*/ 5 w 205"/>
                <a:gd name="T1" fmla="*/ 0 h 194"/>
                <a:gd name="T2" fmla="*/ 5 w 205"/>
                <a:gd name="T3" fmla="*/ 3 h 194"/>
                <a:gd name="T4" fmla="*/ 5 w 205"/>
                <a:gd name="T5" fmla="*/ 62 h 194"/>
                <a:gd name="T6" fmla="*/ 5 w 205"/>
                <a:gd name="T7" fmla="*/ 73 h 194"/>
                <a:gd name="T8" fmla="*/ 5 w 205"/>
                <a:gd name="T9" fmla="*/ 65 h 194"/>
                <a:gd name="T10" fmla="*/ 5 w 205"/>
                <a:gd name="T11" fmla="*/ 77 h 194"/>
                <a:gd name="T12" fmla="*/ 5 w 205"/>
                <a:gd name="T13" fmla="*/ 77 h 194"/>
                <a:gd name="T14" fmla="*/ 5 w 205"/>
                <a:gd name="T15" fmla="*/ 54 h 194"/>
                <a:gd name="T16" fmla="*/ 0 w 205"/>
                <a:gd name="T17" fmla="*/ 77 h 194"/>
                <a:gd name="T18" fmla="*/ 5 w 205"/>
                <a:gd name="T19" fmla="*/ 110 h 194"/>
                <a:gd name="T20" fmla="*/ 5 w 205"/>
                <a:gd name="T21" fmla="*/ 130 h 194"/>
                <a:gd name="T22" fmla="*/ 5 w 205"/>
                <a:gd name="T23" fmla="*/ 167 h 194"/>
                <a:gd name="T24" fmla="*/ 5 w 205"/>
                <a:gd name="T25" fmla="*/ 164 h 194"/>
                <a:gd name="T26" fmla="*/ 5 w 205"/>
                <a:gd name="T27" fmla="*/ 180 h 194"/>
                <a:gd name="T28" fmla="*/ 5 w 205"/>
                <a:gd name="T29" fmla="*/ 171 h 194"/>
                <a:gd name="T30" fmla="*/ 5 w 205"/>
                <a:gd name="T31" fmla="*/ 179 h 194"/>
                <a:gd name="T32" fmla="*/ 5 w 205"/>
                <a:gd name="T33" fmla="*/ 177 h 194"/>
                <a:gd name="T34" fmla="*/ 5 w 205"/>
                <a:gd name="T35" fmla="*/ 194 h 194"/>
                <a:gd name="T36" fmla="*/ 5 w 205"/>
                <a:gd name="T37" fmla="*/ 190 h 194"/>
                <a:gd name="T38" fmla="*/ 5 w 205"/>
                <a:gd name="T39" fmla="*/ 179 h 194"/>
                <a:gd name="T40" fmla="*/ 5 w 205"/>
                <a:gd name="T41" fmla="*/ 153 h 194"/>
                <a:gd name="T42" fmla="*/ 5 w 205"/>
                <a:gd name="T43" fmla="*/ 140 h 194"/>
                <a:gd name="T44" fmla="*/ 5 w 205"/>
                <a:gd name="T45" fmla="*/ 123 h 194"/>
                <a:gd name="T46" fmla="*/ 5 w 205"/>
                <a:gd name="T47" fmla="*/ 81 h 194"/>
                <a:gd name="T48" fmla="*/ 5 w 205"/>
                <a:gd name="T49" fmla="*/ 80 h 194"/>
                <a:gd name="T50" fmla="*/ 5 w 205"/>
                <a:gd name="T51" fmla="*/ 54 h 194"/>
                <a:gd name="T52" fmla="*/ 5 w 205"/>
                <a:gd name="T53" fmla="*/ 47 h 194"/>
                <a:gd name="T54" fmla="*/ 5 w 205"/>
                <a:gd name="T55" fmla="*/ 25 h 194"/>
                <a:gd name="T56" fmla="*/ 5 w 205"/>
                <a:gd name="T57" fmla="*/ 5 h 194"/>
                <a:gd name="T58" fmla="*/ 5 w 205"/>
                <a:gd name="T59" fmla="*/ 0 h 1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5"/>
                <a:gd name="T91" fmla="*/ 0 h 194"/>
                <a:gd name="T92" fmla="*/ 205 w 205"/>
                <a:gd name="T93" fmla="*/ 194 h 19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5" h="194">
                  <a:moveTo>
                    <a:pt x="149" y="0"/>
                  </a:moveTo>
                  <a:lnTo>
                    <a:pt x="136" y="3"/>
                  </a:lnTo>
                  <a:lnTo>
                    <a:pt x="115" y="62"/>
                  </a:lnTo>
                  <a:lnTo>
                    <a:pt x="95" y="73"/>
                  </a:lnTo>
                  <a:lnTo>
                    <a:pt x="67" y="65"/>
                  </a:lnTo>
                  <a:lnTo>
                    <a:pt x="58" y="77"/>
                  </a:lnTo>
                  <a:lnTo>
                    <a:pt x="28" y="77"/>
                  </a:lnTo>
                  <a:lnTo>
                    <a:pt x="12" y="54"/>
                  </a:lnTo>
                  <a:lnTo>
                    <a:pt x="0" y="77"/>
                  </a:lnTo>
                  <a:lnTo>
                    <a:pt x="7" y="110"/>
                  </a:lnTo>
                  <a:lnTo>
                    <a:pt x="23" y="130"/>
                  </a:lnTo>
                  <a:lnTo>
                    <a:pt x="28" y="167"/>
                  </a:lnTo>
                  <a:lnTo>
                    <a:pt x="57" y="164"/>
                  </a:lnTo>
                  <a:lnTo>
                    <a:pt x="58" y="180"/>
                  </a:lnTo>
                  <a:lnTo>
                    <a:pt x="86" y="171"/>
                  </a:lnTo>
                  <a:lnTo>
                    <a:pt x="98" y="179"/>
                  </a:lnTo>
                  <a:lnTo>
                    <a:pt x="108" y="177"/>
                  </a:lnTo>
                  <a:lnTo>
                    <a:pt x="116" y="194"/>
                  </a:lnTo>
                  <a:lnTo>
                    <a:pt x="125" y="190"/>
                  </a:lnTo>
                  <a:lnTo>
                    <a:pt x="146" y="179"/>
                  </a:lnTo>
                  <a:lnTo>
                    <a:pt x="156" y="153"/>
                  </a:lnTo>
                  <a:lnTo>
                    <a:pt x="150" y="140"/>
                  </a:lnTo>
                  <a:lnTo>
                    <a:pt x="167" y="123"/>
                  </a:lnTo>
                  <a:lnTo>
                    <a:pt x="182" y="81"/>
                  </a:lnTo>
                  <a:lnTo>
                    <a:pt x="205" y="80"/>
                  </a:lnTo>
                  <a:lnTo>
                    <a:pt x="181" y="54"/>
                  </a:lnTo>
                  <a:lnTo>
                    <a:pt x="186" y="47"/>
                  </a:lnTo>
                  <a:lnTo>
                    <a:pt x="172" y="25"/>
                  </a:lnTo>
                  <a:lnTo>
                    <a:pt x="175" y="5"/>
                  </a:lnTo>
                  <a:lnTo>
                    <a:pt x="149" y="0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02" name="Freeform 259"/>
            <p:cNvSpPr>
              <a:spLocks noChangeAspect="1"/>
            </p:cNvSpPr>
            <p:nvPr/>
          </p:nvSpPr>
          <p:spPr bwMode="auto">
            <a:xfrm>
              <a:off x="6888272" y="3528088"/>
              <a:ext cx="16766" cy="21524"/>
            </a:xfrm>
            <a:custGeom>
              <a:avLst/>
              <a:gdLst>
                <a:gd name="T0" fmla="*/ 12 w 12"/>
                <a:gd name="T1" fmla="*/ 15 h 15"/>
                <a:gd name="T2" fmla="*/ 0 w 12"/>
                <a:gd name="T3" fmla="*/ 15 h 15"/>
                <a:gd name="T4" fmla="*/ 3 w 12"/>
                <a:gd name="T5" fmla="*/ 0 h 15"/>
                <a:gd name="T6" fmla="*/ 12 w 12"/>
                <a:gd name="T7" fmla="*/ 15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5"/>
                <a:gd name="T14" fmla="*/ 12 w 12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5">
                  <a:moveTo>
                    <a:pt x="12" y="15"/>
                  </a:moveTo>
                  <a:lnTo>
                    <a:pt x="0" y="15"/>
                  </a:lnTo>
                  <a:lnTo>
                    <a:pt x="3" y="0"/>
                  </a:lnTo>
                  <a:lnTo>
                    <a:pt x="12" y="1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03" name="Freeform 260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8222571" y="4734891"/>
              <a:ext cx="157880" cy="231029"/>
            </a:xfrm>
            <a:custGeom>
              <a:avLst/>
              <a:gdLst>
                <a:gd name="T0" fmla="*/ 5 w 125"/>
                <a:gd name="T1" fmla="*/ 110 h 161"/>
                <a:gd name="T2" fmla="*/ 5 w 125"/>
                <a:gd name="T3" fmla="*/ 126 h 161"/>
                <a:gd name="T4" fmla="*/ 0 w 125"/>
                <a:gd name="T5" fmla="*/ 156 h 161"/>
                <a:gd name="T6" fmla="*/ 4 w 125"/>
                <a:gd name="T7" fmla="*/ 161 h 161"/>
                <a:gd name="T8" fmla="*/ 5 w 125"/>
                <a:gd name="T9" fmla="*/ 157 h 161"/>
                <a:gd name="T10" fmla="*/ 5 w 125"/>
                <a:gd name="T11" fmla="*/ 109 h 161"/>
                <a:gd name="T12" fmla="*/ 5 w 125"/>
                <a:gd name="T13" fmla="*/ 93 h 161"/>
                <a:gd name="T14" fmla="*/ 5 w 125"/>
                <a:gd name="T15" fmla="*/ 72 h 161"/>
                <a:gd name="T16" fmla="*/ 5 w 125"/>
                <a:gd name="T17" fmla="*/ 69 h 161"/>
                <a:gd name="T18" fmla="*/ 5 w 125"/>
                <a:gd name="T19" fmla="*/ 80 h 161"/>
                <a:gd name="T20" fmla="*/ 5 w 125"/>
                <a:gd name="T21" fmla="*/ 72 h 161"/>
                <a:gd name="T22" fmla="*/ 5 w 125"/>
                <a:gd name="T23" fmla="*/ 52 h 161"/>
                <a:gd name="T24" fmla="*/ 5 w 125"/>
                <a:gd name="T25" fmla="*/ 47 h 161"/>
                <a:gd name="T26" fmla="*/ 5 w 125"/>
                <a:gd name="T27" fmla="*/ 63 h 161"/>
                <a:gd name="T28" fmla="*/ 5 w 125"/>
                <a:gd name="T29" fmla="*/ 57 h 161"/>
                <a:gd name="T30" fmla="*/ 5 w 125"/>
                <a:gd name="T31" fmla="*/ 20 h 161"/>
                <a:gd name="T32" fmla="*/ 5 w 125"/>
                <a:gd name="T33" fmla="*/ 13 h 161"/>
                <a:gd name="T34" fmla="*/ 5 w 125"/>
                <a:gd name="T35" fmla="*/ 10 h 161"/>
                <a:gd name="T36" fmla="*/ 5 w 125"/>
                <a:gd name="T37" fmla="*/ 0 h 161"/>
                <a:gd name="T38" fmla="*/ 5 w 125"/>
                <a:gd name="T39" fmla="*/ 55 h 161"/>
                <a:gd name="T40" fmla="*/ 5 w 125"/>
                <a:gd name="T41" fmla="*/ 57 h 161"/>
                <a:gd name="T42" fmla="*/ 5 w 125"/>
                <a:gd name="T43" fmla="*/ 100 h 161"/>
                <a:gd name="T44" fmla="*/ 5 w 125"/>
                <a:gd name="T45" fmla="*/ 110 h 16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5"/>
                <a:gd name="T70" fmla="*/ 0 h 161"/>
                <a:gd name="T71" fmla="*/ 125 w 125"/>
                <a:gd name="T72" fmla="*/ 161 h 16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5" h="161">
                  <a:moveTo>
                    <a:pt x="11" y="110"/>
                  </a:moveTo>
                  <a:lnTo>
                    <a:pt x="26" y="126"/>
                  </a:lnTo>
                  <a:lnTo>
                    <a:pt x="0" y="156"/>
                  </a:lnTo>
                  <a:lnTo>
                    <a:pt x="4" y="161"/>
                  </a:lnTo>
                  <a:lnTo>
                    <a:pt x="17" y="157"/>
                  </a:lnTo>
                  <a:lnTo>
                    <a:pt x="75" y="109"/>
                  </a:lnTo>
                  <a:lnTo>
                    <a:pt x="108" y="93"/>
                  </a:lnTo>
                  <a:lnTo>
                    <a:pt x="125" y="72"/>
                  </a:lnTo>
                  <a:lnTo>
                    <a:pt x="119" y="69"/>
                  </a:lnTo>
                  <a:lnTo>
                    <a:pt x="96" y="80"/>
                  </a:lnTo>
                  <a:lnTo>
                    <a:pt x="79" y="72"/>
                  </a:lnTo>
                  <a:lnTo>
                    <a:pt x="88" y="52"/>
                  </a:lnTo>
                  <a:lnTo>
                    <a:pt x="82" y="47"/>
                  </a:lnTo>
                  <a:lnTo>
                    <a:pt x="74" y="63"/>
                  </a:lnTo>
                  <a:lnTo>
                    <a:pt x="67" y="57"/>
                  </a:lnTo>
                  <a:lnTo>
                    <a:pt x="77" y="20"/>
                  </a:lnTo>
                  <a:lnTo>
                    <a:pt x="74" y="13"/>
                  </a:lnTo>
                  <a:lnTo>
                    <a:pt x="63" y="10"/>
                  </a:lnTo>
                  <a:lnTo>
                    <a:pt x="60" y="0"/>
                  </a:lnTo>
                  <a:lnTo>
                    <a:pt x="58" y="55"/>
                  </a:lnTo>
                  <a:lnTo>
                    <a:pt x="67" y="57"/>
                  </a:lnTo>
                  <a:lnTo>
                    <a:pt x="33" y="100"/>
                  </a:lnTo>
                  <a:lnTo>
                    <a:pt x="11" y="11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04" name="Freeform 261"/>
            <p:cNvSpPr>
              <a:spLocks noChangeAspect="1"/>
            </p:cNvSpPr>
            <p:nvPr/>
          </p:nvSpPr>
          <p:spPr bwMode="auto">
            <a:xfrm>
              <a:off x="7537957" y="4772200"/>
              <a:ext cx="36326" cy="15785"/>
            </a:xfrm>
            <a:custGeom>
              <a:avLst/>
              <a:gdLst>
                <a:gd name="T0" fmla="*/ 0 w 29"/>
                <a:gd name="T1" fmla="*/ 6 h 11"/>
                <a:gd name="T2" fmla="*/ 3 w 29"/>
                <a:gd name="T3" fmla="*/ 11 h 11"/>
                <a:gd name="T4" fmla="*/ 4 w 29"/>
                <a:gd name="T5" fmla="*/ 11 h 11"/>
                <a:gd name="T6" fmla="*/ 4 w 29"/>
                <a:gd name="T7" fmla="*/ 6 h 11"/>
                <a:gd name="T8" fmla="*/ 4 w 29"/>
                <a:gd name="T9" fmla="*/ 0 h 11"/>
                <a:gd name="T10" fmla="*/ 0 w 29"/>
                <a:gd name="T11" fmla="*/ 6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11"/>
                <a:gd name="T20" fmla="*/ 29 w 29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11">
                  <a:moveTo>
                    <a:pt x="0" y="6"/>
                  </a:moveTo>
                  <a:lnTo>
                    <a:pt x="3" y="11"/>
                  </a:lnTo>
                  <a:lnTo>
                    <a:pt x="17" y="11"/>
                  </a:lnTo>
                  <a:lnTo>
                    <a:pt x="29" y="6"/>
                  </a:lnTo>
                  <a:lnTo>
                    <a:pt x="2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DDDDDD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05" name="Freeform 262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642745" y="4935786"/>
              <a:ext cx="97802" cy="96142"/>
            </a:xfrm>
            <a:custGeom>
              <a:avLst/>
              <a:gdLst>
                <a:gd name="T0" fmla="*/ 4 w 79"/>
                <a:gd name="T1" fmla="*/ 0 h 67"/>
                <a:gd name="T2" fmla="*/ 0 w 79"/>
                <a:gd name="T3" fmla="*/ 52 h 67"/>
                <a:gd name="T4" fmla="*/ 4 w 79"/>
                <a:gd name="T5" fmla="*/ 65 h 67"/>
                <a:gd name="T6" fmla="*/ 4 w 79"/>
                <a:gd name="T7" fmla="*/ 67 h 67"/>
                <a:gd name="T8" fmla="*/ 4 w 79"/>
                <a:gd name="T9" fmla="*/ 50 h 67"/>
                <a:gd name="T10" fmla="*/ 4 w 79"/>
                <a:gd name="T11" fmla="*/ 56 h 67"/>
                <a:gd name="T12" fmla="*/ 4 w 79"/>
                <a:gd name="T13" fmla="*/ 9 h 67"/>
                <a:gd name="T14" fmla="*/ 4 w 79"/>
                <a:gd name="T15" fmla="*/ 12 h 67"/>
                <a:gd name="T16" fmla="*/ 4 w 79"/>
                <a:gd name="T17" fmla="*/ 0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9"/>
                <a:gd name="T28" fmla="*/ 0 h 67"/>
                <a:gd name="T29" fmla="*/ 79 w 79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9" h="67">
                  <a:moveTo>
                    <a:pt x="18" y="0"/>
                  </a:moveTo>
                  <a:lnTo>
                    <a:pt x="0" y="52"/>
                  </a:lnTo>
                  <a:lnTo>
                    <a:pt x="6" y="65"/>
                  </a:lnTo>
                  <a:lnTo>
                    <a:pt x="16" y="67"/>
                  </a:lnTo>
                  <a:lnTo>
                    <a:pt x="39" y="50"/>
                  </a:lnTo>
                  <a:lnTo>
                    <a:pt x="42" y="56"/>
                  </a:lnTo>
                  <a:lnTo>
                    <a:pt x="79" y="9"/>
                  </a:lnTo>
                  <a:lnTo>
                    <a:pt x="36" y="1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06" name="Freeform 263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039167" y="3952837"/>
              <a:ext cx="1008757" cy="934160"/>
            </a:xfrm>
            <a:custGeom>
              <a:avLst/>
              <a:gdLst>
                <a:gd name="T0" fmla="*/ 5 w 800"/>
                <a:gd name="T1" fmla="*/ 555 h 651"/>
                <a:gd name="T2" fmla="*/ 5 w 800"/>
                <a:gd name="T3" fmla="*/ 531 h 651"/>
                <a:gd name="T4" fmla="*/ 5 w 800"/>
                <a:gd name="T5" fmla="*/ 511 h 651"/>
                <a:gd name="T6" fmla="*/ 5 w 800"/>
                <a:gd name="T7" fmla="*/ 478 h 651"/>
                <a:gd name="T8" fmla="*/ 5 w 800"/>
                <a:gd name="T9" fmla="*/ 511 h 651"/>
                <a:gd name="T10" fmla="*/ 5 w 800"/>
                <a:gd name="T11" fmla="*/ 555 h 651"/>
                <a:gd name="T12" fmla="*/ 5 w 800"/>
                <a:gd name="T13" fmla="*/ 524 h 651"/>
                <a:gd name="T14" fmla="*/ 5 w 800"/>
                <a:gd name="T15" fmla="*/ 560 h 651"/>
                <a:gd name="T16" fmla="*/ 5 w 800"/>
                <a:gd name="T17" fmla="*/ 555 h 651"/>
                <a:gd name="T18" fmla="*/ 5 w 800"/>
                <a:gd name="T19" fmla="*/ 570 h 651"/>
                <a:gd name="T20" fmla="*/ 5 w 800"/>
                <a:gd name="T21" fmla="*/ 597 h 651"/>
                <a:gd name="T22" fmla="*/ 5 w 800"/>
                <a:gd name="T23" fmla="*/ 634 h 651"/>
                <a:gd name="T24" fmla="*/ 5 w 800"/>
                <a:gd name="T25" fmla="*/ 644 h 651"/>
                <a:gd name="T26" fmla="*/ 5 w 800"/>
                <a:gd name="T27" fmla="*/ 634 h 651"/>
                <a:gd name="T28" fmla="*/ 5 w 800"/>
                <a:gd name="T29" fmla="*/ 640 h 651"/>
                <a:gd name="T30" fmla="*/ 5 w 800"/>
                <a:gd name="T31" fmla="*/ 623 h 651"/>
                <a:gd name="T32" fmla="*/ 5 w 800"/>
                <a:gd name="T33" fmla="*/ 574 h 651"/>
                <a:gd name="T34" fmla="*/ 5 w 800"/>
                <a:gd name="T35" fmla="*/ 411 h 651"/>
                <a:gd name="T36" fmla="*/ 5 w 800"/>
                <a:gd name="T37" fmla="*/ 306 h 651"/>
                <a:gd name="T38" fmla="*/ 5 w 800"/>
                <a:gd name="T39" fmla="*/ 273 h 651"/>
                <a:gd name="T40" fmla="*/ 5 w 800"/>
                <a:gd name="T41" fmla="*/ 267 h 651"/>
                <a:gd name="T42" fmla="*/ 5 w 800"/>
                <a:gd name="T43" fmla="*/ 198 h 651"/>
                <a:gd name="T44" fmla="*/ 5 w 800"/>
                <a:gd name="T45" fmla="*/ 149 h 651"/>
                <a:gd name="T46" fmla="*/ 5 w 800"/>
                <a:gd name="T47" fmla="*/ 96 h 651"/>
                <a:gd name="T48" fmla="*/ 5 w 800"/>
                <a:gd name="T49" fmla="*/ 80 h 651"/>
                <a:gd name="T50" fmla="*/ 5 w 800"/>
                <a:gd name="T51" fmla="*/ 0 h 651"/>
                <a:gd name="T52" fmla="*/ 5 w 800"/>
                <a:gd name="T53" fmla="*/ 120 h 651"/>
                <a:gd name="T54" fmla="*/ 5 w 800"/>
                <a:gd name="T55" fmla="*/ 159 h 651"/>
                <a:gd name="T56" fmla="*/ 5 w 800"/>
                <a:gd name="T57" fmla="*/ 142 h 651"/>
                <a:gd name="T58" fmla="*/ 5 w 800"/>
                <a:gd name="T59" fmla="*/ 119 h 651"/>
                <a:gd name="T60" fmla="*/ 5 w 800"/>
                <a:gd name="T61" fmla="*/ 96 h 651"/>
                <a:gd name="T62" fmla="*/ 5 w 800"/>
                <a:gd name="T63" fmla="*/ 57 h 651"/>
                <a:gd name="T64" fmla="*/ 5 w 800"/>
                <a:gd name="T65" fmla="*/ 36 h 651"/>
                <a:gd name="T66" fmla="*/ 5 w 800"/>
                <a:gd name="T67" fmla="*/ 40 h 651"/>
                <a:gd name="T68" fmla="*/ 5 w 800"/>
                <a:gd name="T69" fmla="*/ 34 h 651"/>
                <a:gd name="T70" fmla="*/ 5 w 800"/>
                <a:gd name="T71" fmla="*/ 23 h 651"/>
                <a:gd name="T72" fmla="*/ 5 w 800"/>
                <a:gd name="T73" fmla="*/ 34 h 651"/>
                <a:gd name="T74" fmla="*/ 5 w 800"/>
                <a:gd name="T75" fmla="*/ 63 h 651"/>
                <a:gd name="T76" fmla="*/ 5 w 800"/>
                <a:gd name="T77" fmla="*/ 84 h 651"/>
                <a:gd name="T78" fmla="*/ 5 w 800"/>
                <a:gd name="T79" fmla="*/ 102 h 651"/>
                <a:gd name="T80" fmla="*/ 5 w 800"/>
                <a:gd name="T81" fmla="*/ 102 h 651"/>
                <a:gd name="T82" fmla="*/ 5 w 800"/>
                <a:gd name="T83" fmla="*/ 73 h 651"/>
                <a:gd name="T84" fmla="*/ 5 w 800"/>
                <a:gd name="T85" fmla="*/ 89 h 651"/>
                <a:gd name="T86" fmla="*/ 5 w 800"/>
                <a:gd name="T87" fmla="*/ 129 h 651"/>
                <a:gd name="T88" fmla="*/ 5 w 800"/>
                <a:gd name="T89" fmla="*/ 135 h 651"/>
                <a:gd name="T90" fmla="*/ 5 w 800"/>
                <a:gd name="T91" fmla="*/ 153 h 651"/>
                <a:gd name="T92" fmla="*/ 5 w 800"/>
                <a:gd name="T93" fmla="*/ 152 h 651"/>
                <a:gd name="T94" fmla="*/ 5 w 800"/>
                <a:gd name="T95" fmla="*/ 205 h 651"/>
                <a:gd name="T96" fmla="*/ 5 w 800"/>
                <a:gd name="T97" fmla="*/ 266 h 651"/>
                <a:gd name="T98" fmla="*/ 5 w 800"/>
                <a:gd name="T99" fmla="*/ 273 h 651"/>
                <a:gd name="T100" fmla="*/ 5 w 800"/>
                <a:gd name="T101" fmla="*/ 302 h 651"/>
                <a:gd name="T102" fmla="*/ 5 w 800"/>
                <a:gd name="T103" fmla="*/ 342 h 651"/>
                <a:gd name="T104" fmla="*/ 5 w 800"/>
                <a:gd name="T105" fmla="*/ 353 h 651"/>
                <a:gd name="T106" fmla="*/ 5 w 800"/>
                <a:gd name="T107" fmla="*/ 481 h 651"/>
                <a:gd name="T108" fmla="*/ 5 w 800"/>
                <a:gd name="T109" fmla="*/ 524 h 65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00"/>
                <a:gd name="T166" fmla="*/ 0 h 651"/>
                <a:gd name="T167" fmla="*/ 800 w 800"/>
                <a:gd name="T168" fmla="*/ 651 h 65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00" h="651">
                  <a:moveTo>
                    <a:pt x="0" y="537"/>
                  </a:moveTo>
                  <a:lnTo>
                    <a:pt x="23" y="555"/>
                  </a:lnTo>
                  <a:lnTo>
                    <a:pt x="55" y="555"/>
                  </a:lnTo>
                  <a:lnTo>
                    <a:pt x="97" y="531"/>
                  </a:lnTo>
                  <a:lnTo>
                    <a:pt x="165" y="529"/>
                  </a:lnTo>
                  <a:lnTo>
                    <a:pt x="181" y="511"/>
                  </a:lnTo>
                  <a:lnTo>
                    <a:pt x="229" y="491"/>
                  </a:lnTo>
                  <a:lnTo>
                    <a:pt x="332" y="478"/>
                  </a:lnTo>
                  <a:lnTo>
                    <a:pt x="382" y="501"/>
                  </a:lnTo>
                  <a:lnTo>
                    <a:pt x="376" y="511"/>
                  </a:lnTo>
                  <a:lnTo>
                    <a:pt x="386" y="515"/>
                  </a:lnTo>
                  <a:lnTo>
                    <a:pt x="386" y="555"/>
                  </a:lnTo>
                  <a:lnTo>
                    <a:pt x="449" y="507"/>
                  </a:lnTo>
                  <a:lnTo>
                    <a:pt x="444" y="524"/>
                  </a:lnTo>
                  <a:lnTo>
                    <a:pt x="409" y="561"/>
                  </a:lnTo>
                  <a:lnTo>
                    <a:pt x="424" y="560"/>
                  </a:lnTo>
                  <a:lnTo>
                    <a:pt x="440" y="538"/>
                  </a:lnTo>
                  <a:lnTo>
                    <a:pt x="443" y="555"/>
                  </a:lnTo>
                  <a:lnTo>
                    <a:pt x="428" y="571"/>
                  </a:lnTo>
                  <a:lnTo>
                    <a:pt x="441" y="570"/>
                  </a:lnTo>
                  <a:lnTo>
                    <a:pt x="447" y="577"/>
                  </a:lnTo>
                  <a:lnTo>
                    <a:pt x="450" y="597"/>
                  </a:lnTo>
                  <a:lnTo>
                    <a:pt x="444" y="609"/>
                  </a:lnTo>
                  <a:lnTo>
                    <a:pt x="460" y="634"/>
                  </a:lnTo>
                  <a:lnTo>
                    <a:pt x="483" y="634"/>
                  </a:lnTo>
                  <a:lnTo>
                    <a:pt x="494" y="644"/>
                  </a:lnTo>
                  <a:lnTo>
                    <a:pt x="531" y="621"/>
                  </a:lnTo>
                  <a:lnTo>
                    <a:pt x="528" y="634"/>
                  </a:lnTo>
                  <a:lnTo>
                    <a:pt x="538" y="631"/>
                  </a:lnTo>
                  <a:lnTo>
                    <a:pt x="535" y="640"/>
                  </a:lnTo>
                  <a:lnTo>
                    <a:pt x="545" y="651"/>
                  </a:lnTo>
                  <a:lnTo>
                    <a:pt x="593" y="623"/>
                  </a:lnTo>
                  <a:lnTo>
                    <a:pt x="629" y="615"/>
                  </a:lnTo>
                  <a:lnTo>
                    <a:pt x="657" y="574"/>
                  </a:lnTo>
                  <a:lnTo>
                    <a:pt x="760" y="464"/>
                  </a:lnTo>
                  <a:lnTo>
                    <a:pt x="792" y="411"/>
                  </a:lnTo>
                  <a:lnTo>
                    <a:pt x="800" y="352"/>
                  </a:lnTo>
                  <a:lnTo>
                    <a:pt x="787" y="306"/>
                  </a:lnTo>
                  <a:lnTo>
                    <a:pt x="774" y="293"/>
                  </a:lnTo>
                  <a:lnTo>
                    <a:pt x="775" y="273"/>
                  </a:lnTo>
                  <a:lnTo>
                    <a:pt x="762" y="259"/>
                  </a:lnTo>
                  <a:lnTo>
                    <a:pt x="756" y="267"/>
                  </a:lnTo>
                  <a:lnTo>
                    <a:pt x="747" y="220"/>
                  </a:lnTo>
                  <a:lnTo>
                    <a:pt x="725" y="198"/>
                  </a:lnTo>
                  <a:lnTo>
                    <a:pt x="706" y="188"/>
                  </a:lnTo>
                  <a:lnTo>
                    <a:pt x="706" y="149"/>
                  </a:lnTo>
                  <a:lnTo>
                    <a:pt x="697" y="132"/>
                  </a:lnTo>
                  <a:lnTo>
                    <a:pt x="701" y="96"/>
                  </a:lnTo>
                  <a:lnTo>
                    <a:pt x="688" y="80"/>
                  </a:lnTo>
                  <a:lnTo>
                    <a:pt x="671" y="80"/>
                  </a:lnTo>
                  <a:lnTo>
                    <a:pt x="662" y="6"/>
                  </a:lnTo>
                  <a:lnTo>
                    <a:pt x="655" y="0"/>
                  </a:lnTo>
                  <a:lnTo>
                    <a:pt x="646" y="10"/>
                  </a:lnTo>
                  <a:lnTo>
                    <a:pt x="620" y="120"/>
                  </a:lnTo>
                  <a:lnTo>
                    <a:pt x="604" y="153"/>
                  </a:lnTo>
                  <a:lnTo>
                    <a:pt x="593" y="159"/>
                  </a:lnTo>
                  <a:lnTo>
                    <a:pt x="582" y="161"/>
                  </a:lnTo>
                  <a:lnTo>
                    <a:pt x="569" y="142"/>
                  </a:lnTo>
                  <a:lnTo>
                    <a:pt x="536" y="119"/>
                  </a:lnTo>
                  <a:lnTo>
                    <a:pt x="521" y="119"/>
                  </a:lnTo>
                  <a:lnTo>
                    <a:pt x="519" y="107"/>
                  </a:lnTo>
                  <a:lnTo>
                    <a:pt x="505" y="96"/>
                  </a:lnTo>
                  <a:lnTo>
                    <a:pt x="515" y="79"/>
                  </a:lnTo>
                  <a:lnTo>
                    <a:pt x="518" y="57"/>
                  </a:lnTo>
                  <a:lnTo>
                    <a:pt x="530" y="57"/>
                  </a:lnTo>
                  <a:lnTo>
                    <a:pt x="541" y="36"/>
                  </a:lnTo>
                  <a:lnTo>
                    <a:pt x="531" y="29"/>
                  </a:lnTo>
                  <a:lnTo>
                    <a:pt x="521" y="40"/>
                  </a:lnTo>
                  <a:lnTo>
                    <a:pt x="518" y="30"/>
                  </a:lnTo>
                  <a:lnTo>
                    <a:pt x="506" y="34"/>
                  </a:lnTo>
                  <a:lnTo>
                    <a:pt x="450" y="13"/>
                  </a:lnTo>
                  <a:lnTo>
                    <a:pt x="455" y="23"/>
                  </a:lnTo>
                  <a:lnTo>
                    <a:pt x="449" y="34"/>
                  </a:lnTo>
                  <a:lnTo>
                    <a:pt x="422" y="34"/>
                  </a:lnTo>
                  <a:lnTo>
                    <a:pt x="409" y="44"/>
                  </a:lnTo>
                  <a:lnTo>
                    <a:pt x="405" y="63"/>
                  </a:lnTo>
                  <a:lnTo>
                    <a:pt x="394" y="66"/>
                  </a:lnTo>
                  <a:lnTo>
                    <a:pt x="380" y="84"/>
                  </a:lnTo>
                  <a:lnTo>
                    <a:pt x="388" y="92"/>
                  </a:lnTo>
                  <a:lnTo>
                    <a:pt x="385" y="102"/>
                  </a:lnTo>
                  <a:lnTo>
                    <a:pt x="365" y="93"/>
                  </a:lnTo>
                  <a:lnTo>
                    <a:pt x="354" y="102"/>
                  </a:lnTo>
                  <a:lnTo>
                    <a:pt x="349" y="83"/>
                  </a:lnTo>
                  <a:lnTo>
                    <a:pt x="342" y="73"/>
                  </a:lnTo>
                  <a:lnTo>
                    <a:pt x="331" y="70"/>
                  </a:lnTo>
                  <a:lnTo>
                    <a:pt x="311" y="89"/>
                  </a:lnTo>
                  <a:lnTo>
                    <a:pt x="297" y="89"/>
                  </a:lnTo>
                  <a:lnTo>
                    <a:pt x="273" y="129"/>
                  </a:lnTo>
                  <a:lnTo>
                    <a:pt x="262" y="123"/>
                  </a:lnTo>
                  <a:lnTo>
                    <a:pt x="257" y="135"/>
                  </a:lnTo>
                  <a:lnTo>
                    <a:pt x="263" y="142"/>
                  </a:lnTo>
                  <a:lnTo>
                    <a:pt x="252" y="153"/>
                  </a:lnTo>
                  <a:lnTo>
                    <a:pt x="246" y="130"/>
                  </a:lnTo>
                  <a:lnTo>
                    <a:pt x="227" y="152"/>
                  </a:lnTo>
                  <a:lnTo>
                    <a:pt x="227" y="169"/>
                  </a:lnTo>
                  <a:lnTo>
                    <a:pt x="193" y="205"/>
                  </a:lnTo>
                  <a:lnTo>
                    <a:pt x="96" y="229"/>
                  </a:lnTo>
                  <a:lnTo>
                    <a:pt x="52" y="266"/>
                  </a:lnTo>
                  <a:lnTo>
                    <a:pt x="49" y="252"/>
                  </a:lnTo>
                  <a:lnTo>
                    <a:pt x="38" y="273"/>
                  </a:lnTo>
                  <a:lnTo>
                    <a:pt x="38" y="292"/>
                  </a:lnTo>
                  <a:lnTo>
                    <a:pt x="28" y="302"/>
                  </a:lnTo>
                  <a:lnTo>
                    <a:pt x="32" y="359"/>
                  </a:lnTo>
                  <a:lnTo>
                    <a:pt x="22" y="342"/>
                  </a:lnTo>
                  <a:lnTo>
                    <a:pt x="23" y="363"/>
                  </a:lnTo>
                  <a:lnTo>
                    <a:pt x="16" y="353"/>
                  </a:lnTo>
                  <a:lnTo>
                    <a:pt x="32" y="421"/>
                  </a:lnTo>
                  <a:lnTo>
                    <a:pt x="32" y="481"/>
                  </a:lnTo>
                  <a:lnTo>
                    <a:pt x="21" y="515"/>
                  </a:lnTo>
                  <a:lnTo>
                    <a:pt x="5" y="524"/>
                  </a:lnTo>
                  <a:lnTo>
                    <a:pt x="0" y="537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07" name="Freeform 264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7933356" y="4935786"/>
              <a:ext cx="279434" cy="195155"/>
            </a:xfrm>
            <a:custGeom>
              <a:avLst/>
              <a:gdLst>
                <a:gd name="T0" fmla="*/ 0 w 221"/>
                <a:gd name="T1" fmla="*/ 119 h 136"/>
                <a:gd name="T2" fmla="*/ 0 w 221"/>
                <a:gd name="T3" fmla="*/ 125 h 136"/>
                <a:gd name="T4" fmla="*/ 5 w 221"/>
                <a:gd name="T5" fmla="*/ 125 h 136"/>
                <a:gd name="T6" fmla="*/ 5 w 221"/>
                <a:gd name="T7" fmla="*/ 131 h 136"/>
                <a:gd name="T8" fmla="*/ 5 w 221"/>
                <a:gd name="T9" fmla="*/ 136 h 136"/>
                <a:gd name="T10" fmla="*/ 5 w 221"/>
                <a:gd name="T11" fmla="*/ 128 h 136"/>
                <a:gd name="T12" fmla="*/ 5 w 221"/>
                <a:gd name="T13" fmla="*/ 84 h 136"/>
                <a:gd name="T14" fmla="*/ 5 w 221"/>
                <a:gd name="T15" fmla="*/ 71 h 136"/>
                <a:gd name="T16" fmla="*/ 5 w 221"/>
                <a:gd name="T17" fmla="*/ 57 h 136"/>
                <a:gd name="T18" fmla="*/ 5 w 221"/>
                <a:gd name="T19" fmla="*/ 27 h 136"/>
                <a:gd name="T20" fmla="*/ 5 w 221"/>
                <a:gd name="T21" fmla="*/ 16 h 136"/>
                <a:gd name="T22" fmla="*/ 5 w 221"/>
                <a:gd name="T23" fmla="*/ 14 h 136"/>
                <a:gd name="T24" fmla="*/ 5 w 221"/>
                <a:gd name="T25" fmla="*/ 6 h 136"/>
                <a:gd name="T26" fmla="*/ 5 w 221"/>
                <a:gd name="T27" fmla="*/ 16 h 136"/>
                <a:gd name="T28" fmla="*/ 5 w 221"/>
                <a:gd name="T29" fmla="*/ 6 h 136"/>
                <a:gd name="T30" fmla="*/ 5 w 221"/>
                <a:gd name="T31" fmla="*/ 0 h 136"/>
                <a:gd name="T32" fmla="*/ 5 w 221"/>
                <a:gd name="T33" fmla="*/ 6 h 136"/>
                <a:gd name="T34" fmla="*/ 5 w 221"/>
                <a:gd name="T35" fmla="*/ 46 h 136"/>
                <a:gd name="T36" fmla="*/ 5 w 221"/>
                <a:gd name="T37" fmla="*/ 78 h 136"/>
                <a:gd name="T38" fmla="*/ 0 w 221"/>
                <a:gd name="T39" fmla="*/ 119 h 1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1"/>
                <a:gd name="T61" fmla="*/ 0 h 136"/>
                <a:gd name="T62" fmla="*/ 221 w 221"/>
                <a:gd name="T63" fmla="*/ 136 h 1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1" h="136">
                  <a:moveTo>
                    <a:pt x="0" y="119"/>
                  </a:moveTo>
                  <a:lnTo>
                    <a:pt x="0" y="125"/>
                  </a:lnTo>
                  <a:lnTo>
                    <a:pt x="16" y="125"/>
                  </a:lnTo>
                  <a:lnTo>
                    <a:pt x="16" y="131"/>
                  </a:lnTo>
                  <a:lnTo>
                    <a:pt x="31" y="136"/>
                  </a:lnTo>
                  <a:lnTo>
                    <a:pt x="60" y="128"/>
                  </a:lnTo>
                  <a:lnTo>
                    <a:pt x="116" y="84"/>
                  </a:lnTo>
                  <a:lnTo>
                    <a:pt x="157" y="71"/>
                  </a:lnTo>
                  <a:lnTo>
                    <a:pt x="162" y="57"/>
                  </a:lnTo>
                  <a:lnTo>
                    <a:pt x="213" y="27"/>
                  </a:lnTo>
                  <a:lnTo>
                    <a:pt x="221" y="16"/>
                  </a:lnTo>
                  <a:lnTo>
                    <a:pt x="215" y="14"/>
                  </a:lnTo>
                  <a:lnTo>
                    <a:pt x="218" y="6"/>
                  </a:lnTo>
                  <a:lnTo>
                    <a:pt x="200" y="16"/>
                  </a:lnTo>
                  <a:lnTo>
                    <a:pt x="205" y="6"/>
                  </a:lnTo>
                  <a:lnTo>
                    <a:pt x="199" y="0"/>
                  </a:lnTo>
                  <a:lnTo>
                    <a:pt x="188" y="6"/>
                  </a:lnTo>
                  <a:lnTo>
                    <a:pt x="139" y="46"/>
                  </a:lnTo>
                  <a:lnTo>
                    <a:pt x="65" y="78"/>
                  </a:lnTo>
                  <a:lnTo>
                    <a:pt x="0" y="119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08" name="Freeform 265"/>
            <p:cNvSpPr>
              <a:spLocks noChangeAspect="1"/>
            </p:cNvSpPr>
            <p:nvPr/>
          </p:nvSpPr>
          <p:spPr bwMode="auto">
            <a:xfrm>
              <a:off x="7537957" y="4772200"/>
              <a:ext cx="36326" cy="15785"/>
            </a:xfrm>
            <a:custGeom>
              <a:avLst/>
              <a:gdLst>
                <a:gd name="T0" fmla="*/ 0 w 29"/>
                <a:gd name="T1" fmla="*/ 6 h 11"/>
                <a:gd name="T2" fmla="*/ 3 w 29"/>
                <a:gd name="T3" fmla="*/ 11 h 11"/>
                <a:gd name="T4" fmla="*/ 4 w 29"/>
                <a:gd name="T5" fmla="*/ 11 h 11"/>
                <a:gd name="T6" fmla="*/ 4 w 29"/>
                <a:gd name="T7" fmla="*/ 6 h 11"/>
                <a:gd name="T8" fmla="*/ 4 w 29"/>
                <a:gd name="T9" fmla="*/ 0 h 11"/>
                <a:gd name="T10" fmla="*/ 0 w 29"/>
                <a:gd name="T11" fmla="*/ 6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11"/>
                <a:gd name="T20" fmla="*/ 29 w 29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11">
                  <a:moveTo>
                    <a:pt x="0" y="6"/>
                  </a:moveTo>
                  <a:lnTo>
                    <a:pt x="3" y="11"/>
                  </a:lnTo>
                  <a:lnTo>
                    <a:pt x="17" y="11"/>
                  </a:lnTo>
                  <a:lnTo>
                    <a:pt x="29" y="6"/>
                  </a:lnTo>
                  <a:lnTo>
                    <a:pt x="2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09" name="Freeform 266"/>
            <p:cNvSpPr>
              <a:spLocks noChangeAspect="1"/>
            </p:cNvSpPr>
            <p:nvPr/>
          </p:nvSpPr>
          <p:spPr bwMode="auto">
            <a:xfrm>
              <a:off x="7926370" y="5130941"/>
              <a:ext cx="26546" cy="22959"/>
            </a:xfrm>
            <a:custGeom>
              <a:avLst/>
              <a:gdLst>
                <a:gd name="T0" fmla="*/ 0 w 19"/>
                <a:gd name="T1" fmla="*/ 16 h 16"/>
                <a:gd name="T2" fmla="*/ 17 w 19"/>
                <a:gd name="T3" fmla="*/ 9 h 16"/>
                <a:gd name="T4" fmla="*/ 19 w 19"/>
                <a:gd name="T5" fmla="*/ 0 h 16"/>
                <a:gd name="T6" fmla="*/ 0 w 19"/>
                <a:gd name="T7" fmla="*/ 16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6"/>
                <a:gd name="T14" fmla="*/ 19 w 19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6">
                  <a:moveTo>
                    <a:pt x="0" y="16"/>
                  </a:moveTo>
                  <a:lnTo>
                    <a:pt x="17" y="9"/>
                  </a:lnTo>
                  <a:lnTo>
                    <a:pt x="19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10" name="Freeform 267">
              <a:hlinkClick r:id="" action="ppaction://noaction"/>
            </p:cNvPr>
            <p:cNvSpPr>
              <a:spLocks noChangeAspect="1"/>
            </p:cNvSpPr>
            <p:nvPr/>
          </p:nvSpPr>
          <p:spPr bwMode="auto">
            <a:xfrm>
              <a:off x="6008055" y="1844878"/>
              <a:ext cx="1307752" cy="1080526"/>
            </a:xfrm>
            <a:custGeom>
              <a:avLst/>
              <a:gdLst>
                <a:gd name="T0" fmla="*/ 5 w 1038"/>
                <a:gd name="T1" fmla="*/ 122 h 753"/>
                <a:gd name="T2" fmla="*/ 5 w 1038"/>
                <a:gd name="T3" fmla="*/ 180 h 753"/>
                <a:gd name="T4" fmla="*/ 5 w 1038"/>
                <a:gd name="T5" fmla="*/ 238 h 753"/>
                <a:gd name="T6" fmla="*/ 5 w 1038"/>
                <a:gd name="T7" fmla="*/ 245 h 753"/>
                <a:gd name="T8" fmla="*/ 5 w 1038"/>
                <a:gd name="T9" fmla="*/ 200 h 753"/>
                <a:gd name="T10" fmla="*/ 5 w 1038"/>
                <a:gd name="T11" fmla="*/ 177 h 753"/>
                <a:gd name="T12" fmla="*/ 5 w 1038"/>
                <a:gd name="T13" fmla="*/ 151 h 753"/>
                <a:gd name="T14" fmla="*/ 5 w 1038"/>
                <a:gd name="T15" fmla="*/ 130 h 753"/>
                <a:gd name="T16" fmla="*/ 5 w 1038"/>
                <a:gd name="T17" fmla="*/ 77 h 753"/>
                <a:gd name="T18" fmla="*/ 5 w 1038"/>
                <a:gd name="T19" fmla="*/ 42 h 753"/>
                <a:gd name="T20" fmla="*/ 5 w 1038"/>
                <a:gd name="T21" fmla="*/ 6 h 753"/>
                <a:gd name="T22" fmla="*/ 5 w 1038"/>
                <a:gd name="T23" fmla="*/ 56 h 753"/>
                <a:gd name="T24" fmla="*/ 5 w 1038"/>
                <a:gd name="T25" fmla="*/ 102 h 753"/>
                <a:gd name="T26" fmla="*/ 5 w 1038"/>
                <a:gd name="T27" fmla="*/ 110 h 753"/>
                <a:gd name="T28" fmla="*/ 5 w 1038"/>
                <a:gd name="T29" fmla="*/ 187 h 753"/>
                <a:gd name="T30" fmla="*/ 5 w 1038"/>
                <a:gd name="T31" fmla="*/ 226 h 753"/>
                <a:gd name="T32" fmla="*/ 5 w 1038"/>
                <a:gd name="T33" fmla="*/ 257 h 753"/>
                <a:gd name="T34" fmla="*/ 5 w 1038"/>
                <a:gd name="T35" fmla="*/ 267 h 753"/>
                <a:gd name="T36" fmla="*/ 5 w 1038"/>
                <a:gd name="T37" fmla="*/ 331 h 753"/>
                <a:gd name="T38" fmla="*/ 5 w 1038"/>
                <a:gd name="T39" fmla="*/ 293 h 753"/>
                <a:gd name="T40" fmla="*/ 5 w 1038"/>
                <a:gd name="T41" fmla="*/ 299 h 753"/>
                <a:gd name="T42" fmla="*/ 5 w 1038"/>
                <a:gd name="T43" fmla="*/ 319 h 753"/>
                <a:gd name="T44" fmla="*/ 5 w 1038"/>
                <a:gd name="T45" fmla="*/ 369 h 753"/>
                <a:gd name="T46" fmla="*/ 5 w 1038"/>
                <a:gd name="T47" fmla="*/ 375 h 753"/>
                <a:gd name="T48" fmla="*/ 5 w 1038"/>
                <a:gd name="T49" fmla="*/ 421 h 753"/>
                <a:gd name="T50" fmla="*/ 5 w 1038"/>
                <a:gd name="T51" fmla="*/ 494 h 753"/>
                <a:gd name="T52" fmla="*/ 5 w 1038"/>
                <a:gd name="T53" fmla="*/ 524 h 753"/>
                <a:gd name="T54" fmla="*/ 5 w 1038"/>
                <a:gd name="T55" fmla="*/ 574 h 753"/>
                <a:gd name="T56" fmla="*/ 5 w 1038"/>
                <a:gd name="T57" fmla="*/ 624 h 753"/>
                <a:gd name="T58" fmla="*/ 5 w 1038"/>
                <a:gd name="T59" fmla="*/ 664 h 753"/>
                <a:gd name="T60" fmla="*/ 5 w 1038"/>
                <a:gd name="T61" fmla="*/ 710 h 753"/>
                <a:gd name="T62" fmla="*/ 5 w 1038"/>
                <a:gd name="T63" fmla="*/ 704 h 753"/>
                <a:gd name="T64" fmla="*/ 5 w 1038"/>
                <a:gd name="T65" fmla="*/ 750 h 753"/>
                <a:gd name="T66" fmla="*/ 5 w 1038"/>
                <a:gd name="T67" fmla="*/ 729 h 753"/>
                <a:gd name="T68" fmla="*/ 5 w 1038"/>
                <a:gd name="T69" fmla="*/ 718 h 753"/>
                <a:gd name="T70" fmla="*/ 5 w 1038"/>
                <a:gd name="T71" fmla="*/ 702 h 753"/>
                <a:gd name="T72" fmla="*/ 5 w 1038"/>
                <a:gd name="T73" fmla="*/ 704 h 753"/>
                <a:gd name="T74" fmla="*/ 5 w 1038"/>
                <a:gd name="T75" fmla="*/ 722 h 753"/>
                <a:gd name="T76" fmla="*/ 5 w 1038"/>
                <a:gd name="T77" fmla="*/ 693 h 753"/>
                <a:gd name="T78" fmla="*/ 5 w 1038"/>
                <a:gd name="T79" fmla="*/ 675 h 753"/>
                <a:gd name="T80" fmla="*/ 5 w 1038"/>
                <a:gd name="T81" fmla="*/ 575 h 753"/>
                <a:gd name="T82" fmla="*/ 5 w 1038"/>
                <a:gd name="T83" fmla="*/ 573 h 753"/>
                <a:gd name="T84" fmla="*/ 5 w 1038"/>
                <a:gd name="T85" fmla="*/ 593 h 753"/>
                <a:gd name="T86" fmla="*/ 5 w 1038"/>
                <a:gd name="T87" fmla="*/ 580 h 753"/>
                <a:gd name="T88" fmla="*/ 5 w 1038"/>
                <a:gd name="T89" fmla="*/ 529 h 753"/>
                <a:gd name="T90" fmla="*/ 5 w 1038"/>
                <a:gd name="T91" fmla="*/ 479 h 753"/>
                <a:gd name="T92" fmla="*/ 5 w 1038"/>
                <a:gd name="T93" fmla="*/ 445 h 753"/>
                <a:gd name="T94" fmla="*/ 5 w 1038"/>
                <a:gd name="T95" fmla="*/ 394 h 753"/>
                <a:gd name="T96" fmla="*/ 5 w 1038"/>
                <a:gd name="T97" fmla="*/ 376 h 753"/>
                <a:gd name="T98" fmla="*/ 5 w 1038"/>
                <a:gd name="T99" fmla="*/ 365 h 753"/>
                <a:gd name="T100" fmla="*/ 0 w 1038"/>
                <a:gd name="T101" fmla="*/ 329 h 753"/>
                <a:gd name="T102" fmla="*/ 5 w 1038"/>
                <a:gd name="T103" fmla="*/ 291 h 753"/>
                <a:gd name="T104" fmla="*/ 5 w 1038"/>
                <a:gd name="T105" fmla="*/ 279 h 753"/>
                <a:gd name="T106" fmla="*/ 5 w 1038"/>
                <a:gd name="T107" fmla="*/ 231 h 753"/>
                <a:gd name="T108" fmla="*/ 5 w 1038"/>
                <a:gd name="T109" fmla="*/ 184 h 753"/>
                <a:gd name="T110" fmla="*/ 5 w 1038"/>
                <a:gd name="T111" fmla="*/ 141 h 7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38"/>
                <a:gd name="T169" fmla="*/ 0 h 753"/>
                <a:gd name="T170" fmla="*/ 1038 w 1038"/>
                <a:gd name="T171" fmla="*/ 753 h 7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38" h="753">
                  <a:moveTo>
                    <a:pt x="168" y="106"/>
                  </a:moveTo>
                  <a:lnTo>
                    <a:pt x="183" y="99"/>
                  </a:lnTo>
                  <a:lnTo>
                    <a:pt x="211" y="122"/>
                  </a:lnTo>
                  <a:lnTo>
                    <a:pt x="235" y="125"/>
                  </a:lnTo>
                  <a:lnTo>
                    <a:pt x="255" y="147"/>
                  </a:lnTo>
                  <a:lnTo>
                    <a:pt x="267" y="180"/>
                  </a:lnTo>
                  <a:lnTo>
                    <a:pt x="356" y="203"/>
                  </a:lnTo>
                  <a:lnTo>
                    <a:pt x="402" y="239"/>
                  </a:lnTo>
                  <a:lnTo>
                    <a:pt x="474" y="238"/>
                  </a:lnTo>
                  <a:lnTo>
                    <a:pt x="564" y="266"/>
                  </a:lnTo>
                  <a:lnTo>
                    <a:pt x="605" y="248"/>
                  </a:lnTo>
                  <a:lnTo>
                    <a:pt x="644" y="245"/>
                  </a:lnTo>
                  <a:lnTo>
                    <a:pt x="649" y="243"/>
                  </a:lnTo>
                  <a:lnTo>
                    <a:pt x="671" y="217"/>
                  </a:lnTo>
                  <a:lnTo>
                    <a:pt x="655" y="200"/>
                  </a:lnTo>
                  <a:lnTo>
                    <a:pt x="664" y="186"/>
                  </a:lnTo>
                  <a:lnTo>
                    <a:pt x="689" y="193"/>
                  </a:lnTo>
                  <a:lnTo>
                    <a:pt x="701" y="177"/>
                  </a:lnTo>
                  <a:lnTo>
                    <a:pt x="716" y="171"/>
                  </a:lnTo>
                  <a:lnTo>
                    <a:pt x="727" y="152"/>
                  </a:lnTo>
                  <a:lnTo>
                    <a:pt x="770" y="151"/>
                  </a:lnTo>
                  <a:lnTo>
                    <a:pt x="758" y="133"/>
                  </a:lnTo>
                  <a:lnTo>
                    <a:pt x="738" y="123"/>
                  </a:lnTo>
                  <a:lnTo>
                    <a:pt x="717" y="130"/>
                  </a:lnTo>
                  <a:lnTo>
                    <a:pt x="694" y="128"/>
                  </a:lnTo>
                  <a:lnTo>
                    <a:pt x="673" y="91"/>
                  </a:lnTo>
                  <a:lnTo>
                    <a:pt x="678" y="77"/>
                  </a:lnTo>
                  <a:lnTo>
                    <a:pt x="709" y="85"/>
                  </a:lnTo>
                  <a:lnTo>
                    <a:pt x="726" y="74"/>
                  </a:lnTo>
                  <a:lnTo>
                    <a:pt x="718" y="42"/>
                  </a:lnTo>
                  <a:lnTo>
                    <a:pt x="724" y="36"/>
                  </a:lnTo>
                  <a:lnTo>
                    <a:pt x="706" y="15"/>
                  </a:lnTo>
                  <a:lnTo>
                    <a:pt x="712" y="6"/>
                  </a:lnTo>
                  <a:lnTo>
                    <a:pt x="750" y="0"/>
                  </a:lnTo>
                  <a:lnTo>
                    <a:pt x="801" y="14"/>
                  </a:lnTo>
                  <a:lnTo>
                    <a:pt x="854" y="56"/>
                  </a:lnTo>
                  <a:lnTo>
                    <a:pt x="878" y="84"/>
                  </a:lnTo>
                  <a:lnTo>
                    <a:pt x="910" y="88"/>
                  </a:lnTo>
                  <a:lnTo>
                    <a:pt x="945" y="102"/>
                  </a:lnTo>
                  <a:lnTo>
                    <a:pt x="969" y="127"/>
                  </a:lnTo>
                  <a:lnTo>
                    <a:pt x="988" y="128"/>
                  </a:lnTo>
                  <a:lnTo>
                    <a:pt x="1025" y="110"/>
                  </a:lnTo>
                  <a:lnTo>
                    <a:pt x="1036" y="130"/>
                  </a:lnTo>
                  <a:lnTo>
                    <a:pt x="1031" y="136"/>
                  </a:lnTo>
                  <a:lnTo>
                    <a:pt x="1038" y="187"/>
                  </a:lnTo>
                  <a:lnTo>
                    <a:pt x="1018" y="184"/>
                  </a:lnTo>
                  <a:lnTo>
                    <a:pt x="1008" y="197"/>
                  </a:lnTo>
                  <a:lnTo>
                    <a:pt x="1030" y="226"/>
                  </a:lnTo>
                  <a:lnTo>
                    <a:pt x="1032" y="244"/>
                  </a:lnTo>
                  <a:lnTo>
                    <a:pt x="1012" y="238"/>
                  </a:lnTo>
                  <a:lnTo>
                    <a:pt x="1006" y="257"/>
                  </a:lnTo>
                  <a:lnTo>
                    <a:pt x="991" y="259"/>
                  </a:lnTo>
                  <a:lnTo>
                    <a:pt x="992" y="272"/>
                  </a:lnTo>
                  <a:lnTo>
                    <a:pt x="971" y="267"/>
                  </a:lnTo>
                  <a:lnTo>
                    <a:pt x="939" y="311"/>
                  </a:lnTo>
                  <a:lnTo>
                    <a:pt x="928" y="308"/>
                  </a:lnTo>
                  <a:lnTo>
                    <a:pt x="894" y="331"/>
                  </a:lnTo>
                  <a:lnTo>
                    <a:pt x="899" y="322"/>
                  </a:lnTo>
                  <a:lnTo>
                    <a:pt x="889" y="314"/>
                  </a:lnTo>
                  <a:lnTo>
                    <a:pt x="898" y="293"/>
                  </a:lnTo>
                  <a:lnTo>
                    <a:pt x="887" y="284"/>
                  </a:lnTo>
                  <a:lnTo>
                    <a:pt x="873" y="282"/>
                  </a:lnTo>
                  <a:lnTo>
                    <a:pt x="866" y="299"/>
                  </a:lnTo>
                  <a:lnTo>
                    <a:pt x="852" y="308"/>
                  </a:lnTo>
                  <a:lnTo>
                    <a:pt x="849" y="322"/>
                  </a:lnTo>
                  <a:lnTo>
                    <a:pt x="830" y="319"/>
                  </a:lnTo>
                  <a:lnTo>
                    <a:pt x="829" y="335"/>
                  </a:lnTo>
                  <a:lnTo>
                    <a:pt x="875" y="369"/>
                  </a:lnTo>
                  <a:lnTo>
                    <a:pt x="883" y="369"/>
                  </a:lnTo>
                  <a:lnTo>
                    <a:pt x="898" y="354"/>
                  </a:lnTo>
                  <a:lnTo>
                    <a:pt x="934" y="364"/>
                  </a:lnTo>
                  <a:lnTo>
                    <a:pt x="934" y="375"/>
                  </a:lnTo>
                  <a:lnTo>
                    <a:pt x="927" y="371"/>
                  </a:lnTo>
                  <a:lnTo>
                    <a:pt x="909" y="381"/>
                  </a:lnTo>
                  <a:lnTo>
                    <a:pt x="892" y="421"/>
                  </a:lnTo>
                  <a:lnTo>
                    <a:pt x="918" y="432"/>
                  </a:lnTo>
                  <a:lnTo>
                    <a:pt x="944" y="472"/>
                  </a:lnTo>
                  <a:lnTo>
                    <a:pt x="968" y="494"/>
                  </a:lnTo>
                  <a:lnTo>
                    <a:pt x="957" y="494"/>
                  </a:lnTo>
                  <a:lnTo>
                    <a:pt x="975" y="511"/>
                  </a:lnTo>
                  <a:lnTo>
                    <a:pt x="950" y="524"/>
                  </a:lnTo>
                  <a:lnTo>
                    <a:pt x="985" y="531"/>
                  </a:lnTo>
                  <a:lnTo>
                    <a:pt x="985" y="568"/>
                  </a:lnTo>
                  <a:lnTo>
                    <a:pt x="977" y="574"/>
                  </a:lnTo>
                  <a:lnTo>
                    <a:pt x="964" y="608"/>
                  </a:lnTo>
                  <a:lnTo>
                    <a:pt x="957" y="607"/>
                  </a:lnTo>
                  <a:lnTo>
                    <a:pt x="962" y="624"/>
                  </a:lnTo>
                  <a:lnTo>
                    <a:pt x="949" y="656"/>
                  </a:lnTo>
                  <a:lnTo>
                    <a:pt x="939" y="656"/>
                  </a:lnTo>
                  <a:lnTo>
                    <a:pt x="940" y="664"/>
                  </a:lnTo>
                  <a:lnTo>
                    <a:pt x="912" y="690"/>
                  </a:lnTo>
                  <a:lnTo>
                    <a:pt x="875" y="700"/>
                  </a:lnTo>
                  <a:lnTo>
                    <a:pt x="869" y="710"/>
                  </a:lnTo>
                  <a:lnTo>
                    <a:pt x="858" y="700"/>
                  </a:lnTo>
                  <a:lnTo>
                    <a:pt x="857" y="711"/>
                  </a:lnTo>
                  <a:lnTo>
                    <a:pt x="847" y="704"/>
                  </a:lnTo>
                  <a:lnTo>
                    <a:pt x="847" y="716"/>
                  </a:lnTo>
                  <a:lnTo>
                    <a:pt x="798" y="733"/>
                  </a:lnTo>
                  <a:lnTo>
                    <a:pt x="803" y="750"/>
                  </a:lnTo>
                  <a:lnTo>
                    <a:pt x="798" y="753"/>
                  </a:lnTo>
                  <a:lnTo>
                    <a:pt x="792" y="753"/>
                  </a:lnTo>
                  <a:lnTo>
                    <a:pt x="785" y="729"/>
                  </a:lnTo>
                  <a:lnTo>
                    <a:pt x="758" y="723"/>
                  </a:lnTo>
                  <a:lnTo>
                    <a:pt x="750" y="729"/>
                  </a:lnTo>
                  <a:lnTo>
                    <a:pt x="724" y="718"/>
                  </a:lnTo>
                  <a:lnTo>
                    <a:pt x="717" y="698"/>
                  </a:lnTo>
                  <a:lnTo>
                    <a:pt x="694" y="689"/>
                  </a:lnTo>
                  <a:lnTo>
                    <a:pt x="649" y="702"/>
                  </a:lnTo>
                  <a:lnTo>
                    <a:pt x="635" y="699"/>
                  </a:lnTo>
                  <a:lnTo>
                    <a:pt x="632" y="706"/>
                  </a:lnTo>
                  <a:lnTo>
                    <a:pt x="622" y="704"/>
                  </a:lnTo>
                  <a:lnTo>
                    <a:pt x="624" y="730"/>
                  </a:lnTo>
                  <a:lnTo>
                    <a:pt x="618" y="733"/>
                  </a:lnTo>
                  <a:lnTo>
                    <a:pt x="614" y="722"/>
                  </a:lnTo>
                  <a:lnTo>
                    <a:pt x="596" y="726"/>
                  </a:lnTo>
                  <a:lnTo>
                    <a:pt x="575" y="711"/>
                  </a:lnTo>
                  <a:lnTo>
                    <a:pt x="576" y="693"/>
                  </a:lnTo>
                  <a:lnTo>
                    <a:pt x="564" y="686"/>
                  </a:lnTo>
                  <a:lnTo>
                    <a:pt x="559" y="667"/>
                  </a:lnTo>
                  <a:lnTo>
                    <a:pt x="536" y="675"/>
                  </a:lnTo>
                  <a:lnTo>
                    <a:pt x="547" y="608"/>
                  </a:lnTo>
                  <a:lnTo>
                    <a:pt x="530" y="579"/>
                  </a:lnTo>
                  <a:lnTo>
                    <a:pt x="513" y="575"/>
                  </a:lnTo>
                  <a:lnTo>
                    <a:pt x="476" y="545"/>
                  </a:lnTo>
                  <a:lnTo>
                    <a:pt x="451" y="548"/>
                  </a:lnTo>
                  <a:lnTo>
                    <a:pt x="431" y="573"/>
                  </a:lnTo>
                  <a:lnTo>
                    <a:pt x="404" y="582"/>
                  </a:lnTo>
                  <a:lnTo>
                    <a:pt x="368" y="571"/>
                  </a:lnTo>
                  <a:lnTo>
                    <a:pt x="351" y="593"/>
                  </a:lnTo>
                  <a:lnTo>
                    <a:pt x="342" y="576"/>
                  </a:lnTo>
                  <a:lnTo>
                    <a:pt x="333" y="580"/>
                  </a:lnTo>
                  <a:lnTo>
                    <a:pt x="289" y="580"/>
                  </a:lnTo>
                  <a:lnTo>
                    <a:pt x="246" y="548"/>
                  </a:lnTo>
                  <a:lnTo>
                    <a:pt x="237" y="552"/>
                  </a:lnTo>
                  <a:lnTo>
                    <a:pt x="211" y="529"/>
                  </a:lnTo>
                  <a:lnTo>
                    <a:pt x="185" y="526"/>
                  </a:lnTo>
                  <a:lnTo>
                    <a:pt x="145" y="510"/>
                  </a:lnTo>
                  <a:lnTo>
                    <a:pt x="126" y="479"/>
                  </a:lnTo>
                  <a:lnTo>
                    <a:pt x="126" y="473"/>
                  </a:lnTo>
                  <a:lnTo>
                    <a:pt x="143" y="473"/>
                  </a:lnTo>
                  <a:lnTo>
                    <a:pt x="130" y="445"/>
                  </a:lnTo>
                  <a:lnTo>
                    <a:pt x="143" y="424"/>
                  </a:lnTo>
                  <a:lnTo>
                    <a:pt x="145" y="404"/>
                  </a:lnTo>
                  <a:lnTo>
                    <a:pt x="124" y="394"/>
                  </a:lnTo>
                  <a:lnTo>
                    <a:pt x="95" y="407"/>
                  </a:lnTo>
                  <a:lnTo>
                    <a:pt x="63" y="396"/>
                  </a:lnTo>
                  <a:lnTo>
                    <a:pt x="51" y="376"/>
                  </a:lnTo>
                  <a:lnTo>
                    <a:pt x="29" y="371"/>
                  </a:lnTo>
                  <a:lnTo>
                    <a:pt x="27" y="369"/>
                  </a:lnTo>
                  <a:lnTo>
                    <a:pt x="30" y="365"/>
                  </a:lnTo>
                  <a:lnTo>
                    <a:pt x="24" y="339"/>
                  </a:lnTo>
                  <a:lnTo>
                    <a:pt x="7" y="337"/>
                  </a:lnTo>
                  <a:lnTo>
                    <a:pt x="0" y="329"/>
                  </a:lnTo>
                  <a:lnTo>
                    <a:pt x="0" y="316"/>
                  </a:lnTo>
                  <a:lnTo>
                    <a:pt x="0" y="302"/>
                  </a:lnTo>
                  <a:lnTo>
                    <a:pt x="14" y="291"/>
                  </a:lnTo>
                  <a:lnTo>
                    <a:pt x="45" y="291"/>
                  </a:lnTo>
                  <a:lnTo>
                    <a:pt x="47" y="282"/>
                  </a:lnTo>
                  <a:lnTo>
                    <a:pt x="68" y="279"/>
                  </a:lnTo>
                  <a:lnTo>
                    <a:pt x="98" y="259"/>
                  </a:lnTo>
                  <a:lnTo>
                    <a:pt x="100" y="250"/>
                  </a:lnTo>
                  <a:lnTo>
                    <a:pt x="103" y="231"/>
                  </a:lnTo>
                  <a:lnTo>
                    <a:pt x="80" y="193"/>
                  </a:lnTo>
                  <a:lnTo>
                    <a:pt x="85" y="186"/>
                  </a:lnTo>
                  <a:lnTo>
                    <a:pt x="115" y="184"/>
                  </a:lnTo>
                  <a:lnTo>
                    <a:pt x="113" y="139"/>
                  </a:lnTo>
                  <a:lnTo>
                    <a:pt x="149" y="146"/>
                  </a:lnTo>
                  <a:lnTo>
                    <a:pt x="160" y="141"/>
                  </a:lnTo>
                  <a:lnTo>
                    <a:pt x="154" y="112"/>
                  </a:lnTo>
                  <a:lnTo>
                    <a:pt x="168" y="106"/>
                  </a:lnTo>
                  <a:close/>
                </a:path>
              </a:pathLst>
            </a:custGeom>
            <a:solidFill>
              <a:srgbClr val="996633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11" name="Freeform 268"/>
            <p:cNvSpPr>
              <a:spLocks noChangeAspect="1"/>
            </p:cNvSpPr>
            <p:nvPr/>
          </p:nvSpPr>
          <p:spPr bwMode="auto">
            <a:xfrm>
              <a:off x="1253482" y="1689903"/>
              <a:ext cx="85227" cy="53094"/>
            </a:xfrm>
            <a:custGeom>
              <a:avLst/>
              <a:gdLst>
                <a:gd name="T0" fmla="*/ 0 w 68"/>
                <a:gd name="T1" fmla="*/ 26 h 37"/>
                <a:gd name="T2" fmla="*/ 0 w 68"/>
                <a:gd name="T3" fmla="*/ 37 h 37"/>
                <a:gd name="T4" fmla="*/ 4 w 68"/>
                <a:gd name="T5" fmla="*/ 20 h 37"/>
                <a:gd name="T6" fmla="*/ 4 w 68"/>
                <a:gd name="T7" fmla="*/ 14 h 37"/>
                <a:gd name="T8" fmla="*/ 4 w 68"/>
                <a:gd name="T9" fmla="*/ 11 h 37"/>
                <a:gd name="T10" fmla="*/ 4 w 68"/>
                <a:gd name="T11" fmla="*/ 7 h 37"/>
                <a:gd name="T12" fmla="*/ 4 w 68"/>
                <a:gd name="T13" fmla="*/ 0 h 37"/>
                <a:gd name="T14" fmla="*/ 0 w 68"/>
                <a:gd name="T15" fmla="*/ 26 h 3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8"/>
                <a:gd name="T25" fmla="*/ 0 h 37"/>
                <a:gd name="T26" fmla="*/ 68 w 68"/>
                <a:gd name="T27" fmla="*/ 37 h 3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8" h="37">
                  <a:moveTo>
                    <a:pt x="0" y="26"/>
                  </a:moveTo>
                  <a:lnTo>
                    <a:pt x="0" y="37"/>
                  </a:lnTo>
                  <a:lnTo>
                    <a:pt x="48" y="20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68" y="7"/>
                  </a:lnTo>
                  <a:lnTo>
                    <a:pt x="66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12" name="Freeform 269"/>
            <p:cNvSpPr>
              <a:spLocks noChangeAspect="1"/>
            </p:cNvSpPr>
            <p:nvPr/>
          </p:nvSpPr>
          <p:spPr bwMode="auto">
            <a:xfrm>
              <a:off x="4056207" y="2156265"/>
              <a:ext cx="286420" cy="251118"/>
            </a:xfrm>
            <a:custGeom>
              <a:avLst/>
              <a:gdLst>
                <a:gd name="T0" fmla="*/ 5 w 227"/>
                <a:gd name="T1" fmla="*/ 21 h 175"/>
                <a:gd name="T2" fmla="*/ 5 w 227"/>
                <a:gd name="T3" fmla="*/ 27 h 175"/>
                <a:gd name="T4" fmla="*/ 5 w 227"/>
                <a:gd name="T5" fmla="*/ 42 h 175"/>
                <a:gd name="T6" fmla="*/ 5 w 227"/>
                <a:gd name="T7" fmla="*/ 62 h 175"/>
                <a:gd name="T8" fmla="*/ 5 w 227"/>
                <a:gd name="T9" fmla="*/ 97 h 175"/>
                <a:gd name="T10" fmla="*/ 5 w 227"/>
                <a:gd name="T11" fmla="*/ 114 h 175"/>
                <a:gd name="T12" fmla="*/ 5 w 227"/>
                <a:gd name="T13" fmla="*/ 159 h 175"/>
                <a:gd name="T14" fmla="*/ 5 w 227"/>
                <a:gd name="T15" fmla="*/ 162 h 175"/>
                <a:gd name="T16" fmla="*/ 5 w 227"/>
                <a:gd name="T17" fmla="*/ 175 h 175"/>
                <a:gd name="T18" fmla="*/ 5 w 227"/>
                <a:gd name="T19" fmla="*/ 148 h 175"/>
                <a:gd name="T20" fmla="*/ 5 w 227"/>
                <a:gd name="T21" fmla="*/ 125 h 175"/>
                <a:gd name="T22" fmla="*/ 5 w 227"/>
                <a:gd name="T23" fmla="*/ 94 h 175"/>
                <a:gd name="T24" fmla="*/ 5 w 227"/>
                <a:gd name="T25" fmla="*/ 84 h 175"/>
                <a:gd name="T26" fmla="*/ 5 w 227"/>
                <a:gd name="T27" fmla="*/ 66 h 175"/>
                <a:gd name="T28" fmla="*/ 5 w 227"/>
                <a:gd name="T29" fmla="*/ 51 h 175"/>
                <a:gd name="T30" fmla="*/ 5 w 227"/>
                <a:gd name="T31" fmla="*/ 43 h 175"/>
                <a:gd name="T32" fmla="*/ 5 w 227"/>
                <a:gd name="T33" fmla="*/ 42 h 175"/>
                <a:gd name="T34" fmla="*/ 0 w 227"/>
                <a:gd name="T35" fmla="*/ 17 h 175"/>
                <a:gd name="T36" fmla="*/ 5 w 227"/>
                <a:gd name="T37" fmla="*/ 11 h 175"/>
                <a:gd name="T38" fmla="*/ 5 w 227"/>
                <a:gd name="T39" fmla="*/ 0 h 175"/>
                <a:gd name="T40" fmla="*/ 5 w 227"/>
                <a:gd name="T41" fmla="*/ 10 h 175"/>
                <a:gd name="T42" fmla="*/ 5 w 227"/>
                <a:gd name="T43" fmla="*/ 10 h 175"/>
                <a:gd name="T44" fmla="*/ 5 w 227"/>
                <a:gd name="T45" fmla="*/ 9 h 175"/>
                <a:gd name="T46" fmla="*/ 5 w 227"/>
                <a:gd name="T47" fmla="*/ 21 h 1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27"/>
                <a:gd name="T73" fmla="*/ 0 h 175"/>
                <a:gd name="T74" fmla="*/ 227 w 227"/>
                <a:gd name="T75" fmla="*/ 175 h 17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27" h="175">
                  <a:moveTo>
                    <a:pt x="163" y="21"/>
                  </a:moveTo>
                  <a:lnTo>
                    <a:pt x="225" y="27"/>
                  </a:lnTo>
                  <a:lnTo>
                    <a:pt x="227" y="42"/>
                  </a:lnTo>
                  <a:lnTo>
                    <a:pt x="186" y="62"/>
                  </a:lnTo>
                  <a:lnTo>
                    <a:pt x="159" y="97"/>
                  </a:lnTo>
                  <a:lnTo>
                    <a:pt x="169" y="114"/>
                  </a:lnTo>
                  <a:lnTo>
                    <a:pt x="122" y="159"/>
                  </a:lnTo>
                  <a:lnTo>
                    <a:pt x="77" y="162"/>
                  </a:lnTo>
                  <a:lnTo>
                    <a:pt x="57" y="175"/>
                  </a:lnTo>
                  <a:lnTo>
                    <a:pt x="31" y="148"/>
                  </a:lnTo>
                  <a:lnTo>
                    <a:pt x="39" y="125"/>
                  </a:lnTo>
                  <a:lnTo>
                    <a:pt x="31" y="94"/>
                  </a:lnTo>
                  <a:lnTo>
                    <a:pt x="41" y="84"/>
                  </a:lnTo>
                  <a:lnTo>
                    <a:pt x="44" y="66"/>
                  </a:lnTo>
                  <a:lnTo>
                    <a:pt x="55" y="51"/>
                  </a:lnTo>
                  <a:lnTo>
                    <a:pt x="51" y="43"/>
                  </a:lnTo>
                  <a:lnTo>
                    <a:pt x="11" y="42"/>
                  </a:lnTo>
                  <a:lnTo>
                    <a:pt x="0" y="17"/>
                  </a:lnTo>
                  <a:lnTo>
                    <a:pt x="5" y="11"/>
                  </a:lnTo>
                  <a:lnTo>
                    <a:pt x="23" y="0"/>
                  </a:lnTo>
                  <a:lnTo>
                    <a:pt x="89" y="10"/>
                  </a:lnTo>
                  <a:lnTo>
                    <a:pt x="130" y="10"/>
                  </a:lnTo>
                  <a:lnTo>
                    <a:pt x="138" y="9"/>
                  </a:lnTo>
                  <a:lnTo>
                    <a:pt x="163" y="21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13" name="Freeform 270"/>
            <p:cNvSpPr>
              <a:spLocks noChangeAspect="1"/>
            </p:cNvSpPr>
            <p:nvPr/>
          </p:nvSpPr>
          <p:spPr bwMode="auto">
            <a:xfrm>
              <a:off x="4117682" y="1793220"/>
              <a:ext cx="48901" cy="34439"/>
            </a:xfrm>
            <a:custGeom>
              <a:avLst/>
              <a:gdLst>
                <a:gd name="T0" fmla="*/ 4 w 39"/>
                <a:gd name="T1" fmla="*/ 0 h 24"/>
                <a:gd name="T2" fmla="*/ 0 w 39"/>
                <a:gd name="T3" fmla="*/ 13 h 24"/>
                <a:gd name="T4" fmla="*/ 4 w 39"/>
                <a:gd name="T5" fmla="*/ 22 h 24"/>
                <a:gd name="T6" fmla="*/ 4 w 39"/>
                <a:gd name="T7" fmla="*/ 16 h 24"/>
                <a:gd name="T8" fmla="*/ 4 w 39"/>
                <a:gd name="T9" fmla="*/ 24 h 24"/>
                <a:gd name="T10" fmla="*/ 4 w 39"/>
                <a:gd name="T11" fmla="*/ 18 h 24"/>
                <a:gd name="T12" fmla="*/ 4 w 39"/>
                <a:gd name="T13" fmla="*/ 0 h 24"/>
                <a:gd name="T14" fmla="*/ 4 w 39"/>
                <a:gd name="T15" fmla="*/ 0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9"/>
                <a:gd name="T25" fmla="*/ 0 h 24"/>
                <a:gd name="T26" fmla="*/ 39 w 39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9" h="24">
                  <a:moveTo>
                    <a:pt x="8" y="0"/>
                  </a:moveTo>
                  <a:lnTo>
                    <a:pt x="0" y="13"/>
                  </a:lnTo>
                  <a:lnTo>
                    <a:pt x="9" y="22"/>
                  </a:lnTo>
                  <a:lnTo>
                    <a:pt x="28" y="16"/>
                  </a:lnTo>
                  <a:lnTo>
                    <a:pt x="30" y="24"/>
                  </a:lnTo>
                  <a:lnTo>
                    <a:pt x="39" y="18"/>
                  </a:lnTo>
                  <a:lnTo>
                    <a:pt x="32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14" name="Freeform 271"/>
            <p:cNvSpPr>
              <a:spLocks noChangeAspect="1"/>
            </p:cNvSpPr>
            <p:nvPr/>
          </p:nvSpPr>
          <p:spPr bwMode="auto">
            <a:xfrm>
              <a:off x="4525656" y="1378516"/>
              <a:ext cx="248696" cy="404659"/>
            </a:xfrm>
            <a:custGeom>
              <a:avLst/>
              <a:gdLst>
                <a:gd name="T0" fmla="*/ 5 w 197"/>
                <a:gd name="T1" fmla="*/ 207 h 282"/>
                <a:gd name="T2" fmla="*/ 5 w 197"/>
                <a:gd name="T3" fmla="*/ 192 h 282"/>
                <a:gd name="T4" fmla="*/ 5 w 197"/>
                <a:gd name="T5" fmla="*/ 185 h 282"/>
                <a:gd name="T6" fmla="*/ 5 w 197"/>
                <a:gd name="T7" fmla="*/ 163 h 282"/>
                <a:gd name="T8" fmla="*/ 5 w 197"/>
                <a:gd name="T9" fmla="*/ 159 h 282"/>
                <a:gd name="T10" fmla="*/ 5 w 197"/>
                <a:gd name="T11" fmla="*/ 133 h 282"/>
                <a:gd name="T12" fmla="*/ 5 w 197"/>
                <a:gd name="T13" fmla="*/ 108 h 282"/>
                <a:gd name="T14" fmla="*/ 5 w 197"/>
                <a:gd name="T15" fmla="*/ 99 h 282"/>
                <a:gd name="T16" fmla="*/ 5 w 197"/>
                <a:gd name="T17" fmla="*/ 88 h 282"/>
                <a:gd name="T18" fmla="*/ 5 w 197"/>
                <a:gd name="T19" fmla="*/ 59 h 282"/>
                <a:gd name="T20" fmla="*/ 5 w 197"/>
                <a:gd name="T21" fmla="*/ 44 h 282"/>
                <a:gd name="T22" fmla="*/ 5 w 197"/>
                <a:gd name="T23" fmla="*/ 22 h 282"/>
                <a:gd name="T24" fmla="*/ 5 w 197"/>
                <a:gd name="T25" fmla="*/ 20 h 282"/>
                <a:gd name="T26" fmla="*/ 5 w 197"/>
                <a:gd name="T27" fmla="*/ 11 h 282"/>
                <a:gd name="T28" fmla="*/ 5 w 197"/>
                <a:gd name="T29" fmla="*/ 12 h 282"/>
                <a:gd name="T30" fmla="*/ 5 w 197"/>
                <a:gd name="T31" fmla="*/ 0 h 282"/>
                <a:gd name="T32" fmla="*/ 5 w 197"/>
                <a:gd name="T33" fmla="*/ 20 h 282"/>
                <a:gd name="T34" fmla="*/ 5 w 197"/>
                <a:gd name="T35" fmla="*/ 63 h 282"/>
                <a:gd name="T36" fmla="*/ 5 w 197"/>
                <a:gd name="T37" fmla="*/ 65 h 282"/>
                <a:gd name="T38" fmla="*/ 5 w 197"/>
                <a:gd name="T39" fmla="*/ 86 h 282"/>
                <a:gd name="T40" fmla="*/ 5 w 197"/>
                <a:gd name="T41" fmla="*/ 91 h 282"/>
                <a:gd name="T42" fmla="*/ 5 w 197"/>
                <a:gd name="T43" fmla="*/ 137 h 282"/>
                <a:gd name="T44" fmla="*/ 5 w 197"/>
                <a:gd name="T45" fmla="*/ 166 h 282"/>
                <a:gd name="T46" fmla="*/ 5 w 197"/>
                <a:gd name="T47" fmla="*/ 188 h 282"/>
                <a:gd name="T48" fmla="*/ 5 w 197"/>
                <a:gd name="T49" fmla="*/ 198 h 282"/>
                <a:gd name="T50" fmla="*/ 5 w 197"/>
                <a:gd name="T51" fmla="*/ 202 h 282"/>
                <a:gd name="T52" fmla="*/ 5 w 197"/>
                <a:gd name="T53" fmla="*/ 214 h 282"/>
                <a:gd name="T54" fmla="*/ 5 w 197"/>
                <a:gd name="T55" fmla="*/ 266 h 282"/>
                <a:gd name="T56" fmla="*/ 5 w 197"/>
                <a:gd name="T57" fmla="*/ 266 h 282"/>
                <a:gd name="T58" fmla="*/ 5 w 197"/>
                <a:gd name="T59" fmla="*/ 282 h 282"/>
                <a:gd name="T60" fmla="*/ 5 w 197"/>
                <a:gd name="T61" fmla="*/ 282 h 282"/>
                <a:gd name="T62" fmla="*/ 5 w 197"/>
                <a:gd name="T63" fmla="*/ 266 h 282"/>
                <a:gd name="T64" fmla="*/ 5 w 197"/>
                <a:gd name="T65" fmla="*/ 259 h 282"/>
                <a:gd name="T66" fmla="*/ 0 w 197"/>
                <a:gd name="T67" fmla="*/ 204 h 282"/>
                <a:gd name="T68" fmla="*/ 5 w 197"/>
                <a:gd name="T69" fmla="*/ 207 h 28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7"/>
                <a:gd name="T106" fmla="*/ 0 h 282"/>
                <a:gd name="T107" fmla="*/ 197 w 197"/>
                <a:gd name="T108" fmla="*/ 282 h 28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7" h="282">
                  <a:moveTo>
                    <a:pt x="6" y="207"/>
                  </a:moveTo>
                  <a:lnTo>
                    <a:pt x="8" y="192"/>
                  </a:lnTo>
                  <a:lnTo>
                    <a:pt x="19" y="185"/>
                  </a:lnTo>
                  <a:lnTo>
                    <a:pt x="17" y="163"/>
                  </a:lnTo>
                  <a:lnTo>
                    <a:pt x="24" y="159"/>
                  </a:lnTo>
                  <a:lnTo>
                    <a:pt x="14" y="133"/>
                  </a:lnTo>
                  <a:lnTo>
                    <a:pt x="17" y="108"/>
                  </a:lnTo>
                  <a:lnTo>
                    <a:pt x="46" y="99"/>
                  </a:lnTo>
                  <a:lnTo>
                    <a:pt x="41" y="88"/>
                  </a:lnTo>
                  <a:lnTo>
                    <a:pt x="54" y="59"/>
                  </a:lnTo>
                  <a:lnTo>
                    <a:pt x="74" y="44"/>
                  </a:lnTo>
                  <a:lnTo>
                    <a:pt x="86" y="22"/>
                  </a:lnTo>
                  <a:lnTo>
                    <a:pt x="103" y="20"/>
                  </a:lnTo>
                  <a:lnTo>
                    <a:pt x="109" y="11"/>
                  </a:lnTo>
                  <a:lnTo>
                    <a:pt x="133" y="12"/>
                  </a:lnTo>
                  <a:lnTo>
                    <a:pt x="139" y="0"/>
                  </a:lnTo>
                  <a:lnTo>
                    <a:pt x="183" y="20"/>
                  </a:lnTo>
                  <a:lnTo>
                    <a:pt x="197" y="63"/>
                  </a:lnTo>
                  <a:lnTo>
                    <a:pt x="173" y="65"/>
                  </a:lnTo>
                  <a:lnTo>
                    <a:pt x="152" y="86"/>
                  </a:lnTo>
                  <a:lnTo>
                    <a:pt x="163" y="91"/>
                  </a:lnTo>
                  <a:lnTo>
                    <a:pt x="100" y="137"/>
                  </a:lnTo>
                  <a:lnTo>
                    <a:pt x="99" y="166"/>
                  </a:lnTo>
                  <a:lnTo>
                    <a:pt x="126" y="188"/>
                  </a:lnTo>
                  <a:lnTo>
                    <a:pt x="112" y="198"/>
                  </a:lnTo>
                  <a:lnTo>
                    <a:pt x="118" y="202"/>
                  </a:lnTo>
                  <a:lnTo>
                    <a:pt x="94" y="214"/>
                  </a:lnTo>
                  <a:lnTo>
                    <a:pt x="81" y="266"/>
                  </a:lnTo>
                  <a:lnTo>
                    <a:pt x="60" y="266"/>
                  </a:lnTo>
                  <a:lnTo>
                    <a:pt x="53" y="282"/>
                  </a:lnTo>
                  <a:lnTo>
                    <a:pt x="32" y="282"/>
                  </a:lnTo>
                  <a:lnTo>
                    <a:pt x="26" y="266"/>
                  </a:lnTo>
                  <a:lnTo>
                    <a:pt x="30" y="259"/>
                  </a:lnTo>
                  <a:lnTo>
                    <a:pt x="0" y="204"/>
                  </a:lnTo>
                  <a:lnTo>
                    <a:pt x="6" y="207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15" name="Freeform 272"/>
            <p:cNvSpPr>
              <a:spLocks noChangeAspect="1"/>
            </p:cNvSpPr>
            <p:nvPr/>
          </p:nvSpPr>
          <p:spPr bwMode="auto">
            <a:xfrm>
              <a:off x="4591323" y="1801830"/>
              <a:ext cx="217959" cy="179370"/>
            </a:xfrm>
            <a:custGeom>
              <a:avLst/>
              <a:gdLst>
                <a:gd name="T0" fmla="*/ 5 w 173"/>
                <a:gd name="T1" fmla="*/ 70 h 125"/>
                <a:gd name="T2" fmla="*/ 5 w 173"/>
                <a:gd name="T3" fmla="*/ 57 h 125"/>
                <a:gd name="T4" fmla="*/ 5 w 173"/>
                <a:gd name="T5" fmla="*/ 41 h 125"/>
                <a:gd name="T6" fmla="*/ 5 w 173"/>
                <a:gd name="T7" fmla="*/ 16 h 125"/>
                <a:gd name="T8" fmla="*/ 5 w 173"/>
                <a:gd name="T9" fmla="*/ 9 h 125"/>
                <a:gd name="T10" fmla="*/ 5 w 173"/>
                <a:gd name="T11" fmla="*/ 7 h 125"/>
                <a:gd name="T12" fmla="*/ 5 w 173"/>
                <a:gd name="T13" fmla="*/ 11 h 125"/>
                <a:gd name="T14" fmla="*/ 5 w 173"/>
                <a:gd name="T15" fmla="*/ 11 h 125"/>
                <a:gd name="T16" fmla="*/ 5 w 173"/>
                <a:gd name="T17" fmla="*/ 0 h 125"/>
                <a:gd name="T18" fmla="*/ 0 w 173"/>
                <a:gd name="T19" fmla="*/ 23 h 125"/>
                <a:gd name="T20" fmla="*/ 5 w 173"/>
                <a:gd name="T21" fmla="*/ 86 h 125"/>
                <a:gd name="T22" fmla="*/ 5 w 173"/>
                <a:gd name="T23" fmla="*/ 87 h 125"/>
                <a:gd name="T24" fmla="*/ 5 w 173"/>
                <a:gd name="T25" fmla="*/ 102 h 125"/>
                <a:gd name="T26" fmla="*/ 5 w 173"/>
                <a:gd name="T27" fmla="*/ 96 h 125"/>
                <a:gd name="T28" fmla="*/ 5 w 173"/>
                <a:gd name="T29" fmla="*/ 100 h 125"/>
                <a:gd name="T30" fmla="*/ 5 w 173"/>
                <a:gd name="T31" fmla="*/ 123 h 125"/>
                <a:gd name="T32" fmla="*/ 5 w 173"/>
                <a:gd name="T33" fmla="*/ 118 h 125"/>
                <a:gd name="T34" fmla="*/ 5 w 173"/>
                <a:gd name="T35" fmla="*/ 125 h 125"/>
                <a:gd name="T36" fmla="*/ 5 w 173"/>
                <a:gd name="T37" fmla="*/ 96 h 125"/>
                <a:gd name="T38" fmla="*/ 5 w 173"/>
                <a:gd name="T39" fmla="*/ 70 h 12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73"/>
                <a:gd name="T61" fmla="*/ 0 h 125"/>
                <a:gd name="T62" fmla="*/ 173 w 173"/>
                <a:gd name="T63" fmla="*/ 125 h 12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73" h="125">
                  <a:moveTo>
                    <a:pt x="163" y="70"/>
                  </a:moveTo>
                  <a:lnTo>
                    <a:pt x="159" y="57"/>
                  </a:lnTo>
                  <a:lnTo>
                    <a:pt x="167" y="41"/>
                  </a:lnTo>
                  <a:lnTo>
                    <a:pt x="159" y="16"/>
                  </a:lnTo>
                  <a:lnTo>
                    <a:pt x="147" y="9"/>
                  </a:lnTo>
                  <a:lnTo>
                    <a:pt x="92" y="7"/>
                  </a:lnTo>
                  <a:lnTo>
                    <a:pt x="87" y="11"/>
                  </a:lnTo>
                  <a:lnTo>
                    <a:pt x="77" y="11"/>
                  </a:lnTo>
                  <a:lnTo>
                    <a:pt x="70" y="0"/>
                  </a:lnTo>
                  <a:lnTo>
                    <a:pt x="0" y="23"/>
                  </a:lnTo>
                  <a:lnTo>
                    <a:pt x="11" y="86"/>
                  </a:lnTo>
                  <a:lnTo>
                    <a:pt x="29" y="87"/>
                  </a:lnTo>
                  <a:lnTo>
                    <a:pt x="47" y="102"/>
                  </a:lnTo>
                  <a:lnTo>
                    <a:pt x="49" y="96"/>
                  </a:lnTo>
                  <a:lnTo>
                    <a:pt x="62" y="100"/>
                  </a:lnTo>
                  <a:lnTo>
                    <a:pt x="105" y="123"/>
                  </a:lnTo>
                  <a:lnTo>
                    <a:pt x="131" y="118"/>
                  </a:lnTo>
                  <a:lnTo>
                    <a:pt x="148" y="125"/>
                  </a:lnTo>
                  <a:lnTo>
                    <a:pt x="173" y="96"/>
                  </a:lnTo>
                  <a:lnTo>
                    <a:pt x="163" y="7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16" name="Freeform 273"/>
            <p:cNvSpPr>
              <a:spLocks noChangeAspect="1"/>
            </p:cNvSpPr>
            <p:nvPr/>
          </p:nvSpPr>
          <p:spPr bwMode="auto">
            <a:xfrm>
              <a:off x="4731040" y="2008464"/>
              <a:ext cx="219356" cy="150671"/>
            </a:xfrm>
            <a:custGeom>
              <a:avLst/>
              <a:gdLst>
                <a:gd name="T0" fmla="*/ 5 w 174"/>
                <a:gd name="T1" fmla="*/ 59 h 105"/>
                <a:gd name="T2" fmla="*/ 5 w 174"/>
                <a:gd name="T3" fmla="*/ 66 h 105"/>
                <a:gd name="T4" fmla="*/ 5 w 174"/>
                <a:gd name="T5" fmla="*/ 66 h 105"/>
                <a:gd name="T6" fmla="*/ 5 w 174"/>
                <a:gd name="T7" fmla="*/ 78 h 105"/>
                <a:gd name="T8" fmla="*/ 5 w 174"/>
                <a:gd name="T9" fmla="*/ 90 h 105"/>
                <a:gd name="T10" fmla="*/ 5 w 174"/>
                <a:gd name="T11" fmla="*/ 103 h 105"/>
                <a:gd name="T12" fmla="*/ 5 w 174"/>
                <a:gd name="T13" fmla="*/ 95 h 105"/>
                <a:gd name="T14" fmla="*/ 5 w 174"/>
                <a:gd name="T15" fmla="*/ 105 h 105"/>
                <a:gd name="T16" fmla="*/ 5 w 174"/>
                <a:gd name="T17" fmla="*/ 102 h 105"/>
                <a:gd name="T18" fmla="*/ 5 w 174"/>
                <a:gd name="T19" fmla="*/ 94 h 105"/>
                <a:gd name="T20" fmla="*/ 5 w 174"/>
                <a:gd name="T21" fmla="*/ 80 h 105"/>
                <a:gd name="T22" fmla="*/ 5 w 174"/>
                <a:gd name="T23" fmla="*/ 77 h 105"/>
                <a:gd name="T24" fmla="*/ 0 w 174"/>
                <a:gd name="T25" fmla="*/ 48 h 105"/>
                <a:gd name="T26" fmla="*/ 2 w 174"/>
                <a:gd name="T27" fmla="*/ 48 h 105"/>
                <a:gd name="T28" fmla="*/ 5 w 174"/>
                <a:gd name="T29" fmla="*/ 43 h 105"/>
                <a:gd name="T30" fmla="*/ 5 w 174"/>
                <a:gd name="T31" fmla="*/ 13 h 105"/>
                <a:gd name="T32" fmla="*/ 5 w 174"/>
                <a:gd name="T33" fmla="*/ 6 h 105"/>
                <a:gd name="T34" fmla="*/ 5 w 174"/>
                <a:gd name="T35" fmla="*/ 10 h 105"/>
                <a:gd name="T36" fmla="*/ 5 w 174"/>
                <a:gd name="T37" fmla="*/ 0 h 105"/>
                <a:gd name="T38" fmla="*/ 5 w 174"/>
                <a:gd name="T39" fmla="*/ 3 h 105"/>
                <a:gd name="T40" fmla="*/ 5 w 174"/>
                <a:gd name="T41" fmla="*/ 32 h 105"/>
                <a:gd name="T42" fmla="*/ 5 w 174"/>
                <a:gd name="T43" fmla="*/ 59 h 10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74"/>
                <a:gd name="T67" fmla="*/ 0 h 105"/>
                <a:gd name="T68" fmla="*/ 174 w 174"/>
                <a:gd name="T69" fmla="*/ 105 h 10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74" h="105">
                  <a:moveTo>
                    <a:pt x="150" y="59"/>
                  </a:moveTo>
                  <a:lnTo>
                    <a:pt x="152" y="66"/>
                  </a:lnTo>
                  <a:lnTo>
                    <a:pt x="174" y="66"/>
                  </a:lnTo>
                  <a:lnTo>
                    <a:pt x="173" y="78"/>
                  </a:lnTo>
                  <a:lnTo>
                    <a:pt x="158" y="90"/>
                  </a:lnTo>
                  <a:lnTo>
                    <a:pt x="159" y="103"/>
                  </a:lnTo>
                  <a:lnTo>
                    <a:pt x="126" y="95"/>
                  </a:lnTo>
                  <a:lnTo>
                    <a:pt x="100" y="105"/>
                  </a:lnTo>
                  <a:lnTo>
                    <a:pt x="72" y="102"/>
                  </a:lnTo>
                  <a:lnTo>
                    <a:pt x="50" y="94"/>
                  </a:lnTo>
                  <a:lnTo>
                    <a:pt x="44" y="80"/>
                  </a:lnTo>
                  <a:lnTo>
                    <a:pt x="26" y="77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17" y="43"/>
                  </a:lnTo>
                  <a:lnTo>
                    <a:pt x="34" y="13"/>
                  </a:lnTo>
                  <a:lnTo>
                    <a:pt x="45" y="6"/>
                  </a:lnTo>
                  <a:lnTo>
                    <a:pt x="84" y="10"/>
                  </a:lnTo>
                  <a:lnTo>
                    <a:pt x="111" y="0"/>
                  </a:lnTo>
                  <a:lnTo>
                    <a:pt x="119" y="3"/>
                  </a:lnTo>
                  <a:lnTo>
                    <a:pt x="142" y="32"/>
                  </a:lnTo>
                  <a:lnTo>
                    <a:pt x="150" y="59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17" name="Freeform 274"/>
            <p:cNvSpPr>
              <a:spLocks noChangeAspect="1"/>
            </p:cNvSpPr>
            <p:nvPr/>
          </p:nvSpPr>
          <p:spPr bwMode="auto">
            <a:xfrm>
              <a:off x="4638827" y="1999854"/>
              <a:ext cx="149497" cy="88968"/>
            </a:xfrm>
            <a:custGeom>
              <a:avLst/>
              <a:gdLst>
                <a:gd name="T0" fmla="*/ 4 w 119"/>
                <a:gd name="T1" fmla="*/ 40 h 62"/>
                <a:gd name="T2" fmla="*/ 4 w 119"/>
                <a:gd name="T3" fmla="*/ 62 h 62"/>
                <a:gd name="T4" fmla="*/ 4 w 119"/>
                <a:gd name="T5" fmla="*/ 54 h 62"/>
                <a:gd name="T6" fmla="*/ 4 w 119"/>
                <a:gd name="T7" fmla="*/ 49 h 62"/>
                <a:gd name="T8" fmla="*/ 4 w 119"/>
                <a:gd name="T9" fmla="*/ 19 h 62"/>
                <a:gd name="T10" fmla="*/ 4 w 119"/>
                <a:gd name="T11" fmla="*/ 12 h 62"/>
                <a:gd name="T12" fmla="*/ 4 w 119"/>
                <a:gd name="T13" fmla="*/ 4 h 62"/>
                <a:gd name="T14" fmla="*/ 4 w 119"/>
                <a:gd name="T15" fmla="*/ 3 h 62"/>
                <a:gd name="T16" fmla="*/ 4 w 119"/>
                <a:gd name="T17" fmla="*/ 0 h 62"/>
                <a:gd name="T18" fmla="*/ 4 w 119"/>
                <a:gd name="T19" fmla="*/ 17 h 62"/>
                <a:gd name="T20" fmla="*/ 4 w 119"/>
                <a:gd name="T21" fmla="*/ 10 h 62"/>
                <a:gd name="T22" fmla="*/ 0 w 119"/>
                <a:gd name="T23" fmla="*/ 37 h 62"/>
                <a:gd name="T24" fmla="*/ 4 w 119"/>
                <a:gd name="T25" fmla="*/ 4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9"/>
                <a:gd name="T40" fmla="*/ 0 h 62"/>
                <a:gd name="T41" fmla="*/ 119 w 119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9" h="62">
                  <a:moveTo>
                    <a:pt x="5" y="40"/>
                  </a:moveTo>
                  <a:lnTo>
                    <a:pt x="34" y="62"/>
                  </a:lnTo>
                  <a:lnTo>
                    <a:pt x="76" y="54"/>
                  </a:lnTo>
                  <a:lnTo>
                    <a:pt x="91" y="49"/>
                  </a:lnTo>
                  <a:lnTo>
                    <a:pt x="108" y="19"/>
                  </a:lnTo>
                  <a:lnTo>
                    <a:pt x="119" y="12"/>
                  </a:lnTo>
                  <a:lnTo>
                    <a:pt x="107" y="4"/>
                  </a:lnTo>
                  <a:lnTo>
                    <a:pt x="106" y="3"/>
                  </a:lnTo>
                  <a:lnTo>
                    <a:pt x="82" y="0"/>
                  </a:lnTo>
                  <a:lnTo>
                    <a:pt x="39" y="17"/>
                  </a:lnTo>
                  <a:lnTo>
                    <a:pt x="19" y="10"/>
                  </a:lnTo>
                  <a:lnTo>
                    <a:pt x="0" y="37"/>
                  </a:lnTo>
                  <a:lnTo>
                    <a:pt x="5" y="40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18" name="Freeform 275"/>
            <p:cNvSpPr>
              <a:spLocks noChangeAspect="1"/>
            </p:cNvSpPr>
            <p:nvPr/>
          </p:nvSpPr>
          <p:spPr bwMode="auto">
            <a:xfrm>
              <a:off x="4413883" y="1800395"/>
              <a:ext cx="190015" cy="233899"/>
            </a:xfrm>
            <a:custGeom>
              <a:avLst/>
              <a:gdLst>
                <a:gd name="T0" fmla="*/ 4 w 152"/>
                <a:gd name="T1" fmla="*/ 13 h 163"/>
                <a:gd name="T2" fmla="*/ 4 w 152"/>
                <a:gd name="T3" fmla="*/ 0 h 163"/>
                <a:gd name="T4" fmla="*/ 4 w 152"/>
                <a:gd name="T5" fmla="*/ 0 h 163"/>
                <a:gd name="T6" fmla="*/ 4 w 152"/>
                <a:gd name="T7" fmla="*/ 8 h 163"/>
                <a:gd name="T8" fmla="*/ 4 w 152"/>
                <a:gd name="T9" fmla="*/ 30 h 163"/>
                <a:gd name="T10" fmla="*/ 4 w 152"/>
                <a:gd name="T11" fmla="*/ 27 h 163"/>
                <a:gd name="T12" fmla="*/ 4 w 152"/>
                <a:gd name="T13" fmla="*/ 51 h 163"/>
                <a:gd name="T14" fmla="*/ 4 w 152"/>
                <a:gd name="T15" fmla="*/ 56 h 163"/>
                <a:gd name="T16" fmla="*/ 0 w 152"/>
                <a:gd name="T17" fmla="*/ 67 h 163"/>
                <a:gd name="T18" fmla="*/ 0 w 152"/>
                <a:gd name="T19" fmla="*/ 90 h 163"/>
                <a:gd name="T20" fmla="*/ 0 w 152"/>
                <a:gd name="T21" fmla="*/ 103 h 163"/>
                <a:gd name="T22" fmla="*/ 4 w 152"/>
                <a:gd name="T23" fmla="*/ 116 h 163"/>
                <a:gd name="T24" fmla="*/ 4 w 152"/>
                <a:gd name="T25" fmla="*/ 132 h 163"/>
                <a:gd name="T26" fmla="*/ 4 w 152"/>
                <a:gd name="T27" fmla="*/ 159 h 163"/>
                <a:gd name="T28" fmla="*/ 4 w 152"/>
                <a:gd name="T29" fmla="*/ 160 h 163"/>
                <a:gd name="T30" fmla="*/ 4 w 152"/>
                <a:gd name="T31" fmla="*/ 163 h 163"/>
                <a:gd name="T32" fmla="*/ 4 w 152"/>
                <a:gd name="T33" fmla="*/ 158 h 163"/>
                <a:gd name="T34" fmla="*/ 4 w 152"/>
                <a:gd name="T35" fmla="*/ 149 h 163"/>
                <a:gd name="T36" fmla="*/ 4 w 152"/>
                <a:gd name="T37" fmla="*/ 134 h 163"/>
                <a:gd name="T38" fmla="*/ 4 w 152"/>
                <a:gd name="T39" fmla="*/ 118 h 163"/>
                <a:gd name="T40" fmla="*/ 4 w 152"/>
                <a:gd name="T41" fmla="*/ 99 h 163"/>
                <a:gd name="T42" fmla="*/ 4 w 152"/>
                <a:gd name="T43" fmla="*/ 81 h 163"/>
                <a:gd name="T44" fmla="*/ 4 w 152"/>
                <a:gd name="T45" fmla="*/ 87 h 163"/>
                <a:gd name="T46" fmla="*/ 4 w 152"/>
                <a:gd name="T47" fmla="*/ 24 h 163"/>
                <a:gd name="T48" fmla="*/ 4 w 152"/>
                <a:gd name="T49" fmla="*/ 16 h 163"/>
                <a:gd name="T50" fmla="*/ 4 w 152"/>
                <a:gd name="T51" fmla="*/ 12 h 163"/>
                <a:gd name="T52" fmla="*/ 4 w 152"/>
                <a:gd name="T53" fmla="*/ 5 h 163"/>
                <a:gd name="T54" fmla="*/ 4 w 152"/>
                <a:gd name="T55" fmla="*/ 22 h 163"/>
                <a:gd name="T56" fmla="*/ 4 w 152"/>
                <a:gd name="T57" fmla="*/ 13 h 16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52"/>
                <a:gd name="T88" fmla="*/ 0 h 163"/>
                <a:gd name="T89" fmla="*/ 152 w 152"/>
                <a:gd name="T90" fmla="*/ 163 h 16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52" h="163">
                  <a:moveTo>
                    <a:pt x="86" y="13"/>
                  </a:moveTo>
                  <a:lnTo>
                    <a:pt x="63" y="0"/>
                  </a:lnTo>
                  <a:lnTo>
                    <a:pt x="51" y="0"/>
                  </a:lnTo>
                  <a:lnTo>
                    <a:pt x="53" y="8"/>
                  </a:lnTo>
                  <a:lnTo>
                    <a:pt x="45" y="30"/>
                  </a:lnTo>
                  <a:lnTo>
                    <a:pt x="24" y="27"/>
                  </a:lnTo>
                  <a:lnTo>
                    <a:pt x="12" y="51"/>
                  </a:lnTo>
                  <a:lnTo>
                    <a:pt x="18" y="56"/>
                  </a:lnTo>
                  <a:lnTo>
                    <a:pt x="0" y="67"/>
                  </a:lnTo>
                  <a:lnTo>
                    <a:pt x="0" y="90"/>
                  </a:lnTo>
                  <a:lnTo>
                    <a:pt x="0" y="103"/>
                  </a:lnTo>
                  <a:lnTo>
                    <a:pt x="4" y="116"/>
                  </a:lnTo>
                  <a:lnTo>
                    <a:pt x="34" y="132"/>
                  </a:lnTo>
                  <a:lnTo>
                    <a:pt x="24" y="159"/>
                  </a:lnTo>
                  <a:lnTo>
                    <a:pt x="26" y="160"/>
                  </a:lnTo>
                  <a:lnTo>
                    <a:pt x="59" y="163"/>
                  </a:lnTo>
                  <a:lnTo>
                    <a:pt x="121" y="158"/>
                  </a:lnTo>
                  <a:lnTo>
                    <a:pt x="119" y="149"/>
                  </a:lnTo>
                  <a:lnTo>
                    <a:pt x="136" y="134"/>
                  </a:lnTo>
                  <a:lnTo>
                    <a:pt x="114" y="118"/>
                  </a:lnTo>
                  <a:lnTo>
                    <a:pt x="104" y="99"/>
                  </a:lnTo>
                  <a:lnTo>
                    <a:pt x="144" y="81"/>
                  </a:lnTo>
                  <a:lnTo>
                    <a:pt x="152" y="87"/>
                  </a:lnTo>
                  <a:lnTo>
                    <a:pt x="141" y="24"/>
                  </a:lnTo>
                  <a:lnTo>
                    <a:pt x="126" y="16"/>
                  </a:lnTo>
                  <a:lnTo>
                    <a:pt x="132" y="12"/>
                  </a:lnTo>
                  <a:lnTo>
                    <a:pt x="127" y="5"/>
                  </a:lnTo>
                  <a:lnTo>
                    <a:pt x="85" y="22"/>
                  </a:lnTo>
                  <a:lnTo>
                    <a:pt x="86" y="13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19" name="Freeform 276"/>
            <p:cNvSpPr>
              <a:spLocks noChangeAspect="1"/>
            </p:cNvSpPr>
            <p:nvPr/>
          </p:nvSpPr>
          <p:spPr bwMode="auto">
            <a:xfrm>
              <a:off x="4425060" y="2047208"/>
              <a:ext cx="273846" cy="299907"/>
            </a:xfrm>
            <a:custGeom>
              <a:avLst/>
              <a:gdLst>
                <a:gd name="T0" fmla="*/ 0 w 216"/>
                <a:gd name="T1" fmla="*/ 50 h 209"/>
                <a:gd name="T2" fmla="*/ 5 w 216"/>
                <a:gd name="T3" fmla="*/ 27 h 209"/>
                <a:gd name="T4" fmla="*/ 5 w 216"/>
                <a:gd name="T5" fmla="*/ 16 h 209"/>
                <a:gd name="T6" fmla="*/ 5 w 216"/>
                <a:gd name="T7" fmla="*/ 24 h 209"/>
                <a:gd name="T8" fmla="*/ 5 w 216"/>
                <a:gd name="T9" fmla="*/ 15 h 209"/>
                <a:gd name="T10" fmla="*/ 5 w 216"/>
                <a:gd name="T11" fmla="*/ 17 h 209"/>
                <a:gd name="T12" fmla="*/ 5 w 216"/>
                <a:gd name="T13" fmla="*/ 5 h 209"/>
                <a:gd name="T14" fmla="*/ 5 w 216"/>
                <a:gd name="T15" fmla="*/ 5 h 209"/>
                <a:gd name="T16" fmla="*/ 5 w 216"/>
                <a:gd name="T17" fmla="*/ 0 h 209"/>
                <a:gd name="T18" fmla="*/ 5 w 216"/>
                <a:gd name="T19" fmla="*/ 6 h 209"/>
                <a:gd name="T20" fmla="*/ 5 w 216"/>
                <a:gd name="T21" fmla="*/ 13 h 209"/>
                <a:gd name="T22" fmla="*/ 5 w 216"/>
                <a:gd name="T23" fmla="*/ 21 h 209"/>
                <a:gd name="T24" fmla="*/ 5 w 216"/>
                <a:gd name="T25" fmla="*/ 33 h 209"/>
                <a:gd name="T26" fmla="*/ 5 w 216"/>
                <a:gd name="T27" fmla="*/ 34 h 209"/>
                <a:gd name="T28" fmla="*/ 5 w 216"/>
                <a:gd name="T29" fmla="*/ 35 h 209"/>
                <a:gd name="T30" fmla="*/ 5 w 216"/>
                <a:gd name="T31" fmla="*/ 30 h 209"/>
                <a:gd name="T32" fmla="*/ 5 w 216"/>
                <a:gd name="T33" fmla="*/ 35 h 209"/>
                <a:gd name="T34" fmla="*/ 5 w 216"/>
                <a:gd name="T35" fmla="*/ 65 h 209"/>
                <a:gd name="T36" fmla="*/ 5 w 216"/>
                <a:gd name="T37" fmla="*/ 84 h 209"/>
                <a:gd name="T38" fmla="*/ 5 w 216"/>
                <a:gd name="T39" fmla="*/ 108 h 209"/>
                <a:gd name="T40" fmla="*/ 5 w 216"/>
                <a:gd name="T41" fmla="*/ 120 h 209"/>
                <a:gd name="T42" fmla="*/ 5 w 216"/>
                <a:gd name="T43" fmla="*/ 120 h 209"/>
                <a:gd name="T44" fmla="*/ 5 w 216"/>
                <a:gd name="T45" fmla="*/ 127 h 209"/>
                <a:gd name="T46" fmla="*/ 5 w 216"/>
                <a:gd name="T47" fmla="*/ 158 h 209"/>
                <a:gd name="T48" fmla="*/ 5 w 216"/>
                <a:gd name="T49" fmla="*/ 165 h 209"/>
                <a:gd name="T50" fmla="*/ 5 w 216"/>
                <a:gd name="T51" fmla="*/ 150 h 209"/>
                <a:gd name="T52" fmla="*/ 5 w 216"/>
                <a:gd name="T53" fmla="*/ 170 h 209"/>
                <a:gd name="T54" fmla="*/ 5 w 216"/>
                <a:gd name="T55" fmla="*/ 175 h 209"/>
                <a:gd name="T56" fmla="*/ 5 w 216"/>
                <a:gd name="T57" fmla="*/ 184 h 209"/>
                <a:gd name="T58" fmla="*/ 5 w 216"/>
                <a:gd name="T59" fmla="*/ 188 h 209"/>
                <a:gd name="T60" fmla="*/ 5 w 216"/>
                <a:gd name="T61" fmla="*/ 209 h 209"/>
                <a:gd name="T62" fmla="*/ 5 w 216"/>
                <a:gd name="T63" fmla="*/ 209 h 209"/>
                <a:gd name="T64" fmla="*/ 5 w 216"/>
                <a:gd name="T65" fmla="*/ 188 h 209"/>
                <a:gd name="T66" fmla="*/ 5 w 216"/>
                <a:gd name="T67" fmla="*/ 161 h 209"/>
                <a:gd name="T68" fmla="*/ 5 w 216"/>
                <a:gd name="T69" fmla="*/ 133 h 209"/>
                <a:gd name="T70" fmla="*/ 5 w 216"/>
                <a:gd name="T71" fmla="*/ 127 h 209"/>
                <a:gd name="T72" fmla="*/ 5 w 216"/>
                <a:gd name="T73" fmla="*/ 108 h 209"/>
                <a:gd name="T74" fmla="*/ 5 w 216"/>
                <a:gd name="T75" fmla="*/ 108 h 209"/>
                <a:gd name="T76" fmla="*/ 5 w 216"/>
                <a:gd name="T77" fmla="*/ 70 h 209"/>
                <a:gd name="T78" fmla="*/ 5 w 216"/>
                <a:gd name="T79" fmla="*/ 63 h 209"/>
                <a:gd name="T80" fmla="*/ 5 w 216"/>
                <a:gd name="T81" fmla="*/ 74 h 209"/>
                <a:gd name="T82" fmla="*/ 0 w 216"/>
                <a:gd name="T83" fmla="*/ 50 h 20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16"/>
                <a:gd name="T127" fmla="*/ 0 h 209"/>
                <a:gd name="T128" fmla="*/ 216 w 216"/>
                <a:gd name="T129" fmla="*/ 209 h 20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16" h="209">
                  <a:moveTo>
                    <a:pt x="0" y="50"/>
                  </a:moveTo>
                  <a:lnTo>
                    <a:pt x="5" y="27"/>
                  </a:lnTo>
                  <a:lnTo>
                    <a:pt x="31" y="16"/>
                  </a:lnTo>
                  <a:lnTo>
                    <a:pt x="41" y="24"/>
                  </a:lnTo>
                  <a:lnTo>
                    <a:pt x="48" y="15"/>
                  </a:lnTo>
                  <a:lnTo>
                    <a:pt x="60" y="17"/>
                  </a:lnTo>
                  <a:lnTo>
                    <a:pt x="66" y="5"/>
                  </a:lnTo>
                  <a:lnTo>
                    <a:pt x="68" y="5"/>
                  </a:lnTo>
                  <a:lnTo>
                    <a:pt x="97" y="0"/>
                  </a:lnTo>
                  <a:lnTo>
                    <a:pt x="99" y="6"/>
                  </a:lnTo>
                  <a:lnTo>
                    <a:pt x="125" y="13"/>
                  </a:lnTo>
                  <a:lnTo>
                    <a:pt x="122" y="21"/>
                  </a:lnTo>
                  <a:lnTo>
                    <a:pt x="130" y="33"/>
                  </a:lnTo>
                  <a:lnTo>
                    <a:pt x="125" y="34"/>
                  </a:lnTo>
                  <a:lnTo>
                    <a:pt x="125" y="35"/>
                  </a:lnTo>
                  <a:lnTo>
                    <a:pt x="115" y="30"/>
                  </a:lnTo>
                  <a:lnTo>
                    <a:pt x="98" y="35"/>
                  </a:lnTo>
                  <a:lnTo>
                    <a:pt x="100" y="65"/>
                  </a:lnTo>
                  <a:lnTo>
                    <a:pt x="125" y="84"/>
                  </a:lnTo>
                  <a:lnTo>
                    <a:pt x="136" y="108"/>
                  </a:lnTo>
                  <a:lnTo>
                    <a:pt x="156" y="120"/>
                  </a:lnTo>
                  <a:lnTo>
                    <a:pt x="172" y="120"/>
                  </a:lnTo>
                  <a:lnTo>
                    <a:pt x="167" y="127"/>
                  </a:lnTo>
                  <a:lnTo>
                    <a:pt x="216" y="158"/>
                  </a:lnTo>
                  <a:lnTo>
                    <a:pt x="213" y="165"/>
                  </a:lnTo>
                  <a:lnTo>
                    <a:pt x="188" y="150"/>
                  </a:lnTo>
                  <a:lnTo>
                    <a:pt x="180" y="170"/>
                  </a:lnTo>
                  <a:lnTo>
                    <a:pt x="190" y="175"/>
                  </a:lnTo>
                  <a:lnTo>
                    <a:pt x="190" y="184"/>
                  </a:lnTo>
                  <a:lnTo>
                    <a:pt x="180" y="188"/>
                  </a:lnTo>
                  <a:lnTo>
                    <a:pt x="172" y="209"/>
                  </a:lnTo>
                  <a:lnTo>
                    <a:pt x="166" y="209"/>
                  </a:lnTo>
                  <a:lnTo>
                    <a:pt x="173" y="188"/>
                  </a:lnTo>
                  <a:lnTo>
                    <a:pt x="165" y="161"/>
                  </a:lnTo>
                  <a:lnTo>
                    <a:pt x="125" y="133"/>
                  </a:lnTo>
                  <a:lnTo>
                    <a:pt x="104" y="127"/>
                  </a:lnTo>
                  <a:lnTo>
                    <a:pt x="87" y="108"/>
                  </a:lnTo>
                  <a:lnTo>
                    <a:pt x="77" y="108"/>
                  </a:lnTo>
                  <a:lnTo>
                    <a:pt x="60" y="70"/>
                  </a:lnTo>
                  <a:lnTo>
                    <a:pt x="35" y="63"/>
                  </a:lnTo>
                  <a:lnTo>
                    <a:pt x="15" y="74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996633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20" name="Freeform 277"/>
            <p:cNvSpPr>
              <a:spLocks noChangeAspect="1"/>
            </p:cNvSpPr>
            <p:nvPr/>
          </p:nvSpPr>
          <p:spPr bwMode="auto">
            <a:xfrm>
              <a:off x="4851197" y="1153227"/>
              <a:ext cx="3115691" cy="1084831"/>
            </a:xfrm>
            <a:custGeom>
              <a:avLst/>
              <a:gdLst>
                <a:gd name="T0" fmla="*/ 5 w 2475"/>
                <a:gd name="T1" fmla="*/ 163 h 756"/>
                <a:gd name="T2" fmla="*/ 5 w 2475"/>
                <a:gd name="T3" fmla="*/ 167 h 756"/>
                <a:gd name="T4" fmla="*/ 5 w 2475"/>
                <a:gd name="T5" fmla="*/ 74 h 756"/>
                <a:gd name="T6" fmla="*/ 5 w 2475"/>
                <a:gd name="T7" fmla="*/ 173 h 756"/>
                <a:gd name="T8" fmla="*/ 5 w 2475"/>
                <a:gd name="T9" fmla="*/ 171 h 756"/>
                <a:gd name="T10" fmla="*/ 5 w 2475"/>
                <a:gd name="T11" fmla="*/ 196 h 756"/>
                <a:gd name="T12" fmla="*/ 5 w 2475"/>
                <a:gd name="T13" fmla="*/ 173 h 756"/>
                <a:gd name="T14" fmla="*/ 5 w 2475"/>
                <a:gd name="T15" fmla="*/ 228 h 756"/>
                <a:gd name="T16" fmla="*/ 5 w 2475"/>
                <a:gd name="T17" fmla="*/ 260 h 756"/>
                <a:gd name="T18" fmla="*/ 5 w 2475"/>
                <a:gd name="T19" fmla="*/ 185 h 756"/>
                <a:gd name="T20" fmla="*/ 2 w 2475"/>
                <a:gd name="T21" fmla="*/ 173 h 756"/>
                <a:gd name="T22" fmla="*/ 5 w 2475"/>
                <a:gd name="T23" fmla="*/ 264 h 756"/>
                <a:gd name="T24" fmla="*/ 5 w 2475"/>
                <a:gd name="T25" fmla="*/ 361 h 756"/>
                <a:gd name="T26" fmla="*/ 5 w 2475"/>
                <a:gd name="T27" fmla="*/ 452 h 756"/>
                <a:gd name="T28" fmla="*/ 5 w 2475"/>
                <a:gd name="T29" fmla="*/ 505 h 756"/>
                <a:gd name="T30" fmla="*/ 5 w 2475"/>
                <a:gd name="T31" fmla="*/ 558 h 756"/>
                <a:gd name="T32" fmla="*/ 5 w 2475"/>
                <a:gd name="T33" fmla="*/ 604 h 756"/>
                <a:gd name="T34" fmla="*/ 5 w 2475"/>
                <a:gd name="T35" fmla="*/ 662 h 756"/>
                <a:gd name="T36" fmla="*/ 5 w 2475"/>
                <a:gd name="T37" fmla="*/ 725 h 756"/>
                <a:gd name="T38" fmla="*/ 5 w 2475"/>
                <a:gd name="T39" fmla="*/ 716 h 756"/>
                <a:gd name="T40" fmla="*/ 5 w 2475"/>
                <a:gd name="T41" fmla="*/ 634 h 756"/>
                <a:gd name="T42" fmla="*/ 5 w 2475"/>
                <a:gd name="T43" fmla="*/ 547 h 756"/>
                <a:gd name="T44" fmla="*/ 5 w 2475"/>
                <a:gd name="T45" fmla="*/ 525 h 756"/>
                <a:gd name="T46" fmla="*/ 5 w 2475"/>
                <a:gd name="T47" fmla="*/ 535 h 756"/>
                <a:gd name="T48" fmla="*/ 5 w 2475"/>
                <a:gd name="T49" fmla="*/ 508 h 756"/>
                <a:gd name="T50" fmla="*/ 5 w 2475"/>
                <a:gd name="T51" fmla="*/ 471 h 756"/>
                <a:gd name="T52" fmla="*/ 5 w 2475"/>
                <a:gd name="T53" fmla="*/ 467 h 756"/>
                <a:gd name="T54" fmla="*/ 5 w 2475"/>
                <a:gd name="T55" fmla="*/ 467 h 756"/>
                <a:gd name="T56" fmla="*/ 5 w 2475"/>
                <a:gd name="T57" fmla="*/ 542 h 756"/>
                <a:gd name="T58" fmla="*/ 5 w 2475"/>
                <a:gd name="T59" fmla="*/ 588 h 756"/>
                <a:gd name="T60" fmla="*/ 5 w 2475"/>
                <a:gd name="T61" fmla="*/ 558 h 756"/>
                <a:gd name="T62" fmla="*/ 5 w 2475"/>
                <a:gd name="T63" fmla="*/ 545 h 756"/>
                <a:gd name="T64" fmla="*/ 5 w 2475"/>
                <a:gd name="T65" fmla="*/ 556 h 756"/>
                <a:gd name="T66" fmla="*/ 5 w 2475"/>
                <a:gd name="T67" fmla="*/ 496 h 756"/>
                <a:gd name="T68" fmla="*/ 5 w 2475"/>
                <a:gd name="T69" fmla="*/ 610 h 756"/>
                <a:gd name="T70" fmla="*/ 5 w 2475"/>
                <a:gd name="T71" fmla="*/ 679 h 756"/>
                <a:gd name="T72" fmla="*/ 5 w 2475"/>
                <a:gd name="T73" fmla="*/ 707 h 756"/>
                <a:gd name="T74" fmla="*/ 5 w 2475"/>
                <a:gd name="T75" fmla="*/ 467 h 756"/>
                <a:gd name="T76" fmla="*/ 5 w 2475"/>
                <a:gd name="T77" fmla="*/ 475 h 756"/>
                <a:gd name="T78" fmla="*/ 5 w 2475"/>
                <a:gd name="T79" fmla="*/ 357 h 756"/>
                <a:gd name="T80" fmla="*/ 5 w 2475"/>
                <a:gd name="T81" fmla="*/ 351 h 756"/>
                <a:gd name="T82" fmla="*/ 5 w 2475"/>
                <a:gd name="T83" fmla="*/ 308 h 756"/>
                <a:gd name="T84" fmla="*/ 5 w 2475"/>
                <a:gd name="T85" fmla="*/ 333 h 756"/>
                <a:gd name="T86" fmla="*/ 5 w 2475"/>
                <a:gd name="T87" fmla="*/ 537 h 756"/>
                <a:gd name="T88" fmla="*/ 5 w 2475"/>
                <a:gd name="T89" fmla="*/ 461 h 756"/>
                <a:gd name="T90" fmla="*/ 5 w 2475"/>
                <a:gd name="T91" fmla="*/ 391 h 756"/>
                <a:gd name="T92" fmla="*/ 5 w 2475"/>
                <a:gd name="T93" fmla="*/ 334 h 756"/>
                <a:gd name="T94" fmla="*/ 5 w 2475"/>
                <a:gd name="T95" fmla="*/ 298 h 756"/>
                <a:gd name="T96" fmla="*/ 5 w 2475"/>
                <a:gd name="T97" fmla="*/ 237 h 756"/>
                <a:gd name="T98" fmla="*/ 5 w 2475"/>
                <a:gd name="T99" fmla="*/ 253 h 756"/>
                <a:gd name="T100" fmla="*/ 5 w 2475"/>
                <a:gd name="T101" fmla="*/ 157 h 756"/>
                <a:gd name="T102" fmla="*/ 5 w 2475"/>
                <a:gd name="T103" fmla="*/ 148 h 756"/>
                <a:gd name="T104" fmla="*/ 5 w 2475"/>
                <a:gd name="T105" fmla="*/ 122 h 756"/>
                <a:gd name="T106" fmla="*/ 5 w 2475"/>
                <a:gd name="T107" fmla="*/ 111 h 756"/>
                <a:gd name="T108" fmla="*/ 5 w 2475"/>
                <a:gd name="T109" fmla="*/ 105 h 756"/>
                <a:gd name="T110" fmla="*/ 5 w 2475"/>
                <a:gd name="T111" fmla="*/ 81 h 756"/>
                <a:gd name="T112" fmla="*/ 5 w 2475"/>
                <a:gd name="T113" fmla="*/ 71 h 756"/>
                <a:gd name="T114" fmla="*/ 5 w 2475"/>
                <a:gd name="T115" fmla="*/ 42 h 756"/>
                <a:gd name="T116" fmla="*/ 5 w 2475"/>
                <a:gd name="T117" fmla="*/ 0 h 756"/>
                <a:gd name="T118" fmla="*/ 5 w 2475"/>
                <a:gd name="T119" fmla="*/ 66 h 756"/>
                <a:gd name="T120" fmla="*/ 5 w 2475"/>
                <a:gd name="T121" fmla="*/ 104 h 7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75"/>
                <a:gd name="T184" fmla="*/ 0 h 756"/>
                <a:gd name="T185" fmla="*/ 2475 w 2475"/>
                <a:gd name="T186" fmla="*/ 756 h 75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75" h="756">
                  <a:moveTo>
                    <a:pt x="650" y="95"/>
                  </a:moveTo>
                  <a:lnTo>
                    <a:pt x="633" y="115"/>
                  </a:lnTo>
                  <a:lnTo>
                    <a:pt x="658" y="128"/>
                  </a:lnTo>
                  <a:lnTo>
                    <a:pt x="658" y="146"/>
                  </a:lnTo>
                  <a:lnTo>
                    <a:pt x="668" y="157"/>
                  </a:lnTo>
                  <a:lnTo>
                    <a:pt x="681" y="163"/>
                  </a:lnTo>
                  <a:lnTo>
                    <a:pt x="697" y="185"/>
                  </a:lnTo>
                  <a:lnTo>
                    <a:pt x="685" y="201"/>
                  </a:lnTo>
                  <a:lnTo>
                    <a:pt x="662" y="213"/>
                  </a:lnTo>
                  <a:lnTo>
                    <a:pt x="641" y="205"/>
                  </a:lnTo>
                  <a:lnTo>
                    <a:pt x="666" y="191"/>
                  </a:lnTo>
                  <a:lnTo>
                    <a:pt x="668" y="167"/>
                  </a:lnTo>
                  <a:lnTo>
                    <a:pt x="649" y="159"/>
                  </a:lnTo>
                  <a:lnTo>
                    <a:pt x="628" y="120"/>
                  </a:lnTo>
                  <a:lnTo>
                    <a:pt x="612" y="111"/>
                  </a:lnTo>
                  <a:lnTo>
                    <a:pt x="612" y="89"/>
                  </a:lnTo>
                  <a:lnTo>
                    <a:pt x="589" y="81"/>
                  </a:lnTo>
                  <a:lnTo>
                    <a:pt x="579" y="74"/>
                  </a:lnTo>
                  <a:lnTo>
                    <a:pt x="565" y="77"/>
                  </a:lnTo>
                  <a:lnTo>
                    <a:pt x="545" y="116"/>
                  </a:lnTo>
                  <a:lnTo>
                    <a:pt x="557" y="132"/>
                  </a:lnTo>
                  <a:lnTo>
                    <a:pt x="558" y="146"/>
                  </a:lnTo>
                  <a:lnTo>
                    <a:pt x="600" y="163"/>
                  </a:lnTo>
                  <a:lnTo>
                    <a:pt x="597" y="173"/>
                  </a:lnTo>
                  <a:lnTo>
                    <a:pt x="437" y="131"/>
                  </a:lnTo>
                  <a:lnTo>
                    <a:pt x="433" y="137"/>
                  </a:lnTo>
                  <a:lnTo>
                    <a:pt x="479" y="159"/>
                  </a:lnTo>
                  <a:lnTo>
                    <a:pt x="463" y="166"/>
                  </a:lnTo>
                  <a:lnTo>
                    <a:pt x="466" y="172"/>
                  </a:lnTo>
                  <a:lnTo>
                    <a:pt x="454" y="171"/>
                  </a:lnTo>
                  <a:lnTo>
                    <a:pt x="449" y="159"/>
                  </a:lnTo>
                  <a:lnTo>
                    <a:pt x="395" y="168"/>
                  </a:lnTo>
                  <a:lnTo>
                    <a:pt x="393" y="176"/>
                  </a:lnTo>
                  <a:lnTo>
                    <a:pt x="374" y="159"/>
                  </a:lnTo>
                  <a:lnTo>
                    <a:pt x="297" y="185"/>
                  </a:lnTo>
                  <a:lnTo>
                    <a:pt x="301" y="196"/>
                  </a:lnTo>
                  <a:lnTo>
                    <a:pt x="289" y="201"/>
                  </a:lnTo>
                  <a:lnTo>
                    <a:pt x="250" y="191"/>
                  </a:lnTo>
                  <a:lnTo>
                    <a:pt x="273" y="182"/>
                  </a:lnTo>
                  <a:lnTo>
                    <a:pt x="264" y="173"/>
                  </a:lnTo>
                  <a:lnTo>
                    <a:pt x="218" y="166"/>
                  </a:lnTo>
                  <a:lnTo>
                    <a:pt x="234" y="173"/>
                  </a:lnTo>
                  <a:lnTo>
                    <a:pt x="234" y="195"/>
                  </a:lnTo>
                  <a:lnTo>
                    <a:pt x="245" y="199"/>
                  </a:lnTo>
                  <a:lnTo>
                    <a:pt x="249" y="208"/>
                  </a:lnTo>
                  <a:lnTo>
                    <a:pt x="241" y="214"/>
                  </a:lnTo>
                  <a:lnTo>
                    <a:pt x="213" y="209"/>
                  </a:lnTo>
                  <a:lnTo>
                    <a:pt x="179" y="228"/>
                  </a:lnTo>
                  <a:lnTo>
                    <a:pt x="199" y="247"/>
                  </a:lnTo>
                  <a:lnTo>
                    <a:pt x="139" y="235"/>
                  </a:lnTo>
                  <a:lnTo>
                    <a:pt x="133" y="241"/>
                  </a:lnTo>
                  <a:lnTo>
                    <a:pt x="159" y="250"/>
                  </a:lnTo>
                  <a:lnTo>
                    <a:pt x="161" y="260"/>
                  </a:lnTo>
                  <a:lnTo>
                    <a:pt x="142" y="260"/>
                  </a:lnTo>
                  <a:lnTo>
                    <a:pt x="107" y="247"/>
                  </a:lnTo>
                  <a:lnTo>
                    <a:pt x="101" y="218"/>
                  </a:lnTo>
                  <a:lnTo>
                    <a:pt x="61" y="195"/>
                  </a:lnTo>
                  <a:lnTo>
                    <a:pt x="156" y="217"/>
                  </a:lnTo>
                  <a:lnTo>
                    <a:pt x="198" y="203"/>
                  </a:lnTo>
                  <a:lnTo>
                    <a:pt x="188" y="185"/>
                  </a:lnTo>
                  <a:lnTo>
                    <a:pt x="124" y="161"/>
                  </a:lnTo>
                  <a:lnTo>
                    <a:pt x="63" y="144"/>
                  </a:lnTo>
                  <a:lnTo>
                    <a:pt x="33" y="145"/>
                  </a:lnTo>
                  <a:lnTo>
                    <a:pt x="7" y="159"/>
                  </a:lnTo>
                  <a:lnTo>
                    <a:pt x="1" y="161"/>
                  </a:lnTo>
                  <a:lnTo>
                    <a:pt x="2" y="173"/>
                  </a:lnTo>
                  <a:lnTo>
                    <a:pt x="24" y="184"/>
                  </a:lnTo>
                  <a:lnTo>
                    <a:pt x="17" y="197"/>
                  </a:lnTo>
                  <a:lnTo>
                    <a:pt x="31" y="219"/>
                  </a:lnTo>
                  <a:lnTo>
                    <a:pt x="29" y="239"/>
                  </a:lnTo>
                  <a:lnTo>
                    <a:pt x="45" y="253"/>
                  </a:lnTo>
                  <a:lnTo>
                    <a:pt x="41" y="264"/>
                  </a:lnTo>
                  <a:lnTo>
                    <a:pt x="62" y="285"/>
                  </a:lnTo>
                  <a:lnTo>
                    <a:pt x="8" y="330"/>
                  </a:lnTo>
                  <a:lnTo>
                    <a:pt x="19" y="330"/>
                  </a:lnTo>
                  <a:lnTo>
                    <a:pt x="35" y="342"/>
                  </a:lnTo>
                  <a:lnTo>
                    <a:pt x="16" y="354"/>
                  </a:lnTo>
                  <a:lnTo>
                    <a:pt x="13" y="361"/>
                  </a:lnTo>
                  <a:lnTo>
                    <a:pt x="0" y="366"/>
                  </a:lnTo>
                  <a:lnTo>
                    <a:pt x="15" y="383"/>
                  </a:lnTo>
                  <a:lnTo>
                    <a:pt x="11" y="391"/>
                  </a:lnTo>
                  <a:lnTo>
                    <a:pt x="28" y="422"/>
                  </a:lnTo>
                  <a:lnTo>
                    <a:pt x="75" y="435"/>
                  </a:lnTo>
                  <a:lnTo>
                    <a:pt x="76" y="452"/>
                  </a:lnTo>
                  <a:lnTo>
                    <a:pt x="96" y="474"/>
                  </a:lnTo>
                  <a:lnTo>
                    <a:pt x="112" y="479"/>
                  </a:lnTo>
                  <a:lnTo>
                    <a:pt x="104" y="488"/>
                  </a:lnTo>
                  <a:lnTo>
                    <a:pt x="87" y="488"/>
                  </a:lnTo>
                  <a:lnTo>
                    <a:pt x="99" y="510"/>
                  </a:lnTo>
                  <a:lnTo>
                    <a:pt x="133" y="505"/>
                  </a:lnTo>
                  <a:lnTo>
                    <a:pt x="146" y="516"/>
                  </a:lnTo>
                  <a:lnTo>
                    <a:pt x="144" y="527"/>
                  </a:lnTo>
                  <a:lnTo>
                    <a:pt x="159" y="530"/>
                  </a:lnTo>
                  <a:lnTo>
                    <a:pt x="171" y="547"/>
                  </a:lnTo>
                  <a:lnTo>
                    <a:pt x="204" y="547"/>
                  </a:lnTo>
                  <a:lnTo>
                    <a:pt x="215" y="558"/>
                  </a:lnTo>
                  <a:lnTo>
                    <a:pt x="253" y="567"/>
                  </a:lnTo>
                  <a:lnTo>
                    <a:pt x="247" y="579"/>
                  </a:lnTo>
                  <a:lnTo>
                    <a:pt x="255" y="583"/>
                  </a:lnTo>
                  <a:lnTo>
                    <a:pt x="249" y="585"/>
                  </a:lnTo>
                  <a:lnTo>
                    <a:pt x="252" y="606"/>
                  </a:lnTo>
                  <a:lnTo>
                    <a:pt x="236" y="604"/>
                  </a:lnTo>
                  <a:lnTo>
                    <a:pt x="228" y="611"/>
                  </a:lnTo>
                  <a:lnTo>
                    <a:pt x="228" y="623"/>
                  </a:lnTo>
                  <a:lnTo>
                    <a:pt x="249" y="623"/>
                  </a:lnTo>
                  <a:lnTo>
                    <a:pt x="221" y="633"/>
                  </a:lnTo>
                  <a:lnTo>
                    <a:pt x="232" y="641"/>
                  </a:lnTo>
                  <a:lnTo>
                    <a:pt x="218" y="662"/>
                  </a:lnTo>
                  <a:lnTo>
                    <a:pt x="209" y="663"/>
                  </a:lnTo>
                  <a:lnTo>
                    <a:pt x="209" y="668"/>
                  </a:lnTo>
                  <a:lnTo>
                    <a:pt x="212" y="668"/>
                  </a:lnTo>
                  <a:lnTo>
                    <a:pt x="272" y="705"/>
                  </a:lnTo>
                  <a:lnTo>
                    <a:pt x="325" y="711"/>
                  </a:lnTo>
                  <a:lnTo>
                    <a:pt x="346" y="725"/>
                  </a:lnTo>
                  <a:lnTo>
                    <a:pt x="369" y="722"/>
                  </a:lnTo>
                  <a:lnTo>
                    <a:pt x="393" y="741"/>
                  </a:lnTo>
                  <a:lnTo>
                    <a:pt x="412" y="755"/>
                  </a:lnTo>
                  <a:lnTo>
                    <a:pt x="423" y="756"/>
                  </a:lnTo>
                  <a:lnTo>
                    <a:pt x="433" y="742"/>
                  </a:lnTo>
                  <a:lnTo>
                    <a:pt x="410" y="716"/>
                  </a:lnTo>
                  <a:lnTo>
                    <a:pt x="408" y="699"/>
                  </a:lnTo>
                  <a:lnTo>
                    <a:pt x="389" y="675"/>
                  </a:lnTo>
                  <a:lnTo>
                    <a:pt x="401" y="646"/>
                  </a:lnTo>
                  <a:lnTo>
                    <a:pt x="414" y="650"/>
                  </a:lnTo>
                  <a:lnTo>
                    <a:pt x="426" y="640"/>
                  </a:lnTo>
                  <a:lnTo>
                    <a:pt x="411" y="634"/>
                  </a:lnTo>
                  <a:lnTo>
                    <a:pt x="421" y="630"/>
                  </a:lnTo>
                  <a:lnTo>
                    <a:pt x="404" y="609"/>
                  </a:lnTo>
                  <a:lnTo>
                    <a:pt x="389" y="609"/>
                  </a:lnTo>
                  <a:lnTo>
                    <a:pt x="381" y="595"/>
                  </a:lnTo>
                  <a:lnTo>
                    <a:pt x="371" y="593"/>
                  </a:lnTo>
                  <a:lnTo>
                    <a:pt x="380" y="547"/>
                  </a:lnTo>
                  <a:lnTo>
                    <a:pt x="398" y="562"/>
                  </a:lnTo>
                  <a:lnTo>
                    <a:pt x="405" y="558"/>
                  </a:lnTo>
                  <a:lnTo>
                    <a:pt x="397" y="544"/>
                  </a:lnTo>
                  <a:lnTo>
                    <a:pt x="410" y="533"/>
                  </a:lnTo>
                  <a:lnTo>
                    <a:pt x="429" y="521"/>
                  </a:lnTo>
                  <a:lnTo>
                    <a:pt x="448" y="525"/>
                  </a:lnTo>
                  <a:lnTo>
                    <a:pt x="455" y="519"/>
                  </a:lnTo>
                  <a:lnTo>
                    <a:pt x="479" y="525"/>
                  </a:lnTo>
                  <a:lnTo>
                    <a:pt x="502" y="545"/>
                  </a:lnTo>
                  <a:lnTo>
                    <a:pt x="502" y="535"/>
                  </a:lnTo>
                  <a:lnTo>
                    <a:pt x="523" y="544"/>
                  </a:lnTo>
                  <a:lnTo>
                    <a:pt x="539" y="535"/>
                  </a:lnTo>
                  <a:lnTo>
                    <a:pt x="564" y="533"/>
                  </a:lnTo>
                  <a:lnTo>
                    <a:pt x="587" y="543"/>
                  </a:lnTo>
                  <a:lnTo>
                    <a:pt x="616" y="543"/>
                  </a:lnTo>
                  <a:lnTo>
                    <a:pt x="623" y="528"/>
                  </a:lnTo>
                  <a:lnTo>
                    <a:pt x="591" y="516"/>
                  </a:lnTo>
                  <a:lnTo>
                    <a:pt x="605" y="508"/>
                  </a:lnTo>
                  <a:lnTo>
                    <a:pt x="597" y="497"/>
                  </a:lnTo>
                  <a:lnTo>
                    <a:pt x="603" y="492"/>
                  </a:lnTo>
                  <a:lnTo>
                    <a:pt x="606" y="479"/>
                  </a:lnTo>
                  <a:lnTo>
                    <a:pt x="597" y="479"/>
                  </a:lnTo>
                  <a:lnTo>
                    <a:pt x="593" y="470"/>
                  </a:lnTo>
                  <a:lnTo>
                    <a:pt x="621" y="471"/>
                  </a:lnTo>
                  <a:lnTo>
                    <a:pt x="674" y="454"/>
                  </a:lnTo>
                  <a:lnTo>
                    <a:pt x="709" y="448"/>
                  </a:lnTo>
                  <a:lnTo>
                    <a:pt x="719" y="439"/>
                  </a:lnTo>
                  <a:lnTo>
                    <a:pt x="749" y="442"/>
                  </a:lnTo>
                  <a:lnTo>
                    <a:pt x="764" y="454"/>
                  </a:lnTo>
                  <a:lnTo>
                    <a:pt x="766" y="467"/>
                  </a:lnTo>
                  <a:lnTo>
                    <a:pt x="781" y="462"/>
                  </a:lnTo>
                  <a:lnTo>
                    <a:pt x="789" y="470"/>
                  </a:lnTo>
                  <a:lnTo>
                    <a:pt x="810" y="469"/>
                  </a:lnTo>
                  <a:lnTo>
                    <a:pt x="811" y="481"/>
                  </a:lnTo>
                  <a:lnTo>
                    <a:pt x="828" y="480"/>
                  </a:lnTo>
                  <a:lnTo>
                    <a:pt x="842" y="467"/>
                  </a:lnTo>
                  <a:lnTo>
                    <a:pt x="860" y="461"/>
                  </a:lnTo>
                  <a:lnTo>
                    <a:pt x="860" y="470"/>
                  </a:lnTo>
                  <a:lnTo>
                    <a:pt x="890" y="486"/>
                  </a:lnTo>
                  <a:lnTo>
                    <a:pt x="949" y="541"/>
                  </a:lnTo>
                  <a:lnTo>
                    <a:pt x="957" y="530"/>
                  </a:lnTo>
                  <a:lnTo>
                    <a:pt x="974" y="542"/>
                  </a:lnTo>
                  <a:lnTo>
                    <a:pt x="1008" y="537"/>
                  </a:lnTo>
                  <a:lnTo>
                    <a:pt x="1050" y="566"/>
                  </a:lnTo>
                  <a:lnTo>
                    <a:pt x="1070" y="570"/>
                  </a:lnTo>
                  <a:lnTo>
                    <a:pt x="1074" y="565"/>
                  </a:lnTo>
                  <a:lnTo>
                    <a:pt x="1089" y="577"/>
                  </a:lnTo>
                  <a:lnTo>
                    <a:pt x="1087" y="588"/>
                  </a:lnTo>
                  <a:lnTo>
                    <a:pt x="1102" y="581"/>
                  </a:lnTo>
                  <a:lnTo>
                    <a:pt x="1107" y="570"/>
                  </a:lnTo>
                  <a:lnTo>
                    <a:pt x="1158" y="544"/>
                  </a:lnTo>
                  <a:lnTo>
                    <a:pt x="1202" y="548"/>
                  </a:lnTo>
                  <a:lnTo>
                    <a:pt x="1224" y="559"/>
                  </a:lnTo>
                  <a:lnTo>
                    <a:pt x="1268" y="558"/>
                  </a:lnTo>
                  <a:lnTo>
                    <a:pt x="1267" y="543"/>
                  </a:lnTo>
                  <a:lnTo>
                    <a:pt x="1255" y="526"/>
                  </a:lnTo>
                  <a:lnTo>
                    <a:pt x="1270" y="510"/>
                  </a:lnTo>
                  <a:lnTo>
                    <a:pt x="1324" y="525"/>
                  </a:lnTo>
                  <a:lnTo>
                    <a:pt x="1356" y="549"/>
                  </a:lnTo>
                  <a:lnTo>
                    <a:pt x="1399" y="545"/>
                  </a:lnTo>
                  <a:lnTo>
                    <a:pt x="1492" y="575"/>
                  </a:lnTo>
                  <a:lnTo>
                    <a:pt x="1541" y="567"/>
                  </a:lnTo>
                  <a:lnTo>
                    <a:pt x="1563" y="553"/>
                  </a:lnTo>
                  <a:lnTo>
                    <a:pt x="1597" y="559"/>
                  </a:lnTo>
                  <a:lnTo>
                    <a:pt x="1628" y="567"/>
                  </a:lnTo>
                  <a:lnTo>
                    <a:pt x="1645" y="556"/>
                  </a:lnTo>
                  <a:lnTo>
                    <a:pt x="1637" y="524"/>
                  </a:lnTo>
                  <a:lnTo>
                    <a:pt x="1643" y="518"/>
                  </a:lnTo>
                  <a:lnTo>
                    <a:pt x="1625" y="497"/>
                  </a:lnTo>
                  <a:lnTo>
                    <a:pt x="1631" y="488"/>
                  </a:lnTo>
                  <a:lnTo>
                    <a:pt x="1669" y="482"/>
                  </a:lnTo>
                  <a:lnTo>
                    <a:pt x="1720" y="496"/>
                  </a:lnTo>
                  <a:lnTo>
                    <a:pt x="1773" y="538"/>
                  </a:lnTo>
                  <a:lnTo>
                    <a:pt x="1797" y="566"/>
                  </a:lnTo>
                  <a:lnTo>
                    <a:pt x="1829" y="570"/>
                  </a:lnTo>
                  <a:lnTo>
                    <a:pt x="1864" y="584"/>
                  </a:lnTo>
                  <a:lnTo>
                    <a:pt x="1888" y="609"/>
                  </a:lnTo>
                  <a:lnTo>
                    <a:pt x="1907" y="610"/>
                  </a:lnTo>
                  <a:lnTo>
                    <a:pt x="1944" y="592"/>
                  </a:lnTo>
                  <a:lnTo>
                    <a:pt x="1955" y="612"/>
                  </a:lnTo>
                  <a:lnTo>
                    <a:pt x="1950" y="618"/>
                  </a:lnTo>
                  <a:lnTo>
                    <a:pt x="1957" y="669"/>
                  </a:lnTo>
                  <a:lnTo>
                    <a:pt x="1937" y="666"/>
                  </a:lnTo>
                  <a:lnTo>
                    <a:pt x="1927" y="679"/>
                  </a:lnTo>
                  <a:lnTo>
                    <a:pt x="1949" y="708"/>
                  </a:lnTo>
                  <a:lnTo>
                    <a:pt x="1951" y="726"/>
                  </a:lnTo>
                  <a:lnTo>
                    <a:pt x="1956" y="726"/>
                  </a:lnTo>
                  <a:lnTo>
                    <a:pt x="1959" y="710"/>
                  </a:lnTo>
                  <a:lnTo>
                    <a:pt x="1991" y="724"/>
                  </a:lnTo>
                  <a:lnTo>
                    <a:pt x="2017" y="707"/>
                  </a:lnTo>
                  <a:lnTo>
                    <a:pt x="2017" y="686"/>
                  </a:lnTo>
                  <a:lnTo>
                    <a:pt x="2031" y="655"/>
                  </a:lnTo>
                  <a:lnTo>
                    <a:pt x="2038" y="592"/>
                  </a:lnTo>
                  <a:lnTo>
                    <a:pt x="2005" y="536"/>
                  </a:lnTo>
                  <a:lnTo>
                    <a:pt x="1981" y="486"/>
                  </a:lnTo>
                  <a:lnTo>
                    <a:pt x="1932" y="467"/>
                  </a:lnTo>
                  <a:lnTo>
                    <a:pt x="1921" y="467"/>
                  </a:lnTo>
                  <a:lnTo>
                    <a:pt x="1920" y="478"/>
                  </a:lnTo>
                  <a:lnTo>
                    <a:pt x="1908" y="481"/>
                  </a:lnTo>
                  <a:lnTo>
                    <a:pt x="1899" y="464"/>
                  </a:lnTo>
                  <a:lnTo>
                    <a:pt x="1891" y="467"/>
                  </a:lnTo>
                  <a:lnTo>
                    <a:pt x="1892" y="475"/>
                  </a:lnTo>
                  <a:lnTo>
                    <a:pt x="1876" y="457"/>
                  </a:lnTo>
                  <a:lnTo>
                    <a:pt x="1846" y="450"/>
                  </a:lnTo>
                  <a:lnTo>
                    <a:pt x="1863" y="428"/>
                  </a:lnTo>
                  <a:lnTo>
                    <a:pt x="1883" y="362"/>
                  </a:lnTo>
                  <a:lnTo>
                    <a:pt x="1904" y="355"/>
                  </a:lnTo>
                  <a:lnTo>
                    <a:pt x="1990" y="357"/>
                  </a:lnTo>
                  <a:lnTo>
                    <a:pt x="1983" y="348"/>
                  </a:lnTo>
                  <a:lnTo>
                    <a:pt x="1990" y="347"/>
                  </a:lnTo>
                  <a:lnTo>
                    <a:pt x="2023" y="350"/>
                  </a:lnTo>
                  <a:lnTo>
                    <a:pt x="2039" y="366"/>
                  </a:lnTo>
                  <a:lnTo>
                    <a:pt x="2095" y="359"/>
                  </a:lnTo>
                  <a:lnTo>
                    <a:pt x="2071" y="351"/>
                  </a:lnTo>
                  <a:lnTo>
                    <a:pt x="2065" y="342"/>
                  </a:lnTo>
                  <a:lnTo>
                    <a:pt x="2069" y="308"/>
                  </a:lnTo>
                  <a:lnTo>
                    <a:pt x="2118" y="303"/>
                  </a:lnTo>
                  <a:lnTo>
                    <a:pt x="2124" y="315"/>
                  </a:lnTo>
                  <a:lnTo>
                    <a:pt x="2145" y="330"/>
                  </a:lnTo>
                  <a:lnTo>
                    <a:pt x="2155" y="308"/>
                  </a:lnTo>
                  <a:lnTo>
                    <a:pt x="2163" y="307"/>
                  </a:lnTo>
                  <a:lnTo>
                    <a:pt x="2149" y="290"/>
                  </a:lnTo>
                  <a:lnTo>
                    <a:pt x="2173" y="290"/>
                  </a:lnTo>
                  <a:lnTo>
                    <a:pt x="2168" y="294"/>
                  </a:lnTo>
                  <a:lnTo>
                    <a:pt x="2193" y="323"/>
                  </a:lnTo>
                  <a:lnTo>
                    <a:pt x="2177" y="333"/>
                  </a:lnTo>
                  <a:lnTo>
                    <a:pt x="2172" y="384"/>
                  </a:lnTo>
                  <a:lnTo>
                    <a:pt x="2154" y="389"/>
                  </a:lnTo>
                  <a:lnTo>
                    <a:pt x="2167" y="405"/>
                  </a:lnTo>
                  <a:lnTo>
                    <a:pt x="2160" y="408"/>
                  </a:lnTo>
                  <a:lnTo>
                    <a:pt x="2183" y="442"/>
                  </a:lnTo>
                  <a:lnTo>
                    <a:pt x="2290" y="537"/>
                  </a:lnTo>
                  <a:lnTo>
                    <a:pt x="2297" y="521"/>
                  </a:lnTo>
                  <a:lnTo>
                    <a:pt x="2286" y="496"/>
                  </a:lnTo>
                  <a:lnTo>
                    <a:pt x="2290" y="488"/>
                  </a:lnTo>
                  <a:lnTo>
                    <a:pt x="2302" y="488"/>
                  </a:lnTo>
                  <a:lnTo>
                    <a:pt x="2284" y="468"/>
                  </a:lnTo>
                  <a:lnTo>
                    <a:pt x="2285" y="461"/>
                  </a:lnTo>
                  <a:lnTo>
                    <a:pt x="2304" y="459"/>
                  </a:lnTo>
                  <a:lnTo>
                    <a:pt x="2307" y="453"/>
                  </a:lnTo>
                  <a:lnTo>
                    <a:pt x="2275" y="425"/>
                  </a:lnTo>
                  <a:lnTo>
                    <a:pt x="2296" y="423"/>
                  </a:lnTo>
                  <a:lnTo>
                    <a:pt x="2271" y="408"/>
                  </a:lnTo>
                  <a:lnTo>
                    <a:pt x="2260" y="391"/>
                  </a:lnTo>
                  <a:lnTo>
                    <a:pt x="2241" y="389"/>
                  </a:lnTo>
                  <a:lnTo>
                    <a:pt x="2229" y="381"/>
                  </a:lnTo>
                  <a:lnTo>
                    <a:pt x="2227" y="362"/>
                  </a:lnTo>
                  <a:lnTo>
                    <a:pt x="2213" y="345"/>
                  </a:lnTo>
                  <a:lnTo>
                    <a:pt x="2236" y="345"/>
                  </a:lnTo>
                  <a:lnTo>
                    <a:pt x="2247" y="334"/>
                  </a:lnTo>
                  <a:lnTo>
                    <a:pt x="2262" y="347"/>
                  </a:lnTo>
                  <a:lnTo>
                    <a:pt x="2263" y="338"/>
                  </a:lnTo>
                  <a:lnTo>
                    <a:pt x="2275" y="330"/>
                  </a:lnTo>
                  <a:lnTo>
                    <a:pt x="2325" y="343"/>
                  </a:lnTo>
                  <a:lnTo>
                    <a:pt x="2319" y="333"/>
                  </a:lnTo>
                  <a:lnTo>
                    <a:pt x="2350" y="298"/>
                  </a:lnTo>
                  <a:lnTo>
                    <a:pt x="2366" y="290"/>
                  </a:lnTo>
                  <a:lnTo>
                    <a:pt x="2405" y="294"/>
                  </a:lnTo>
                  <a:lnTo>
                    <a:pt x="2404" y="286"/>
                  </a:lnTo>
                  <a:lnTo>
                    <a:pt x="2314" y="243"/>
                  </a:lnTo>
                  <a:lnTo>
                    <a:pt x="2334" y="245"/>
                  </a:lnTo>
                  <a:lnTo>
                    <a:pt x="2345" y="237"/>
                  </a:lnTo>
                  <a:lnTo>
                    <a:pt x="2339" y="225"/>
                  </a:lnTo>
                  <a:lnTo>
                    <a:pt x="2320" y="218"/>
                  </a:lnTo>
                  <a:lnTo>
                    <a:pt x="2325" y="212"/>
                  </a:lnTo>
                  <a:lnTo>
                    <a:pt x="2355" y="228"/>
                  </a:lnTo>
                  <a:lnTo>
                    <a:pt x="2396" y="230"/>
                  </a:lnTo>
                  <a:lnTo>
                    <a:pt x="2475" y="253"/>
                  </a:lnTo>
                  <a:lnTo>
                    <a:pt x="2452" y="228"/>
                  </a:lnTo>
                  <a:lnTo>
                    <a:pt x="2469" y="228"/>
                  </a:lnTo>
                  <a:lnTo>
                    <a:pt x="2472" y="217"/>
                  </a:lnTo>
                  <a:lnTo>
                    <a:pt x="2418" y="200"/>
                  </a:lnTo>
                  <a:lnTo>
                    <a:pt x="2371" y="196"/>
                  </a:lnTo>
                  <a:lnTo>
                    <a:pt x="2231" y="157"/>
                  </a:lnTo>
                  <a:lnTo>
                    <a:pt x="2154" y="143"/>
                  </a:lnTo>
                  <a:lnTo>
                    <a:pt x="2064" y="138"/>
                  </a:lnTo>
                  <a:lnTo>
                    <a:pt x="2098" y="157"/>
                  </a:lnTo>
                  <a:lnTo>
                    <a:pt x="2086" y="163"/>
                  </a:lnTo>
                  <a:lnTo>
                    <a:pt x="2044" y="148"/>
                  </a:lnTo>
                  <a:lnTo>
                    <a:pt x="2058" y="148"/>
                  </a:lnTo>
                  <a:lnTo>
                    <a:pt x="2054" y="143"/>
                  </a:lnTo>
                  <a:lnTo>
                    <a:pt x="2033" y="139"/>
                  </a:lnTo>
                  <a:lnTo>
                    <a:pt x="2030" y="151"/>
                  </a:lnTo>
                  <a:lnTo>
                    <a:pt x="1933" y="148"/>
                  </a:lnTo>
                  <a:lnTo>
                    <a:pt x="1907" y="135"/>
                  </a:lnTo>
                  <a:lnTo>
                    <a:pt x="1871" y="122"/>
                  </a:lnTo>
                  <a:lnTo>
                    <a:pt x="1782" y="123"/>
                  </a:lnTo>
                  <a:lnTo>
                    <a:pt x="1711" y="99"/>
                  </a:lnTo>
                  <a:lnTo>
                    <a:pt x="1564" y="87"/>
                  </a:lnTo>
                  <a:lnTo>
                    <a:pt x="1560" y="93"/>
                  </a:lnTo>
                  <a:lnTo>
                    <a:pt x="1560" y="98"/>
                  </a:lnTo>
                  <a:lnTo>
                    <a:pt x="1590" y="111"/>
                  </a:lnTo>
                  <a:lnTo>
                    <a:pt x="1523" y="108"/>
                  </a:lnTo>
                  <a:lnTo>
                    <a:pt x="1511" y="115"/>
                  </a:lnTo>
                  <a:lnTo>
                    <a:pt x="1471" y="104"/>
                  </a:lnTo>
                  <a:lnTo>
                    <a:pt x="1482" y="120"/>
                  </a:lnTo>
                  <a:lnTo>
                    <a:pt x="1478" y="126"/>
                  </a:lnTo>
                  <a:lnTo>
                    <a:pt x="1419" y="105"/>
                  </a:lnTo>
                  <a:lnTo>
                    <a:pt x="1414" y="88"/>
                  </a:lnTo>
                  <a:lnTo>
                    <a:pt x="1386" y="78"/>
                  </a:lnTo>
                  <a:lnTo>
                    <a:pt x="1299" y="71"/>
                  </a:lnTo>
                  <a:lnTo>
                    <a:pt x="1318" y="83"/>
                  </a:lnTo>
                  <a:lnTo>
                    <a:pt x="1271" y="83"/>
                  </a:lnTo>
                  <a:lnTo>
                    <a:pt x="1247" y="81"/>
                  </a:lnTo>
                  <a:lnTo>
                    <a:pt x="1241" y="72"/>
                  </a:lnTo>
                  <a:lnTo>
                    <a:pt x="1173" y="74"/>
                  </a:lnTo>
                  <a:lnTo>
                    <a:pt x="1150" y="58"/>
                  </a:lnTo>
                  <a:lnTo>
                    <a:pt x="1131" y="55"/>
                  </a:lnTo>
                  <a:lnTo>
                    <a:pt x="1128" y="59"/>
                  </a:lnTo>
                  <a:lnTo>
                    <a:pt x="1159" y="71"/>
                  </a:lnTo>
                  <a:lnTo>
                    <a:pt x="1114" y="65"/>
                  </a:lnTo>
                  <a:lnTo>
                    <a:pt x="1110" y="70"/>
                  </a:lnTo>
                  <a:lnTo>
                    <a:pt x="1124" y="74"/>
                  </a:lnTo>
                  <a:lnTo>
                    <a:pt x="1078" y="81"/>
                  </a:lnTo>
                  <a:lnTo>
                    <a:pt x="1080" y="72"/>
                  </a:lnTo>
                  <a:lnTo>
                    <a:pt x="1137" y="42"/>
                  </a:lnTo>
                  <a:lnTo>
                    <a:pt x="1130" y="34"/>
                  </a:lnTo>
                  <a:lnTo>
                    <a:pt x="1076" y="18"/>
                  </a:lnTo>
                  <a:lnTo>
                    <a:pt x="1015" y="20"/>
                  </a:lnTo>
                  <a:lnTo>
                    <a:pt x="1020" y="12"/>
                  </a:lnTo>
                  <a:lnTo>
                    <a:pt x="993" y="4"/>
                  </a:lnTo>
                  <a:lnTo>
                    <a:pt x="959" y="0"/>
                  </a:lnTo>
                  <a:lnTo>
                    <a:pt x="934" y="12"/>
                  </a:lnTo>
                  <a:lnTo>
                    <a:pt x="928" y="26"/>
                  </a:lnTo>
                  <a:lnTo>
                    <a:pt x="846" y="28"/>
                  </a:lnTo>
                  <a:lnTo>
                    <a:pt x="797" y="41"/>
                  </a:lnTo>
                  <a:lnTo>
                    <a:pt x="778" y="53"/>
                  </a:lnTo>
                  <a:lnTo>
                    <a:pt x="794" y="66"/>
                  </a:lnTo>
                  <a:lnTo>
                    <a:pt x="708" y="74"/>
                  </a:lnTo>
                  <a:lnTo>
                    <a:pt x="729" y="94"/>
                  </a:lnTo>
                  <a:lnTo>
                    <a:pt x="765" y="105"/>
                  </a:lnTo>
                  <a:lnTo>
                    <a:pt x="749" y="108"/>
                  </a:lnTo>
                  <a:lnTo>
                    <a:pt x="683" y="91"/>
                  </a:lnTo>
                  <a:lnTo>
                    <a:pt x="668" y="104"/>
                  </a:lnTo>
                  <a:lnTo>
                    <a:pt x="713" y="121"/>
                  </a:lnTo>
                  <a:lnTo>
                    <a:pt x="663" y="115"/>
                  </a:lnTo>
                  <a:lnTo>
                    <a:pt x="650" y="95"/>
                  </a:lnTo>
                  <a:close/>
                </a:path>
              </a:pathLst>
            </a:custGeom>
            <a:solidFill>
              <a:srgbClr val="7D96A4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  <p:sp>
          <p:nvSpPr>
            <p:cNvPr id="1721" name="Freeform 278"/>
            <p:cNvSpPr>
              <a:spLocks noChangeAspect="1"/>
            </p:cNvSpPr>
            <p:nvPr/>
          </p:nvSpPr>
          <p:spPr bwMode="auto">
            <a:xfrm>
              <a:off x="4877743" y="2213664"/>
              <a:ext cx="452683" cy="196590"/>
            </a:xfrm>
            <a:custGeom>
              <a:avLst/>
              <a:gdLst>
                <a:gd name="T0" fmla="*/ 5 w 359"/>
                <a:gd name="T1" fmla="*/ 21 h 137"/>
                <a:gd name="T2" fmla="*/ 5 w 359"/>
                <a:gd name="T3" fmla="*/ 10 h 137"/>
                <a:gd name="T4" fmla="*/ 5 w 359"/>
                <a:gd name="T5" fmla="*/ 8 h 137"/>
                <a:gd name="T6" fmla="*/ 5 w 359"/>
                <a:gd name="T7" fmla="*/ 22 h 137"/>
                <a:gd name="T8" fmla="*/ 5 w 359"/>
                <a:gd name="T9" fmla="*/ 22 h 137"/>
                <a:gd name="T10" fmla="*/ 5 w 359"/>
                <a:gd name="T11" fmla="*/ 0 h 137"/>
                <a:gd name="T12" fmla="*/ 5 w 359"/>
                <a:gd name="T13" fmla="*/ 0 h 137"/>
                <a:gd name="T14" fmla="*/ 5 w 359"/>
                <a:gd name="T15" fmla="*/ 21 h 137"/>
                <a:gd name="T16" fmla="*/ 5 w 359"/>
                <a:gd name="T17" fmla="*/ 21 h 137"/>
                <a:gd name="T18" fmla="*/ 5 w 359"/>
                <a:gd name="T19" fmla="*/ 15 h 137"/>
                <a:gd name="T20" fmla="*/ 5 w 359"/>
                <a:gd name="T21" fmla="*/ 3 h 137"/>
                <a:gd name="T22" fmla="*/ 2 w 359"/>
                <a:gd name="T23" fmla="*/ 4 h 137"/>
                <a:gd name="T24" fmla="*/ 0 w 359"/>
                <a:gd name="T25" fmla="*/ 34 h 137"/>
                <a:gd name="T26" fmla="*/ 5 w 359"/>
                <a:gd name="T27" fmla="*/ 32 h 137"/>
                <a:gd name="T28" fmla="*/ 2 w 359"/>
                <a:gd name="T29" fmla="*/ 43 h 137"/>
                <a:gd name="T30" fmla="*/ 5 w 359"/>
                <a:gd name="T31" fmla="*/ 25 h 137"/>
                <a:gd name="T32" fmla="*/ 5 w 359"/>
                <a:gd name="T33" fmla="*/ 22 h 137"/>
                <a:gd name="T34" fmla="*/ 5 w 359"/>
                <a:gd name="T35" fmla="*/ 31 h 137"/>
                <a:gd name="T36" fmla="*/ 5 w 359"/>
                <a:gd name="T37" fmla="*/ 32 h 137"/>
                <a:gd name="T38" fmla="*/ 5 w 359"/>
                <a:gd name="T39" fmla="*/ 39 h 137"/>
                <a:gd name="T40" fmla="*/ 5 w 359"/>
                <a:gd name="T41" fmla="*/ 39 h 137"/>
                <a:gd name="T42" fmla="*/ 2 w 359"/>
                <a:gd name="T43" fmla="*/ 45 h 137"/>
                <a:gd name="T44" fmla="*/ 0 w 359"/>
                <a:gd name="T45" fmla="*/ 59 h 137"/>
                <a:gd name="T46" fmla="*/ 5 w 359"/>
                <a:gd name="T47" fmla="*/ 57 h 137"/>
                <a:gd name="T48" fmla="*/ 5 w 359"/>
                <a:gd name="T49" fmla="*/ 82 h 137"/>
                <a:gd name="T50" fmla="*/ 5 w 359"/>
                <a:gd name="T51" fmla="*/ 78 h 137"/>
                <a:gd name="T52" fmla="*/ 5 w 359"/>
                <a:gd name="T53" fmla="*/ 85 h 137"/>
                <a:gd name="T54" fmla="*/ 5 w 359"/>
                <a:gd name="T55" fmla="*/ 93 h 137"/>
                <a:gd name="T56" fmla="*/ 5 w 359"/>
                <a:gd name="T57" fmla="*/ 101 h 137"/>
                <a:gd name="T58" fmla="*/ 5 w 359"/>
                <a:gd name="T59" fmla="*/ 107 h 137"/>
                <a:gd name="T60" fmla="*/ 5 w 359"/>
                <a:gd name="T61" fmla="*/ 114 h 137"/>
                <a:gd name="T62" fmla="*/ 5 w 359"/>
                <a:gd name="T63" fmla="*/ 114 h 137"/>
                <a:gd name="T64" fmla="*/ 5 w 359"/>
                <a:gd name="T65" fmla="*/ 119 h 137"/>
                <a:gd name="T66" fmla="*/ 5 w 359"/>
                <a:gd name="T67" fmla="*/ 134 h 137"/>
                <a:gd name="T68" fmla="*/ 5 w 359"/>
                <a:gd name="T69" fmla="*/ 128 h 137"/>
                <a:gd name="T70" fmla="*/ 5 w 359"/>
                <a:gd name="T71" fmla="*/ 118 h 137"/>
                <a:gd name="T72" fmla="*/ 5 w 359"/>
                <a:gd name="T73" fmla="*/ 119 h 137"/>
                <a:gd name="T74" fmla="*/ 5 w 359"/>
                <a:gd name="T75" fmla="*/ 137 h 137"/>
                <a:gd name="T76" fmla="*/ 5 w 359"/>
                <a:gd name="T77" fmla="*/ 134 h 137"/>
                <a:gd name="T78" fmla="*/ 5 w 359"/>
                <a:gd name="T79" fmla="*/ 118 h 137"/>
                <a:gd name="T80" fmla="*/ 5 w 359"/>
                <a:gd name="T81" fmla="*/ 124 h 137"/>
                <a:gd name="T82" fmla="*/ 5 w 359"/>
                <a:gd name="T83" fmla="*/ 116 h 137"/>
                <a:gd name="T84" fmla="*/ 5 w 359"/>
                <a:gd name="T85" fmla="*/ 137 h 137"/>
                <a:gd name="T86" fmla="*/ 5 w 359"/>
                <a:gd name="T87" fmla="*/ 130 h 137"/>
                <a:gd name="T88" fmla="*/ 5 w 359"/>
                <a:gd name="T89" fmla="*/ 118 h 137"/>
                <a:gd name="T90" fmla="*/ 5 w 359"/>
                <a:gd name="T91" fmla="*/ 114 h 137"/>
                <a:gd name="T92" fmla="*/ 5 w 359"/>
                <a:gd name="T93" fmla="*/ 120 h 137"/>
                <a:gd name="T94" fmla="*/ 5 w 359"/>
                <a:gd name="T95" fmla="*/ 111 h 137"/>
                <a:gd name="T96" fmla="*/ 5 w 359"/>
                <a:gd name="T97" fmla="*/ 110 h 137"/>
                <a:gd name="T98" fmla="*/ 5 w 359"/>
                <a:gd name="T99" fmla="*/ 102 h 137"/>
                <a:gd name="T100" fmla="*/ 5 w 359"/>
                <a:gd name="T101" fmla="*/ 107 h 137"/>
                <a:gd name="T102" fmla="*/ 5 w 359"/>
                <a:gd name="T103" fmla="*/ 59 h 137"/>
                <a:gd name="T104" fmla="*/ 5 w 359"/>
                <a:gd name="T105" fmla="*/ 48 h 137"/>
                <a:gd name="T106" fmla="*/ 5 w 359"/>
                <a:gd name="T107" fmla="*/ 39 h 137"/>
                <a:gd name="T108" fmla="*/ 5 w 359"/>
                <a:gd name="T109" fmla="*/ 21 h 13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59"/>
                <a:gd name="T166" fmla="*/ 0 h 137"/>
                <a:gd name="T167" fmla="*/ 359 w 359"/>
                <a:gd name="T168" fmla="*/ 137 h 13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59" h="137">
                  <a:moveTo>
                    <a:pt x="319" y="21"/>
                  </a:moveTo>
                  <a:lnTo>
                    <a:pt x="312" y="10"/>
                  </a:lnTo>
                  <a:lnTo>
                    <a:pt x="285" y="8"/>
                  </a:lnTo>
                  <a:lnTo>
                    <a:pt x="256" y="22"/>
                  </a:lnTo>
                  <a:lnTo>
                    <a:pt x="206" y="22"/>
                  </a:lnTo>
                  <a:lnTo>
                    <a:pt x="162" y="0"/>
                  </a:lnTo>
                  <a:lnTo>
                    <a:pt x="130" y="0"/>
                  </a:lnTo>
                  <a:lnTo>
                    <a:pt x="92" y="21"/>
                  </a:lnTo>
                  <a:lnTo>
                    <a:pt x="69" y="21"/>
                  </a:lnTo>
                  <a:lnTo>
                    <a:pt x="45" y="15"/>
                  </a:lnTo>
                  <a:lnTo>
                    <a:pt x="34" y="3"/>
                  </a:lnTo>
                  <a:lnTo>
                    <a:pt x="2" y="4"/>
                  </a:lnTo>
                  <a:lnTo>
                    <a:pt x="0" y="34"/>
                  </a:lnTo>
                  <a:lnTo>
                    <a:pt x="8" y="32"/>
                  </a:lnTo>
                  <a:lnTo>
                    <a:pt x="2" y="43"/>
                  </a:lnTo>
                  <a:lnTo>
                    <a:pt x="24" y="25"/>
                  </a:lnTo>
                  <a:lnTo>
                    <a:pt x="50" y="22"/>
                  </a:lnTo>
                  <a:lnTo>
                    <a:pt x="62" y="31"/>
                  </a:lnTo>
                  <a:lnTo>
                    <a:pt x="52" y="32"/>
                  </a:lnTo>
                  <a:lnTo>
                    <a:pt x="57" y="39"/>
                  </a:lnTo>
                  <a:lnTo>
                    <a:pt x="12" y="39"/>
                  </a:lnTo>
                  <a:lnTo>
                    <a:pt x="2" y="45"/>
                  </a:lnTo>
                  <a:lnTo>
                    <a:pt x="0" y="59"/>
                  </a:lnTo>
                  <a:lnTo>
                    <a:pt x="16" y="57"/>
                  </a:lnTo>
                  <a:lnTo>
                    <a:pt x="18" y="82"/>
                  </a:lnTo>
                  <a:lnTo>
                    <a:pt x="7" y="78"/>
                  </a:lnTo>
                  <a:lnTo>
                    <a:pt x="6" y="85"/>
                  </a:lnTo>
                  <a:lnTo>
                    <a:pt x="24" y="93"/>
                  </a:lnTo>
                  <a:lnTo>
                    <a:pt x="23" y="101"/>
                  </a:lnTo>
                  <a:lnTo>
                    <a:pt x="31" y="107"/>
                  </a:lnTo>
                  <a:lnTo>
                    <a:pt x="25" y="114"/>
                  </a:lnTo>
                  <a:lnTo>
                    <a:pt x="43" y="114"/>
                  </a:lnTo>
                  <a:lnTo>
                    <a:pt x="41" y="119"/>
                  </a:lnTo>
                  <a:lnTo>
                    <a:pt x="75" y="134"/>
                  </a:lnTo>
                  <a:lnTo>
                    <a:pt x="90" y="128"/>
                  </a:lnTo>
                  <a:lnTo>
                    <a:pt x="92" y="118"/>
                  </a:lnTo>
                  <a:lnTo>
                    <a:pt x="103" y="119"/>
                  </a:lnTo>
                  <a:lnTo>
                    <a:pt x="132" y="137"/>
                  </a:lnTo>
                  <a:lnTo>
                    <a:pt x="148" y="134"/>
                  </a:lnTo>
                  <a:lnTo>
                    <a:pt x="165" y="118"/>
                  </a:lnTo>
                  <a:lnTo>
                    <a:pt x="184" y="124"/>
                  </a:lnTo>
                  <a:lnTo>
                    <a:pt x="193" y="116"/>
                  </a:lnTo>
                  <a:lnTo>
                    <a:pt x="194" y="137"/>
                  </a:lnTo>
                  <a:lnTo>
                    <a:pt x="207" y="130"/>
                  </a:lnTo>
                  <a:lnTo>
                    <a:pt x="205" y="118"/>
                  </a:lnTo>
                  <a:lnTo>
                    <a:pt x="238" y="114"/>
                  </a:lnTo>
                  <a:lnTo>
                    <a:pt x="255" y="120"/>
                  </a:lnTo>
                  <a:lnTo>
                    <a:pt x="284" y="111"/>
                  </a:lnTo>
                  <a:lnTo>
                    <a:pt x="315" y="110"/>
                  </a:lnTo>
                  <a:lnTo>
                    <a:pt x="322" y="102"/>
                  </a:lnTo>
                  <a:lnTo>
                    <a:pt x="359" y="107"/>
                  </a:lnTo>
                  <a:lnTo>
                    <a:pt x="339" y="59"/>
                  </a:lnTo>
                  <a:lnTo>
                    <a:pt x="347" y="48"/>
                  </a:lnTo>
                  <a:lnTo>
                    <a:pt x="332" y="39"/>
                  </a:lnTo>
                  <a:lnTo>
                    <a:pt x="319" y="21"/>
                  </a:lnTo>
                  <a:close/>
                </a:path>
              </a:pathLst>
            </a:custGeom>
            <a:solidFill>
              <a:srgbClr val="194EA5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632075">
                <a:defRPr/>
              </a:pPr>
              <a:endParaRPr lang="en-US" sz="346" kern="0" dirty="0">
                <a:solidFill>
                  <a:sysClr val="windowText" lastClr="000000"/>
                </a:solidFill>
                <a:latin typeface="Garamond" pitchFamily="18" charset="0"/>
                <a:cs typeface="Arial" charset="0"/>
              </a:endParaRPr>
            </a:p>
          </p:txBody>
        </p:sp>
      </p:grpSp>
      <p:sp>
        <p:nvSpPr>
          <p:cNvPr id="1723" name="TextBox 1722"/>
          <p:cNvSpPr txBox="1"/>
          <p:nvPr/>
        </p:nvSpPr>
        <p:spPr>
          <a:xfrm>
            <a:off x="1594162" y="1654578"/>
            <a:ext cx="740318" cy="3903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484" b="1" dirty="0">
                <a:solidFill>
                  <a:srgbClr val="FFFFFF"/>
                </a:solidFill>
                <a:latin typeface="Times New Roman"/>
                <a:cs typeface="Arial" charset="0"/>
              </a:rPr>
              <a:t>Более 200 округов  в США ввели пошлину или запрет</a:t>
            </a:r>
          </a:p>
        </p:txBody>
      </p:sp>
      <p:sp>
        <p:nvSpPr>
          <p:cNvPr id="1724" name="Овал 1723"/>
          <p:cNvSpPr/>
          <p:nvPr/>
        </p:nvSpPr>
        <p:spPr bwMode="auto">
          <a:xfrm>
            <a:off x="2417146" y="1687540"/>
            <a:ext cx="300443" cy="183104"/>
          </a:xfrm>
          <a:prstGeom prst="ellipse">
            <a:avLst/>
          </a:prstGeom>
          <a:solidFill>
            <a:srgbClr val="3C8A2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68" b="1" kern="0" dirty="0">
                <a:solidFill>
                  <a:srgbClr val="FFFFFF"/>
                </a:solidFill>
                <a:latin typeface="Times New Roman"/>
                <a:cs typeface="Arial" charset="0"/>
              </a:rPr>
              <a:t>529</a:t>
            </a:r>
          </a:p>
        </p:txBody>
      </p:sp>
      <p:sp>
        <p:nvSpPr>
          <p:cNvPr id="1725" name="Овал 1724"/>
          <p:cNvSpPr/>
          <p:nvPr/>
        </p:nvSpPr>
        <p:spPr bwMode="auto">
          <a:xfrm>
            <a:off x="1970294" y="3194642"/>
            <a:ext cx="356724" cy="196922"/>
          </a:xfrm>
          <a:prstGeom prst="ellipse">
            <a:avLst/>
          </a:prstGeom>
          <a:solidFill>
            <a:srgbClr val="3C8A2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68" b="1" kern="0" dirty="0">
                <a:solidFill>
                  <a:srgbClr val="FFFFFF"/>
                </a:solidFill>
                <a:latin typeface="Times New Roman"/>
                <a:cs typeface="Arial" charset="0"/>
              </a:rPr>
              <a:t>330</a:t>
            </a:r>
          </a:p>
        </p:txBody>
      </p:sp>
      <p:sp>
        <p:nvSpPr>
          <p:cNvPr id="1726" name="Овал 1725"/>
          <p:cNvSpPr/>
          <p:nvPr/>
        </p:nvSpPr>
        <p:spPr bwMode="auto">
          <a:xfrm>
            <a:off x="3299816" y="2716770"/>
            <a:ext cx="300443" cy="183104"/>
          </a:xfrm>
          <a:prstGeom prst="ellipse">
            <a:avLst/>
          </a:prstGeom>
          <a:solidFill>
            <a:srgbClr val="3C8A2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68" b="1" kern="0" dirty="0">
                <a:solidFill>
                  <a:srgbClr val="FFFFFF"/>
                </a:solidFill>
                <a:latin typeface="Times New Roman"/>
                <a:cs typeface="Arial" charset="0"/>
              </a:rPr>
              <a:t>763</a:t>
            </a:r>
          </a:p>
        </p:txBody>
      </p:sp>
      <p:sp>
        <p:nvSpPr>
          <p:cNvPr id="1727" name="Овал 1726"/>
          <p:cNvSpPr/>
          <p:nvPr/>
        </p:nvSpPr>
        <p:spPr bwMode="auto">
          <a:xfrm>
            <a:off x="5799555" y="1748953"/>
            <a:ext cx="362833" cy="221127"/>
          </a:xfrm>
          <a:prstGeom prst="ellipse">
            <a:avLst/>
          </a:prstGeom>
          <a:solidFill>
            <a:srgbClr val="3C8A2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68" b="1" kern="0" dirty="0">
                <a:solidFill>
                  <a:srgbClr val="FFFFFF"/>
                </a:solidFill>
                <a:latin typeface="Times New Roman"/>
                <a:cs typeface="Arial" charset="0"/>
              </a:rPr>
              <a:t>3 628</a:t>
            </a:r>
          </a:p>
        </p:txBody>
      </p:sp>
      <p:sp>
        <p:nvSpPr>
          <p:cNvPr id="1728" name="Овал 1727"/>
          <p:cNvSpPr/>
          <p:nvPr/>
        </p:nvSpPr>
        <p:spPr bwMode="auto">
          <a:xfrm>
            <a:off x="5034202" y="3138614"/>
            <a:ext cx="354047" cy="201369"/>
          </a:xfrm>
          <a:prstGeom prst="ellipse">
            <a:avLst/>
          </a:prstGeom>
          <a:solidFill>
            <a:srgbClr val="3C8A2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68" b="1" kern="0" dirty="0">
                <a:solidFill>
                  <a:srgbClr val="FFFFFF"/>
                </a:solidFill>
                <a:latin typeface="Times New Roman"/>
                <a:cs typeface="Arial" charset="0"/>
              </a:rPr>
              <a:t>10</a:t>
            </a:r>
          </a:p>
        </p:txBody>
      </p:sp>
      <p:sp>
        <p:nvSpPr>
          <p:cNvPr id="1729" name="Овал 1728"/>
          <p:cNvSpPr/>
          <p:nvPr/>
        </p:nvSpPr>
        <p:spPr bwMode="auto">
          <a:xfrm>
            <a:off x="3386412" y="957425"/>
            <a:ext cx="300443" cy="183104"/>
          </a:xfrm>
          <a:prstGeom prst="ellipse">
            <a:avLst/>
          </a:prstGeom>
          <a:solidFill>
            <a:srgbClr val="3C8A2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68" b="1" kern="0" dirty="0">
                <a:solidFill>
                  <a:srgbClr val="FFFFFF"/>
                </a:solidFill>
                <a:latin typeface="Times New Roman"/>
                <a:cs typeface="Arial" charset="0"/>
              </a:rPr>
              <a:t>542</a:t>
            </a:r>
          </a:p>
        </p:txBody>
      </p:sp>
      <p:sp>
        <p:nvSpPr>
          <p:cNvPr id="1730" name="TextBox 1729"/>
          <p:cNvSpPr txBox="1"/>
          <p:nvPr/>
        </p:nvSpPr>
        <p:spPr>
          <a:xfrm>
            <a:off x="6928203" y="1267836"/>
            <a:ext cx="986960" cy="283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622" dirty="0">
                <a:solidFill>
                  <a:srgbClr val="000000"/>
                </a:solidFill>
                <a:latin typeface="Times New Roman"/>
                <a:cs typeface="Arial" charset="0"/>
              </a:rPr>
              <a:t>Полный запрет на пластиковый пакет</a:t>
            </a:r>
          </a:p>
        </p:txBody>
      </p:sp>
      <p:sp>
        <p:nvSpPr>
          <p:cNvPr id="1731" name="TextBox 1730"/>
          <p:cNvSpPr txBox="1"/>
          <p:nvPr/>
        </p:nvSpPr>
        <p:spPr>
          <a:xfrm>
            <a:off x="628432" y="3717306"/>
            <a:ext cx="3677858" cy="304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691" dirty="0">
                <a:solidFill>
                  <a:srgbClr val="000000"/>
                </a:solidFill>
                <a:latin typeface="Times New Roman"/>
                <a:cs typeface="Arial" charset="0"/>
              </a:rPr>
              <a:t>Количество человек проживающих на территориях, где ввели ограничения или запрет на полимерные пакеты, </a:t>
            </a:r>
            <a:r>
              <a:rPr lang="ru-RU" sz="691" b="1" dirty="0">
                <a:solidFill>
                  <a:srgbClr val="000000"/>
                </a:solidFill>
                <a:latin typeface="Times New Roman"/>
                <a:cs typeface="Arial" charset="0"/>
              </a:rPr>
              <a:t>млн</a:t>
            </a:r>
          </a:p>
        </p:txBody>
      </p:sp>
      <p:sp>
        <p:nvSpPr>
          <p:cNvPr id="1732" name="Овал 1731"/>
          <p:cNvSpPr/>
          <p:nvPr/>
        </p:nvSpPr>
        <p:spPr bwMode="auto">
          <a:xfrm>
            <a:off x="242628" y="3737971"/>
            <a:ext cx="409922" cy="221127"/>
          </a:xfrm>
          <a:prstGeom prst="ellipse">
            <a:avLst/>
          </a:prstGeom>
          <a:solidFill>
            <a:srgbClr val="3C8A2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37" b="1" kern="0" dirty="0">
                <a:solidFill>
                  <a:srgbClr val="FFFFFF"/>
                </a:solidFill>
                <a:latin typeface="Times New Roman"/>
                <a:cs typeface="Arial" charset="0"/>
              </a:rPr>
              <a:t>ХХ</a:t>
            </a:r>
          </a:p>
        </p:txBody>
      </p:sp>
      <p:sp>
        <p:nvSpPr>
          <p:cNvPr id="1733" name="Прямоугольник 1732"/>
          <p:cNvSpPr/>
          <p:nvPr/>
        </p:nvSpPr>
        <p:spPr bwMode="auto">
          <a:xfrm>
            <a:off x="6576858" y="1302150"/>
            <a:ext cx="370407" cy="172602"/>
          </a:xfrm>
          <a:prstGeom prst="rect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6" b="1" dirty="0">
                <a:solidFill>
                  <a:srgbClr val="FFFFFF"/>
                </a:solidFill>
                <a:latin typeface="Times New Roman"/>
                <a:cs typeface="Arial" charset="0"/>
              </a:rPr>
              <a:t>32</a:t>
            </a:r>
          </a:p>
        </p:txBody>
      </p:sp>
      <p:sp>
        <p:nvSpPr>
          <p:cNvPr id="1734" name="Прямоугольник 1733"/>
          <p:cNvSpPr/>
          <p:nvPr/>
        </p:nvSpPr>
        <p:spPr bwMode="auto">
          <a:xfrm>
            <a:off x="6572933" y="2057306"/>
            <a:ext cx="370407" cy="172602"/>
          </a:xfrm>
          <a:prstGeom prst="rect">
            <a:avLst/>
          </a:prstGeom>
          <a:solidFill>
            <a:srgbClr val="99663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6" b="1" dirty="0">
                <a:solidFill>
                  <a:srgbClr val="FFFFFF"/>
                </a:solidFill>
                <a:latin typeface="Times New Roman"/>
                <a:cs typeface="Arial" charset="0"/>
              </a:rPr>
              <a:t>8</a:t>
            </a:r>
          </a:p>
        </p:txBody>
      </p:sp>
      <p:sp>
        <p:nvSpPr>
          <p:cNvPr id="1735" name="TextBox 1734"/>
          <p:cNvSpPr txBox="1"/>
          <p:nvPr/>
        </p:nvSpPr>
        <p:spPr>
          <a:xfrm>
            <a:off x="6929873" y="2016442"/>
            <a:ext cx="1207292" cy="283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622" dirty="0">
                <a:solidFill>
                  <a:srgbClr val="000000"/>
                </a:solidFill>
                <a:latin typeface="Times New Roman"/>
                <a:cs typeface="Arial" charset="0"/>
              </a:rPr>
              <a:t>Запрещены пакеты (15-50 микрон)</a:t>
            </a:r>
          </a:p>
        </p:txBody>
      </p:sp>
      <p:sp>
        <p:nvSpPr>
          <p:cNvPr id="1736" name="Прямоугольник 1735"/>
          <p:cNvSpPr/>
          <p:nvPr/>
        </p:nvSpPr>
        <p:spPr bwMode="auto">
          <a:xfrm>
            <a:off x="6580465" y="1544092"/>
            <a:ext cx="370407" cy="172602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6" b="1" dirty="0">
                <a:solidFill>
                  <a:srgbClr val="FFFFFF"/>
                </a:solidFill>
                <a:latin typeface="Times New Roman"/>
                <a:cs typeface="Arial" charset="0"/>
              </a:rPr>
              <a:t>23</a:t>
            </a:r>
          </a:p>
        </p:txBody>
      </p:sp>
      <p:sp>
        <p:nvSpPr>
          <p:cNvPr id="1737" name="TextBox 1736"/>
          <p:cNvSpPr txBox="1"/>
          <p:nvPr/>
        </p:nvSpPr>
        <p:spPr>
          <a:xfrm>
            <a:off x="6928203" y="1510123"/>
            <a:ext cx="1138931" cy="283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622" dirty="0">
                <a:solidFill>
                  <a:srgbClr val="000000"/>
                </a:solidFill>
                <a:latin typeface="Times New Roman"/>
                <a:cs typeface="Arial" charset="0"/>
              </a:rPr>
              <a:t>Налог либо запрет на бесплатную раздачу</a:t>
            </a:r>
          </a:p>
        </p:txBody>
      </p:sp>
      <p:sp>
        <p:nvSpPr>
          <p:cNvPr id="1738" name="Прямоугольник 1737"/>
          <p:cNvSpPr/>
          <p:nvPr/>
        </p:nvSpPr>
        <p:spPr bwMode="auto">
          <a:xfrm>
            <a:off x="6576307" y="1807663"/>
            <a:ext cx="370407" cy="172602"/>
          </a:xfrm>
          <a:prstGeom prst="rect">
            <a:avLst/>
          </a:prstGeom>
          <a:solidFill>
            <a:srgbClr val="194EA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6" b="1" dirty="0">
                <a:solidFill>
                  <a:srgbClr val="FFFFFF"/>
                </a:solidFill>
                <a:latin typeface="Times New Roman"/>
                <a:cs typeface="Arial" charset="0"/>
              </a:rPr>
              <a:t>13</a:t>
            </a:r>
          </a:p>
        </p:txBody>
      </p:sp>
      <p:sp>
        <p:nvSpPr>
          <p:cNvPr id="1739" name="TextBox 1738"/>
          <p:cNvSpPr txBox="1"/>
          <p:nvPr/>
        </p:nvSpPr>
        <p:spPr>
          <a:xfrm>
            <a:off x="6926123" y="1771960"/>
            <a:ext cx="1211042" cy="283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622" dirty="0">
                <a:solidFill>
                  <a:srgbClr val="000000"/>
                </a:solidFill>
                <a:latin typeface="Times New Roman"/>
                <a:cs typeface="Arial" charset="0"/>
              </a:rPr>
              <a:t>Налог либо запрет на муниципальном уровне</a:t>
            </a:r>
          </a:p>
        </p:txBody>
      </p:sp>
      <p:sp>
        <p:nvSpPr>
          <p:cNvPr id="1740" name="TextBox 1739"/>
          <p:cNvSpPr txBox="1"/>
          <p:nvPr/>
        </p:nvSpPr>
        <p:spPr>
          <a:xfrm>
            <a:off x="6950040" y="939823"/>
            <a:ext cx="1445675" cy="27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3C8A2E"/>
                </a:solidFill>
                <a:latin typeface="Times New Roman"/>
                <a:cs typeface="Arial" charset="0"/>
              </a:rPr>
              <a:t>ВСЕГО СТРАН</a:t>
            </a:r>
          </a:p>
        </p:txBody>
      </p:sp>
      <p:sp>
        <p:nvSpPr>
          <p:cNvPr id="1741" name="TextBox 1740"/>
          <p:cNvSpPr txBox="1"/>
          <p:nvPr/>
        </p:nvSpPr>
        <p:spPr>
          <a:xfrm>
            <a:off x="6562267" y="2329501"/>
            <a:ext cx="1511146" cy="358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1728" b="1" dirty="0">
                <a:solidFill>
                  <a:srgbClr val="3C8A2E"/>
                </a:solidFill>
                <a:latin typeface="Times New Roman"/>
                <a:cs typeface="Arial" charset="0"/>
              </a:rPr>
              <a:t>МИР</a:t>
            </a:r>
            <a:r>
              <a:rPr lang="ru-RU" sz="1728" b="1" dirty="0">
                <a:solidFill>
                  <a:srgbClr val="194EA5"/>
                </a:solidFill>
                <a:latin typeface="Times New Roman"/>
                <a:cs typeface="Arial" charset="0"/>
              </a:rPr>
              <a:t> </a:t>
            </a:r>
          </a:p>
        </p:txBody>
      </p:sp>
      <p:sp>
        <p:nvSpPr>
          <p:cNvPr id="1742" name="Прямоугольник 1741"/>
          <p:cNvSpPr/>
          <p:nvPr/>
        </p:nvSpPr>
        <p:spPr bwMode="auto">
          <a:xfrm>
            <a:off x="6569893" y="2625248"/>
            <a:ext cx="1443201" cy="31605"/>
          </a:xfrm>
          <a:prstGeom prst="rect">
            <a:avLst/>
          </a:prstGeom>
          <a:solidFill>
            <a:srgbClr val="3C8A2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106" b="1">
              <a:solidFill>
                <a:srgbClr val="3C8A2E"/>
              </a:solidFill>
              <a:latin typeface="Times New Roman"/>
              <a:cs typeface="Arial" charset="0"/>
            </a:endParaRPr>
          </a:p>
        </p:txBody>
      </p:sp>
      <p:sp>
        <p:nvSpPr>
          <p:cNvPr id="1743" name="Прямоугольник 1742"/>
          <p:cNvSpPr/>
          <p:nvPr/>
        </p:nvSpPr>
        <p:spPr bwMode="auto">
          <a:xfrm>
            <a:off x="6576308" y="1206706"/>
            <a:ext cx="1443201" cy="31605"/>
          </a:xfrm>
          <a:prstGeom prst="rect">
            <a:avLst/>
          </a:prstGeom>
          <a:solidFill>
            <a:srgbClr val="3C8A2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106" b="1">
              <a:solidFill>
                <a:srgbClr val="000000"/>
              </a:solidFill>
              <a:latin typeface="Times New Roman"/>
              <a:cs typeface="Arial" charset="0"/>
            </a:endParaRPr>
          </a:p>
        </p:txBody>
      </p:sp>
      <p:sp>
        <p:nvSpPr>
          <p:cNvPr id="1744" name="Прямоугольник 1743"/>
          <p:cNvSpPr/>
          <p:nvPr/>
        </p:nvSpPr>
        <p:spPr bwMode="auto">
          <a:xfrm>
            <a:off x="6572933" y="966808"/>
            <a:ext cx="370407" cy="172602"/>
          </a:xfrm>
          <a:prstGeom prst="rect">
            <a:avLst/>
          </a:prstGeom>
          <a:solidFill>
            <a:srgbClr val="3C8A2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6" b="1" dirty="0">
                <a:solidFill>
                  <a:srgbClr val="FFFFFF"/>
                </a:solidFill>
                <a:latin typeface="Times New Roman"/>
                <a:cs typeface="Arial" charset="0"/>
              </a:rPr>
              <a:t>76</a:t>
            </a:r>
          </a:p>
        </p:txBody>
      </p:sp>
      <p:pic>
        <p:nvPicPr>
          <p:cNvPr id="1746" name="Picture 2" descr="Flag of the People's Republic of China.sv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5986" y="1896680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7" name="Picture 4" descr="Flag of India.sv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5212" y="2112400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8" name="Picture 6" descr="Flag of Myanmar.sv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1243" y="2112024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9" name="Picture 10" descr="Flag of Nepal.sv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3303" y="1905210"/>
            <a:ext cx="105352" cy="131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0" name="Picture 12" descr="Flag of Bangladesh.sv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1785" y="1983445"/>
            <a:ext cx="144858" cy="85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1" name="Picture 14" descr="Flag of the Republic of China.sv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4024" y="2060031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2" name="Picture 16" descr="Flag of Hong Kong.sv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919" y="2163695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3" name="Picture 18" descr="Flag of the Philippines.sv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5784" y="2358392"/>
            <a:ext cx="144858" cy="72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4" name="Picture 20" descr="Flag of Malaysia.sv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7277" y="2508372"/>
            <a:ext cx="144858" cy="72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5" name="Picture 24" descr="Flag of Indonesia.sv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4133" y="2736380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6" name="Picture 26" descr="Flag of Papua New Guinea.sv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7375" y="2932194"/>
            <a:ext cx="144858" cy="111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7" name="Picture 94" descr="Flag of Australia.sv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9571" y="3026481"/>
            <a:ext cx="144858" cy="72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8" name="Picture 22" descr="Flag of Israel.sv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1292" y="1898485"/>
            <a:ext cx="144858" cy="105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59" name="Freeform 236"/>
          <p:cNvSpPr>
            <a:spLocks noChangeAspect="1"/>
          </p:cNvSpPr>
          <p:nvPr/>
        </p:nvSpPr>
        <p:spPr bwMode="auto">
          <a:xfrm>
            <a:off x="4123934" y="2728596"/>
            <a:ext cx="23180" cy="74397"/>
          </a:xfrm>
          <a:custGeom>
            <a:avLst/>
            <a:gdLst>
              <a:gd name="T0" fmla="*/ 0 w 28"/>
              <a:gd name="T1" fmla="*/ 36 h 75"/>
              <a:gd name="T2" fmla="*/ 3 w 28"/>
              <a:gd name="T3" fmla="*/ 60 h 75"/>
              <a:gd name="T4" fmla="*/ 3 w 28"/>
              <a:gd name="T5" fmla="*/ 75 h 75"/>
              <a:gd name="T6" fmla="*/ 3 w 28"/>
              <a:gd name="T7" fmla="*/ 3 h 75"/>
              <a:gd name="T8" fmla="*/ 3 w 28"/>
              <a:gd name="T9" fmla="*/ 0 h 75"/>
              <a:gd name="T10" fmla="*/ 3 w 28"/>
              <a:gd name="T11" fmla="*/ 6 h 75"/>
              <a:gd name="T12" fmla="*/ 0 w 28"/>
              <a:gd name="T13" fmla="*/ 36 h 7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75"/>
              <a:gd name="T23" fmla="*/ 28 w 28"/>
              <a:gd name="T24" fmla="*/ 75 h 7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75">
                <a:moveTo>
                  <a:pt x="0" y="36"/>
                </a:moveTo>
                <a:lnTo>
                  <a:pt x="7" y="60"/>
                </a:lnTo>
                <a:lnTo>
                  <a:pt x="19" y="75"/>
                </a:lnTo>
                <a:lnTo>
                  <a:pt x="28" y="3"/>
                </a:lnTo>
                <a:lnTo>
                  <a:pt x="20" y="0"/>
                </a:lnTo>
                <a:lnTo>
                  <a:pt x="12" y="6"/>
                </a:lnTo>
                <a:lnTo>
                  <a:pt x="0" y="36"/>
                </a:lnTo>
                <a:close/>
              </a:path>
            </a:pathLst>
          </a:custGeom>
          <a:solidFill>
            <a:srgbClr val="996633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632075">
              <a:defRPr/>
            </a:pPr>
            <a:endParaRPr lang="en-US" sz="346" kern="0" dirty="0">
              <a:solidFill>
                <a:sysClr val="windowText" lastClr="000000"/>
              </a:solidFill>
              <a:latin typeface="Garamond" pitchFamily="18" charset="0"/>
              <a:cs typeface="Arial" charset="0"/>
            </a:endParaRPr>
          </a:p>
        </p:txBody>
      </p:sp>
      <p:pic>
        <p:nvPicPr>
          <p:cNvPr id="1760" name="Picture 28" descr="https://upload.wikimedia.org/wikipedia/commons/thumb/d/d4/Flag_of_Zanzibar.svg/150px-Flag_of_Zanzibar.sv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046" y="2730203"/>
            <a:ext cx="179425" cy="119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1" name="Picture 30" descr="Flag of Rwanda.sv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7957" y="2501509"/>
            <a:ext cx="107967" cy="73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2" name="Picture 32" descr="Flag of Eritrea.sv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7548" y="2135271"/>
            <a:ext cx="144858" cy="72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63" name="Freeform 156"/>
          <p:cNvSpPr>
            <a:spLocks noChangeAspect="1"/>
          </p:cNvSpPr>
          <p:nvPr/>
        </p:nvSpPr>
        <p:spPr bwMode="auto">
          <a:xfrm rot="16906119">
            <a:off x="4002590" y="2197541"/>
            <a:ext cx="132500" cy="84052"/>
          </a:xfrm>
          <a:custGeom>
            <a:avLst/>
            <a:gdLst>
              <a:gd name="T0" fmla="*/ 5 w 113"/>
              <a:gd name="T1" fmla="*/ 17 h 63"/>
              <a:gd name="T2" fmla="*/ 5 w 113"/>
              <a:gd name="T3" fmla="*/ 26 h 63"/>
              <a:gd name="T4" fmla="*/ 5 w 113"/>
              <a:gd name="T5" fmla="*/ 41 h 63"/>
              <a:gd name="T6" fmla="*/ 5 w 113"/>
              <a:gd name="T7" fmla="*/ 54 h 63"/>
              <a:gd name="T8" fmla="*/ 5 w 113"/>
              <a:gd name="T9" fmla="*/ 56 h 63"/>
              <a:gd name="T10" fmla="*/ 5 w 113"/>
              <a:gd name="T11" fmla="*/ 56 h 63"/>
              <a:gd name="T12" fmla="*/ 5 w 113"/>
              <a:gd name="T13" fmla="*/ 54 h 63"/>
              <a:gd name="T14" fmla="*/ 5 w 113"/>
              <a:gd name="T15" fmla="*/ 56 h 63"/>
              <a:gd name="T16" fmla="*/ 5 w 113"/>
              <a:gd name="T17" fmla="*/ 58 h 63"/>
              <a:gd name="T18" fmla="*/ 5 w 113"/>
              <a:gd name="T19" fmla="*/ 58 h 63"/>
              <a:gd name="T20" fmla="*/ 5 w 113"/>
              <a:gd name="T21" fmla="*/ 61 h 63"/>
              <a:gd name="T22" fmla="*/ 5 w 113"/>
              <a:gd name="T23" fmla="*/ 63 h 63"/>
              <a:gd name="T24" fmla="*/ 5 w 113"/>
              <a:gd name="T25" fmla="*/ 63 h 63"/>
              <a:gd name="T26" fmla="*/ 5 w 113"/>
              <a:gd name="T27" fmla="*/ 63 h 63"/>
              <a:gd name="T28" fmla="*/ 0 w 113"/>
              <a:gd name="T29" fmla="*/ 58 h 63"/>
              <a:gd name="T30" fmla="*/ 0 w 113"/>
              <a:gd name="T31" fmla="*/ 50 h 63"/>
              <a:gd name="T32" fmla="*/ 5 w 113"/>
              <a:gd name="T33" fmla="*/ 37 h 63"/>
              <a:gd name="T34" fmla="*/ 5 w 113"/>
              <a:gd name="T35" fmla="*/ 45 h 63"/>
              <a:gd name="T36" fmla="*/ 5 w 113"/>
              <a:gd name="T37" fmla="*/ 40 h 63"/>
              <a:gd name="T38" fmla="*/ 5 w 113"/>
              <a:gd name="T39" fmla="*/ 40 h 63"/>
              <a:gd name="T40" fmla="*/ 5 w 113"/>
              <a:gd name="T41" fmla="*/ 0 h 63"/>
              <a:gd name="T42" fmla="*/ 5 w 113"/>
              <a:gd name="T43" fmla="*/ 17 h 63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13"/>
              <a:gd name="T67" fmla="*/ 0 h 63"/>
              <a:gd name="T68" fmla="*/ 113 w 113"/>
              <a:gd name="T69" fmla="*/ 63 h 63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13" h="63">
                <a:moveTo>
                  <a:pt x="112" y="17"/>
                </a:moveTo>
                <a:lnTo>
                  <a:pt x="113" y="26"/>
                </a:lnTo>
                <a:lnTo>
                  <a:pt x="101" y="41"/>
                </a:lnTo>
                <a:lnTo>
                  <a:pt x="100" y="54"/>
                </a:lnTo>
                <a:lnTo>
                  <a:pt x="96" y="56"/>
                </a:lnTo>
                <a:lnTo>
                  <a:pt x="95" y="56"/>
                </a:lnTo>
                <a:lnTo>
                  <a:pt x="82" y="54"/>
                </a:lnTo>
                <a:lnTo>
                  <a:pt x="78" y="56"/>
                </a:lnTo>
                <a:lnTo>
                  <a:pt x="75" y="58"/>
                </a:lnTo>
                <a:lnTo>
                  <a:pt x="73" y="58"/>
                </a:lnTo>
                <a:lnTo>
                  <a:pt x="66" y="61"/>
                </a:lnTo>
                <a:lnTo>
                  <a:pt x="60" y="63"/>
                </a:lnTo>
                <a:lnTo>
                  <a:pt x="36" y="63"/>
                </a:lnTo>
                <a:lnTo>
                  <a:pt x="14" y="63"/>
                </a:lnTo>
                <a:lnTo>
                  <a:pt x="0" y="58"/>
                </a:lnTo>
                <a:lnTo>
                  <a:pt x="0" y="50"/>
                </a:lnTo>
                <a:lnTo>
                  <a:pt x="10" y="37"/>
                </a:lnTo>
                <a:lnTo>
                  <a:pt x="33" y="45"/>
                </a:lnTo>
                <a:lnTo>
                  <a:pt x="39" y="40"/>
                </a:lnTo>
                <a:lnTo>
                  <a:pt x="70" y="40"/>
                </a:lnTo>
                <a:lnTo>
                  <a:pt x="101" y="0"/>
                </a:lnTo>
                <a:lnTo>
                  <a:pt x="112" y="17"/>
                </a:lnTo>
                <a:close/>
              </a:path>
            </a:pathLst>
          </a:custGeom>
          <a:solidFill>
            <a:srgbClr val="00B05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632075">
              <a:defRPr/>
            </a:pPr>
            <a:endParaRPr lang="en-US" sz="346" kern="0" dirty="0">
              <a:solidFill>
                <a:sysClr val="windowText" lastClr="000000"/>
              </a:solidFill>
              <a:latin typeface="Garamond" pitchFamily="18" charset="0"/>
              <a:cs typeface="Arial" charset="0"/>
            </a:endParaRPr>
          </a:p>
        </p:txBody>
      </p:sp>
      <p:pic>
        <p:nvPicPr>
          <p:cNvPr id="1764" name="Picture 38" descr="Flag of the United Arab Emirates.sv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170" y="1993881"/>
            <a:ext cx="144858" cy="72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5" name="Picture 40" descr="Flag of Kenya.sv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563" y="2761376"/>
            <a:ext cx="107967" cy="73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6" name="Picture 42" descr="Flag of Chad.sv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6373" y="2236104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7" name="Picture 48" descr="Flag of Niger.sv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9686" y="2239566"/>
            <a:ext cx="118672" cy="102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8" name="Picture 50" descr="Flag of Morocco.sv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1358" y="1884368"/>
            <a:ext cx="114072" cy="77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9" name="Picture 52" descr="Flag of Senegal.svg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7022" y="2250615"/>
            <a:ext cx="123576" cy="8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0" name="Picture 54" descr="Flag of Guinea-Bissau.sv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9354" y="2390476"/>
            <a:ext cx="127367" cy="63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1" name="Picture 56" descr="Flag of Somalia.sv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114" y="2479698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2" name="Picture 58" descr="Flag of South Africa.sv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559" y="3321402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3" name="Picture 60" descr="Flag of Uganda.svg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2830" y="2613752"/>
            <a:ext cx="107967" cy="73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4" name="Picture 62" descr="Flag of Ethiopia.svg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9877" y="2356968"/>
            <a:ext cx="144858" cy="72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5" name="Picture 64" descr="Flag of Botswana.svg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272" y="3089245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6" name="Picture 66" descr="Flag of Malta.svg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018" y="1847923"/>
            <a:ext cx="110591" cy="7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7" name="Picture 68" descr="Flag of Egypt.svg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234" y="2036530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8" name="Picture 70" descr="Flag of Mali.svg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8412" y="2066186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9" name="Picture 72" descr="Flag of Tunisia.svg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4371" y="1851741"/>
            <a:ext cx="115133" cy="7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0" name="Picture 102" descr="Flag of Italy.sv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6621" y="1598295"/>
            <a:ext cx="75824" cy="51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1" name="Picture 104" descr="Flag of France.svg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0848" y="1556956"/>
            <a:ext cx="93114" cy="63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2" name="Picture 106" descr="Flag of Macedonia.sv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217" y="1444197"/>
            <a:ext cx="80837" cy="40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3" name="Picture 108" descr="Flag of Belgium (civil).svg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4253" y="1268504"/>
            <a:ext cx="107859" cy="73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4" name="Picture 114" descr="Flag of the Czech Republic.sv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9805" y="1416406"/>
            <a:ext cx="78722" cy="53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5" name="Picture 116" descr="Flag of Georgia.sv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8210" y="1574015"/>
            <a:ext cx="70279" cy="47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6" name="Picture 120" descr="Flag of Denmark.sv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636" y="1277323"/>
            <a:ext cx="70971" cy="54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7" name="Picture 122" descr="Flag of Ireland.svg"/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9333" y="1475090"/>
            <a:ext cx="103784" cy="51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8" name="Picture 124" descr="Flag of Romania.sv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688" y="1510856"/>
            <a:ext cx="87037" cy="59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9" name="Picture 126" descr="Flag of Luxembourg.sv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800" y="1497216"/>
            <a:ext cx="87576" cy="51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0" name="Picture 128" descr="Flag of the United Kingdom.svg"/>
          <p:cNvPicPr>
            <a:picLocks noChangeAspect="1"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448" y="1350897"/>
            <a:ext cx="144858" cy="72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1" name="Picture 130" descr="Flag of Serbia.sv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8975" y="1571602"/>
            <a:ext cx="83085" cy="5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2" name="Picture 132" descr="Flag of Bulgaria.svg"/>
          <p:cNvPicPr>
            <a:picLocks noChangeAspect="1" noChangeArrowheads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5312" y="1537117"/>
            <a:ext cx="104160" cy="7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3" name="Picture 134" descr="Flag of Portugal.svg"/>
          <p:cNvPicPr>
            <a:picLocks noChangeAspect="1" noChangeArrowheads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8674" y="1672422"/>
            <a:ext cx="113659" cy="77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4" name="Picture 136" descr="Flag of Spain.svg"/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8410" y="1631166"/>
            <a:ext cx="106031" cy="72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5" name="Picture 138" descr="Flag of Germany.svg"/>
          <p:cNvPicPr>
            <a:picLocks noChangeAspect="1"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346" y="1356201"/>
            <a:ext cx="98215" cy="58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6" name="Picture 140" descr="Flag of the Netherlands.svg"/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0462" y="1455703"/>
            <a:ext cx="107950" cy="73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7" name="Picture 142" descr="Flag of Sweden.svg"/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8221" y="1212113"/>
            <a:ext cx="93687" cy="59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8" name="Picture 144" descr="Flag of Latvia.svg"/>
          <p:cNvPicPr>
            <a:picLocks noChangeAspect="1"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6335" y="1358460"/>
            <a:ext cx="95683" cy="47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9" name="Picture 146" descr="Flag of Estonia.svg"/>
          <p:cNvPicPr>
            <a:picLocks noChangeAspect="1" noChangeArrowheads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2372" y="1280621"/>
            <a:ext cx="107447" cy="68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0" name="Picture 148" descr="Flag of Finland.svg"/>
          <p:cNvPicPr>
            <a:picLocks noChangeAspect="1" noChangeArrowheads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3549" y="1212826"/>
            <a:ext cx="100367" cy="59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1" name="Picture 150" descr="Flag of Greece.svg"/>
          <p:cNvPicPr>
            <a:picLocks noChangeAspect="1" noChangeArrowheads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682" y="1738945"/>
            <a:ext cx="92596" cy="63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2" name="Picture 152" descr="Flag of Switzerland.svg"/>
          <p:cNvPicPr>
            <a:picLocks noChangeAspect="1" noChangeArrowheads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356" y="1499705"/>
            <a:ext cx="95331" cy="95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3" name="Picture 154" descr="Flag of Turkey.svg"/>
          <p:cNvPicPr>
            <a:picLocks noChangeAspect="1" noChangeArrowheads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3956" y="1714860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4" name="Picture 74" descr="Flag of Brazil.svg"/>
          <p:cNvPicPr>
            <a:picLocks noChangeAspect="1" noChangeArrowheads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0332" y="2815119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5" name="Picture 76" descr="Flag of Bolivia (state).svg"/>
          <p:cNvPicPr>
            <a:picLocks noChangeAspect="1" noChangeArrowheads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692" y="2987317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6" name="Picture 78" descr="Flag of Colombia.svg"/>
          <p:cNvPicPr>
            <a:picLocks noChangeAspect="1" noChangeArrowheads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9490" y="2522681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7" name="Picture 80" descr="Flag of Argentina.svg"/>
          <p:cNvPicPr>
            <a:picLocks noChangeAspect="1" noChangeArrowheads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329" y="3419232"/>
            <a:ext cx="144858" cy="92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8" name="Picture 82" descr="Flag of Chile.svg"/>
          <p:cNvPicPr>
            <a:picLocks noChangeAspect="1" noChangeArrowheads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5062" y="3637332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9" name="Picture 84" descr="Flag of Haiti.svg"/>
          <p:cNvPicPr>
            <a:picLocks noChangeAspect="1" noChangeArrowheads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870" y="2112559"/>
            <a:ext cx="144858" cy="85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0" name="Picture 86" descr="Flag of Antigua and Barbuda.svg"/>
          <p:cNvPicPr>
            <a:picLocks noChangeAspect="1" noChangeArrowheads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0454" y="2206493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1" name="Picture 88" descr="Flag of Jamaica.svg"/>
          <p:cNvPicPr>
            <a:picLocks noChangeAspect="1" noChangeArrowheads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6929" y="2269602"/>
            <a:ext cx="144858" cy="72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2" name="Picture 90" descr="Flag of Panama.svg"/>
          <p:cNvPicPr>
            <a:picLocks noChangeAspect="1" noChangeArrowheads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5729" y="2461223"/>
            <a:ext cx="144858" cy="9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3" name="Picture 96" descr="Flag of Mexico.svg"/>
          <p:cNvPicPr>
            <a:picLocks noChangeAspect="1" noChangeArrowheads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808" y="2074055"/>
            <a:ext cx="144858" cy="85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4" name="Picture 98" descr="Flag of the United States.svg"/>
          <p:cNvPicPr>
            <a:picLocks noChangeAspect="1" noChangeArrowheads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659" y="1571732"/>
            <a:ext cx="144858" cy="79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5" name="Picture 100" descr="Flag of Canada.svg"/>
          <p:cNvPicPr>
            <a:picLocks noChangeAspect="1" noChangeArrowheads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126" y="1310424"/>
            <a:ext cx="144858" cy="8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6" name="Picture 98" descr="Flag of the United States.svg"/>
          <p:cNvPicPr>
            <a:picLocks noChangeAspect="1" noChangeArrowheads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5392" y="1166514"/>
            <a:ext cx="144858" cy="79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17" name="TextBox 1816"/>
          <p:cNvSpPr txBox="1"/>
          <p:nvPr/>
        </p:nvSpPr>
        <p:spPr>
          <a:xfrm>
            <a:off x="4938780" y="3292907"/>
            <a:ext cx="561372" cy="205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735" b="1" dirty="0">
                <a:solidFill>
                  <a:srgbClr val="3C8A2E"/>
                </a:solidFill>
                <a:latin typeface="Times New Roman"/>
                <a:cs typeface="Arial" charset="0"/>
              </a:rPr>
              <a:t>Океания</a:t>
            </a:r>
          </a:p>
        </p:txBody>
      </p:sp>
      <p:sp>
        <p:nvSpPr>
          <p:cNvPr id="1818" name="TextBox 1817"/>
          <p:cNvSpPr txBox="1"/>
          <p:nvPr/>
        </p:nvSpPr>
        <p:spPr>
          <a:xfrm>
            <a:off x="5815084" y="1944597"/>
            <a:ext cx="396262" cy="205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735" b="1" dirty="0">
                <a:solidFill>
                  <a:srgbClr val="3C8A2E"/>
                </a:solidFill>
                <a:latin typeface="Times New Roman"/>
                <a:cs typeface="Arial" charset="0"/>
              </a:rPr>
              <a:t>Азия</a:t>
            </a:r>
          </a:p>
        </p:txBody>
      </p:sp>
      <p:sp>
        <p:nvSpPr>
          <p:cNvPr id="1819" name="TextBox 1818"/>
          <p:cNvSpPr txBox="1"/>
          <p:nvPr/>
        </p:nvSpPr>
        <p:spPr>
          <a:xfrm>
            <a:off x="3306934" y="793088"/>
            <a:ext cx="498855" cy="205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735" b="1" dirty="0">
                <a:solidFill>
                  <a:srgbClr val="3C8A2E"/>
                </a:solidFill>
                <a:latin typeface="Times New Roman"/>
                <a:cs typeface="Arial" charset="0"/>
              </a:rPr>
              <a:t>Европа</a:t>
            </a:r>
          </a:p>
        </p:txBody>
      </p:sp>
      <p:sp>
        <p:nvSpPr>
          <p:cNvPr id="1820" name="TextBox 1819"/>
          <p:cNvSpPr txBox="1"/>
          <p:nvPr/>
        </p:nvSpPr>
        <p:spPr>
          <a:xfrm>
            <a:off x="3217488" y="2562964"/>
            <a:ext cx="526106" cy="205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735" b="1" dirty="0">
                <a:solidFill>
                  <a:srgbClr val="3C8A2E"/>
                </a:solidFill>
                <a:latin typeface="Times New Roman"/>
                <a:cs typeface="Arial" charset="0"/>
              </a:rPr>
              <a:t>Африка</a:t>
            </a:r>
          </a:p>
        </p:txBody>
      </p:sp>
      <p:sp>
        <p:nvSpPr>
          <p:cNvPr id="1821" name="TextBox 1820"/>
          <p:cNvSpPr txBox="1"/>
          <p:nvPr/>
        </p:nvSpPr>
        <p:spPr>
          <a:xfrm>
            <a:off x="1575342" y="3358808"/>
            <a:ext cx="800520" cy="318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735" b="1" dirty="0">
                <a:solidFill>
                  <a:srgbClr val="3C8A2E"/>
                </a:solidFill>
                <a:latin typeface="Times New Roman"/>
                <a:cs typeface="Arial" charset="0"/>
              </a:rPr>
              <a:t>Южная Америка</a:t>
            </a:r>
          </a:p>
        </p:txBody>
      </p:sp>
      <p:sp>
        <p:nvSpPr>
          <p:cNvPr id="1822" name="TextBox 1821"/>
          <p:cNvSpPr txBox="1"/>
          <p:nvPr/>
        </p:nvSpPr>
        <p:spPr>
          <a:xfrm>
            <a:off x="2278142" y="1838056"/>
            <a:ext cx="1013237" cy="205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735" b="1" dirty="0">
                <a:solidFill>
                  <a:srgbClr val="3C8A2E"/>
                </a:solidFill>
                <a:latin typeface="Times New Roman"/>
                <a:cs typeface="Arial" charset="0"/>
              </a:rPr>
              <a:t>Северная Америка</a:t>
            </a:r>
          </a:p>
        </p:txBody>
      </p:sp>
      <p:graphicFrame>
        <p:nvGraphicFramePr>
          <p:cNvPr id="1831" name="Диаграмма 18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1508527"/>
              </p:ext>
            </p:extLst>
          </p:nvPr>
        </p:nvGraphicFramePr>
        <p:xfrm>
          <a:off x="6200775" y="2460607"/>
          <a:ext cx="2642497" cy="2149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sp>
        <p:nvSpPr>
          <p:cNvPr id="1832" name="Овал 1831"/>
          <p:cNvSpPr/>
          <p:nvPr/>
        </p:nvSpPr>
        <p:spPr bwMode="auto">
          <a:xfrm>
            <a:off x="7133670" y="2979258"/>
            <a:ext cx="687047" cy="687047"/>
          </a:xfrm>
          <a:prstGeom prst="ellipse">
            <a:avLst/>
          </a:prstGeom>
          <a:solidFill>
            <a:srgbClr val="3C8A2E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2216" tIns="32352" rIns="62216" bIns="32352" numCol="1" rtlCol="0" anchor="ctr" anchorCtr="0" compatLnSpc="1">
            <a:prstTxWarp prst="textNoShape">
              <a:avLst/>
            </a:prstTxWarp>
          </a:bodyPr>
          <a:lstStyle/>
          <a:p>
            <a:pPr algn="ctr" defTabSz="632075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106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33" name="TextBox 1832"/>
          <p:cNvSpPr txBox="1"/>
          <p:nvPr/>
        </p:nvSpPr>
        <p:spPr>
          <a:xfrm>
            <a:off x="7260844" y="3047888"/>
            <a:ext cx="1074585" cy="358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1728" b="1" dirty="0">
                <a:solidFill>
                  <a:srgbClr val="FFFFFF"/>
                </a:solidFill>
                <a:cs typeface="Arial" charset="0"/>
              </a:rPr>
              <a:t>7,3</a:t>
            </a:r>
            <a:endParaRPr lang="ru-RU" sz="1106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34" name="TextBox 1833"/>
          <p:cNvSpPr txBox="1"/>
          <p:nvPr/>
        </p:nvSpPr>
        <p:spPr>
          <a:xfrm>
            <a:off x="7139278" y="3302960"/>
            <a:ext cx="674728" cy="177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553" b="1" dirty="0">
                <a:solidFill>
                  <a:srgbClr val="FFFFFF"/>
                </a:solidFill>
                <a:cs typeface="Arial" charset="0"/>
              </a:rPr>
              <a:t>млрд чел. </a:t>
            </a:r>
          </a:p>
        </p:txBody>
      </p:sp>
      <p:sp>
        <p:nvSpPr>
          <p:cNvPr id="380" name="TextBox 379"/>
          <p:cNvSpPr txBox="1"/>
          <p:nvPr/>
        </p:nvSpPr>
        <p:spPr>
          <a:xfrm>
            <a:off x="628432" y="3920314"/>
            <a:ext cx="4707505" cy="443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71" b="1" i="1" dirty="0"/>
              <a:t>Источники</a:t>
            </a:r>
            <a:r>
              <a:rPr lang="ru-RU" sz="571" i="1" dirty="0"/>
              <a:t>: Департамент по экономическим и социальным вопросам ООН, </a:t>
            </a:r>
            <a:r>
              <a:rPr lang="en-US" sz="571" i="1" dirty="0"/>
              <a:t>BBC</a:t>
            </a:r>
            <a:r>
              <a:rPr lang="ru-RU" sz="571" i="1" dirty="0"/>
              <a:t>, ТАСС, </a:t>
            </a:r>
            <a:r>
              <a:rPr lang="en-US" sz="571" i="1" dirty="0"/>
              <a:t>REMA</a:t>
            </a:r>
            <a:r>
              <a:rPr lang="ru-RU" sz="571" i="1" dirty="0"/>
              <a:t>, </a:t>
            </a:r>
            <a:r>
              <a:rPr lang="ru-RU" sz="571" i="1" dirty="0" err="1"/>
              <a:t>National</a:t>
            </a:r>
            <a:r>
              <a:rPr lang="ru-RU" sz="571" i="1" dirty="0"/>
              <a:t> </a:t>
            </a:r>
            <a:r>
              <a:rPr lang="ru-RU" sz="571" i="1" dirty="0" err="1"/>
              <a:t>Geographic</a:t>
            </a:r>
            <a:r>
              <a:rPr lang="ru-RU" sz="571" i="1" dirty="0"/>
              <a:t>,</a:t>
            </a:r>
            <a:r>
              <a:rPr lang="en-US" sz="571" i="1" dirty="0"/>
              <a:t> </a:t>
            </a:r>
            <a:r>
              <a:rPr lang="ru-RU" sz="571" i="1" dirty="0"/>
              <a:t>ИА </a:t>
            </a:r>
            <a:r>
              <a:rPr lang="en-US" sz="571" i="1" dirty="0"/>
              <a:t>REGNUM</a:t>
            </a:r>
            <a:r>
              <a:rPr lang="ru-RU" sz="571" i="1" dirty="0"/>
              <a:t>, </a:t>
            </a:r>
            <a:r>
              <a:rPr lang="en-US" sz="571" i="1" dirty="0"/>
              <a:t>panapress.com</a:t>
            </a:r>
            <a:r>
              <a:rPr lang="ru-RU" sz="571" i="1" dirty="0"/>
              <a:t>, </a:t>
            </a:r>
            <a:r>
              <a:rPr lang="en-US" sz="571" i="1" dirty="0"/>
              <a:t>africanews.com</a:t>
            </a:r>
            <a:r>
              <a:rPr lang="ru-RU" sz="571" i="1" dirty="0"/>
              <a:t>, </a:t>
            </a:r>
            <a:r>
              <a:rPr lang="en-US" sz="571" i="1" dirty="0"/>
              <a:t>dakareats.com</a:t>
            </a:r>
            <a:r>
              <a:rPr lang="ru-RU" sz="571" i="1" dirty="0"/>
              <a:t>, </a:t>
            </a:r>
            <a:r>
              <a:rPr lang="en-US" sz="571" i="1" dirty="0"/>
              <a:t>radionz.co.nz</a:t>
            </a:r>
            <a:r>
              <a:rPr lang="ru-RU" sz="571" i="1" dirty="0"/>
              <a:t>, </a:t>
            </a:r>
            <a:r>
              <a:rPr lang="en-US" sz="571" i="1" dirty="0"/>
              <a:t>bloknot-moldova.md</a:t>
            </a:r>
            <a:r>
              <a:rPr lang="ru-RU" sz="571" i="1" dirty="0"/>
              <a:t>, </a:t>
            </a:r>
            <a:r>
              <a:rPr lang="en-US" sz="571" i="1" dirty="0"/>
              <a:t>jamaica-gleaner.com</a:t>
            </a:r>
            <a:r>
              <a:rPr lang="ru-RU" sz="571" i="1" dirty="0"/>
              <a:t>, </a:t>
            </a:r>
            <a:r>
              <a:rPr lang="en-US" sz="571" i="1" dirty="0"/>
              <a:t>Indian Ministry of Environment and Forests, paketu.ru, </a:t>
            </a:r>
            <a:r>
              <a:rPr lang="ru-RU" sz="571" i="1" dirty="0"/>
              <a:t>Профиль</a:t>
            </a:r>
            <a:r>
              <a:rPr lang="en-US" sz="571" i="1" dirty="0"/>
              <a:t>, El </a:t>
            </a:r>
            <a:r>
              <a:rPr lang="en-US" sz="571" i="1" dirty="0" err="1"/>
              <a:t>Tiempo</a:t>
            </a:r>
            <a:r>
              <a:rPr lang="en-US" sz="571" i="1" dirty="0"/>
              <a:t>, Xinhua, sputnik-georgia.ru, zerowasteeurope.eu,</a:t>
            </a:r>
            <a:r>
              <a:rPr lang="ru-RU" sz="571" i="1" dirty="0"/>
              <a:t> </a:t>
            </a:r>
            <a:r>
              <a:rPr lang="en-US" sz="571" i="1" dirty="0"/>
              <a:t>rcinet.ca</a:t>
            </a:r>
            <a:r>
              <a:rPr lang="ru-RU" sz="571" i="1" dirty="0"/>
              <a:t>, </a:t>
            </a:r>
            <a:r>
              <a:rPr lang="en-US" sz="571" i="1" dirty="0"/>
              <a:t>jpost.com</a:t>
            </a:r>
            <a:r>
              <a:rPr lang="ru-RU" sz="571" i="1" dirty="0"/>
              <a:t>, Интерфакс, </a:t>
            </a:r>
            <a:r>
              <a:rPr lang="en-US" sz="571" i="1" dirty="0"/>
              <a:t>chaniapost.eu</a:t>
            </a:r>
            <a:r>
              <a:rPr lang="ru-RU" sz="571" i="1" dirty="0"/>
              <a:t>, </a:t>
            </a:r>
            <a:r>
              <a:rPr lang="en-US" sz="571" i="1" dirty="0"/>
              <a:t>The Sacramento Bee</a:t>
            </a:r>
            <a:r>
              <a:rPr lang="ru-RU" sz="571" i="1" dirty="0"/>
              <a:t>, </a:t>
            </a:r>
            <a:r>
              <a:rPr lang="en-US" sz="571" i="1" dirty="0"/>
              <a:t>France 24</a:t>
            </a:r>
            <a:r>
              <a:rPr lang="ru-RU" sz="571" i="1" dirty="0"/>
              <a:t>, </a:t>
            </a:r>
            <a:r>
              <a:rPr lang="en-US" sz="571" i="1" dirty="0"/>
              <a:t>Le temps</a:t>
            </a:r>
            <a:r>
              <a:rPr lang="ru-RU" sz="571" i="1" dirty="0"/>
              <a:t>, </a:t>
            </a:r>
            <a:r>
              <a:rPr lang="en-US" sz="571" i="1" dirty="0"/>
              <a:t>Channel </a:t>
            </a:r>
            <a:r>
              <a:rPr lang="en-US" sz="571" i="1" dirty="0" err="1"/>
              <a:t>NewsAsia</a:t>
            </a:r>
            <a:r>
              <a:rPr lang="ru-RU" sz="571" i="1" dirty="0"/>
              <a:t>, </a:t>
            </a:r>
            <a:r>
              <a:rPr lang="en-US" sz="571" i="1" dirty="0" err="1"/>
              <a:t>TreeHugger</a:t>
            </a:r>
            <a:r>
              <a:rPr lang="ru-RU" sz="571" i="1" dirty="0"/>
              <a:t>, </a:t>
            </a:r>
            <a:r>
              <a:rPr lang="en-US" sz="571" i="1" dirty="0" err="1"/>
              <a:t>Doğan</a:t>
            </a:r>
            <a:r>
              <a:rPr lang="en-US" sz="571" i="1" dirty="0"/>
              <a:t> News Agency</a:t>
            </a:r>
            <a:endParaRPr lang="ru-RU" sz="571" i="1" dirty="0"/>
          </a:p>
        </p:txBody>
      </p:sp>
      <p:sp>
        <p:nvSpPr>
          <p:cNvPr id="382" name="TextBox 381"/>
          <p:cNvSpPr txBox="1"/>
          <p:nvPr/>
        </p:nvSpPr>
        <p:spPr>
          <a:xfrm>
            <a:off x="7102872" y="2387201"/>
            <a:ext cx="1708527" cy="27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3C8A2E"/>
                </a:solidFill>
                <a:latin typeface="Times New Roman"/>
                <a:cs typeface="Arial" charset="0"/>
              </a:rPr>
              <a:t>80% </a:t>
            </a:r>
            <a:r>
              <a:rPr lang="ru-RU" sz="1175" b="1" dirty="0">
                <a:solidFill>
                  <a:srgbClr val="3C8A2E"/>
                </a:solidFill>
                <a:latin typeface="Times New Roman"/>
                <a:cs typeface="Arial" charset="0"/>
              </a:rPr>
              <a:t>населения</a:t>
            </a:r>
          </a:p>
        </p:txBody>
      </p:sp>
    </p:spTree>
    <p:extLst>
      <p:ext uri="{BB962C8B-B14F-4D97-AF65-F5344CB8AC3E}">
        <p14:creationId xmlns:p14="http://schemas.microsoft.com/office/powerpoint/2010/main" val="317984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1259632" y="1563638"/>
            <a:ext cx="7111253" cy="1312360"/>
          </a:xfrm>
          <a:prstGeom prst="rect">
            <a:avLst/>
          </a:prstGeom>
        </p:spPr>
        <p:txBody>
          <a:bodyPr vert="horz" lIns="37327" tIns="18664" rIns="37327" bIns="18664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377A22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just"/>
            <a:r>
              <a:rPr lang="ru-RU" sz="1306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сии.</a:t>
            </a:r>
            <a:r>
              <a:rPr lang="ru-RU" sz="1306" b="0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306" i="1" u="sng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жегодно потребляется 65  млрд полиэтиленовых пакетов (в Москве не менее 4 млрд).</a:t>
            </a:r>
          </a:p>
          <a:p>
            <a:pPr algn="just"/>
            <a:r>
              <a:rPr lang="ru-RU" sz="1306" b="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России практически отсутствует раздельный сбор мусора, поэтому использованные полиэтиленовые пакеты не перерабатываются, а оказываются на свалках</a:t>
            </a:r>
          </a:p>
          <a:p>
            <a:pPr algn="just"/>
            <a:endParaRPr lang="ru-RU" sz="1306" b="0" dirty="0">
              <a:solidFill>
                <a:prstClr val="black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ru-RU" sz="1306" b="0" dirty="0">
              <a:solidFill>
                <a:prstClr val="black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ru-RU" sz="1306" b="0" dirty="0">
              <a:solidFill>
                <a:prstClr val="black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ru-RU" sz="1306" b="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 инициативой запрета бесплатных одноразовых пакетов Российский союз промышленников и предпринимателей выступил еще  в 2013 г</a:t>
            </a:r>
          </a:p>
          <a:p>
            <a:pPr algn="just"/>
            <a:endParaRPr lang="ru-RU" sz="1306" b="0" dirty="0">
              <a:solidFill>
                <a:prstClr val="black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ru-RU" sz="1306" b="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 похожими инициативами выступали законодательные органы ряда российских регионов</a:t>
            </a:r>
          </a:p>
          <a:p>
            <a:pPr algn="just"/>
            <a:endParaRPr lang="ru-RU" sz="1306" b="0" dirty="0">
              <a:solidFill>
                <a:prstClr val="black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0" y="1000258"/>
            <a:ext cx="565699" cy="42529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Заголовок 5"/>
          <p:cNvSpPr txBox="1">
            <a:spLocks/>
          </p:cNvSpPr>
          <p:nvPr/>
        </p:nvSpPr>
        <p:spPr>
          <a:xfrm>
            <a:off x="2339752" y="233820"/>
            <a:ext cx="6213544" cy="31605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9pPr>
          </a:lstStyle>
          <a:p>
            <a:pPr defTabSz="632085"/>
            <a:r>
              <a:rPr lang="ru-RU" sz="1797" kern="0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А что в России</a:t>
            </a:r>
            <a:r>
              <a:rPr lang="en-US" sz="1797" kern="0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 </a:t>
            </a:r>
            <a:endParaRPr lang="ru-RU" sz="1797" kern="0" dirty="0">
              <a:solidFill>
                <a:srgbClr val="224B1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59632" y="1858036"/>
            <a:ext cx="2404152" cy="198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Источники: </a:t>
            </a:r>
            <a:r>
              <a:rPr lang="en-US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Green Peace </a:t>
            </a:r>
            <a:endParaRPr lang="ru-RU" sz="691" b="1" i="1" dirty="0">
              <a:solidFill>
                <a:srgbClr val="000000"/>
              </a:solidFill>
              <a:latin typeface="Times New Roman"/>
              <a:cs typeface="Arial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43608" y="4083918"/>
            <a:ext cx="8403746" cy="318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70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ешение об </a:t>
            </a:r>
            <a:r>
              <a:rPr lang="ru-RU" sz="1470" b="1" dirty="0" smtClean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граничении </a:t>
            </a:r>
            <a:r>
              <a:rPr lang="ru-RU" sz="1470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спользования полиэтиленовых пакетов </a:t>
            </a:r>
            <a:r>
              <a:rPr lang="ru-RU" sz="1470" b="1" dirty="0" smtClean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е </a:t>
            </a:r>
            <a:r>
              <a:rPr lang="ru-RU" sz="1470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нято</a:t>
            </a:r>
            <a:endParaRPr lang="ru-RU" sz="1470" b="1" kern="0" dirty="0">
              <a:solidFill>
                <a:srgbClr val="3C8A2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1574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907704" y="70740"/>
            <a:ext cx="6912768" cy="703066"/>
          </a:xfrm>
        </p:spPr>
        <p:txBody>
          <a:bodyPr>
            <a:normAutofit/>
          </a:bodyPr>
          <a:lstStyle/>
          <a:p>
            <a:r>
              <a:rPr lang="ru-RU" sz="2000" b="1" dirty="0" smtClean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Жизненный </a:t>
            </a:r>
            <a:r>
              <a:rPr lang="ru-RU" sz="20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икл пакета. Бумага </a:t>
            </a:r>
            <a:r>
              <a:rPr lang="en-US" sz="20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s </a:t>
            </a:r>
            <a:r>
              <a:rPr lang="ru-RU" sz="20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иэтилен 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772859"/>
            <a:ext cx="7056784" cy="3920067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6503620" y="2859782"/>
            <a:ext cx="2532876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олиэтилен производится из </a:t>
            </a:r>
            <a:r>
              <a:rPr lang="ru-RU" sz="1200" b="1" dirty="0" err="1" smtClean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невозобновляемых</a:t>
            </a:r>
            <a:r>
              <a:rPr lang="ru-RU" sz="1200" b="1" dirty="0" smtClean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иродных ресурсов  </a:t>
            </a:r>
            <a:endParaRPr lang="ru-RU" sz="1200" b="1" dirty="0" smtClean="0">
              <a:solidFill>
                <a:srgbClr val="224B15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олиэтиленовые пакеты используются как мешки для мусора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Их сбор и переработка затруднительны</a:t>
            </a:r>
            <a:r>
              <a:rPr lang="ru-RU" sz="1200" b="1" i="1" dirty="0" smtClean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(на текущий момент не более 3%)</a:t>
            </a:r>
            <a:endParaRPr lang="ru-RU" sz="1200" b="1" i="1" dirty="0">
              <a:solidFill>
                <a:srgbClr val="224B15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287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339752" y="-106065"/>
            <a:ext cx="6404008" cy="937741"/>
          </a:xfrm>
        </p:spPr>
        <p:txBody>
          <a:bodyPr>
            <a:normAutofit/>
          </a:bodyPr>
          <a:lstStyle/>
          <a:p>
            <a:pPr algn="l"/>
            <a:r>
              <a:rPr lang="ru-RU" sz="20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 такое 4 млрд </a:t>
            </a:r>
            <a:r>
              <a:rPr lang="ru-RU" sz="2000" b="1" dirty="0" err="1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т</a:t>
            </a:r>
            <a:r>
              <a:rPr lang="ru-RU" sz="20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год полиэтиленовых пакетов для г. Москва</a:t>
            </a:r>
            <a:r>
              <a:rPr lang="en-US" sz="20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 </a:t>
            </a:r>
            <a:r>
              <a:rPr lang="ru-RU" sz="20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ru-RU" sz="2000" dirty="0">
              <a:solidFill>
                <a:srgbClr val="3C8A2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2" descr="https://typical-moscow.ru/wp-content/uploads/2015/11/moscow-russia-kremlin-city-3654-1152x75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387" y="890049"/>
            <a:ext cx="2595910" cy="1710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36002" y="1470693"/>
            <a:ext cx="2404152" cy="198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Источники: </a:t>
            </a:r>
            <a:r>
              <a:rPr lang="en-US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Green Peace</a:t>
            </a:r>
            <a:r>
              <a:rPr lang="ru-RU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, </a:t>
            </a:r>
            <a:r>
              <a:rPr lang="en-US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RBC </a:t>
            </a:r>
            <a:r>
              <a:rPr lang="ru-RU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журнал, 2015 г., №2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06884" y="3764062"/>
            <a:ext cx="2404152" cy="198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Источники: </a:t>
            </a:r>
            <a:r>
              <a:rPr lang="en-US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manfol.ru (</a:t>
            </a:r>
            <a:r>
              <a:rPr lang="ru-RU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производитель)</a:t>
            </a:r>
          </a:p>
        </p:txBody>
      </p:sp>
      <p:pic>
        <p:nvPicPr>
          <p:cNvPr id="8" name="Picture 2" descr="http://life-move.ru/wp-content/uploads/2015/04/PlasticFloor1-1024x76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9913" y="2646068"/>
            <a:ext cx="2593962" cy="1608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://www.welvit.ru/wp-content/uploads/2015/06/karta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4762" y="955528"/>
            <a:ext cx="2217119" cy="2545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538496" y="1781800"/>
            <a:ext cx="2926699" cy="3436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85385"/>
            <a:r>
              <a:rPr lang="ru-RU" sz="1633" b="1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ь г. Москва 2 561 км²</a:t>
            </a:r>
            <a:endParaRPr lang="ru-RU" sz="1633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27155" y="818911"/>
            <a:ext cx="4222683" cy="850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 indent="-186629" defTabSz="585385">
              <a:buFont typeface="Arial" panose="020B0604020202020204" pitchFamily="34" charset="0"/>
              <a:buChar char="•"/>
            </a:pPr>
            <a:r>
              <a:rPr lang="ru-RU" sz="1152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 в России в год используется 65 млрд меш (325 тыс. тонн)</a:t>
            </a:r>
          </a:p>
          <a:p>
            <a:pPr marL="186629" indent="-186629" defTabSz="585385">
              <a:buFont typeface="Arial" panose="020B0604020202020204" pitchFamily="34" charset="0"/>
              <a:buChar char="•"/>
            </a:pPr>
            <a:r>
              <a:rPr lang="ru-RU" sz="1152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низ в</a:t>
            </a:r>
            <a:r>
              <a:rPr lang="ru-RU" sz="115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7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Москва 4 млрд </a:t>
            </a:r>
            <a:r>
              <a:rPr lang="ru-RU" sz="1470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т</a:t>
            </a:r>
            <a:r>
              <a:rPr lang="ru-RU" sz="115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52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,15 тыс. тонн)</a:t>
            </a:r>
          </a:p>
          <a:p>
            <a:pPr defTabSz="585385"/>
            <a:r>
              <a:rPr lang="ru-RU" sz="1152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06884" y="2321119"/>
            <a:ext cx="4558648" cy="149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85385"/>
            <a:r>
              <a:rPr lang="ru-RU" sz="98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чет площади пакета типа «майки»:</a:t>
            </a:r>
          </a:p>
          <a:p>
            <a:pPr marL="186629" indent="-186629" defTabSz="585385">
              <a:buFont typeface="Arial" panose="020B0604020202020204" pitchFamily="34" charset="0"/>
              <a:buChar char="•"/>
            </a:pPr>
            <a:r>
              <a:rPr lang="ru-RU" sz="98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мер: ширина 30 см, высота 60 см, боковая складка 16 см</a:t>
            </a:r>
          </a:p>
          <a:p>
            <a:pPr marL="186629" indent="-186629" defTabSz="585385">
              <a:buFont typeface="Arial" panose="020B0604020202020204" pitchFamily="34" charset="0"/>
              <a:buChar char="•"/>
            </a:pPr>
            <a:r>
              <a:rPr lang="ru-RU" sz="98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лщина 15 мкн </a:t>
            </a:r>
          </a:p>
          <a:p>
            <a:pPr marL="186629" indent="-186629" defTabSz="585385">
              <a:buFont typeface="Arial" panose="020B0604020202020204" pitchFamily="34" charset="0"/>
              <a:buChar char="•"/>
            </a:pPr>
            <a:r>
              <a:rPr lang="ru-RU" sz="98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териал ПНД</a:t>
            </a:r>
          </a:p>
          <a:p>
            <a:pPr marL="186629" indent="-186629" defTabSz="585385">
              <a:buFont typeface="Arial" panose="020B0604020202020204" pitchFamily="34" charset="0"/>
              <a:buChar char="•"/>
            </a:pPr>
            <a:r>
              <a:rPr lang="en-US" sz="98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 = </a:t>
            </a:r>
            <a:r>
              <a:rPr lang="ru-RU" sz="98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,5 м2</a:t>
            </a:r>
          </a:p>
          <a:p>
            <a:pPr marL="186629" indent="-186629" defTabSz="585385">
              <a:buFont typeface="Arial" panose="020B0604020202020204" pitchFamily="34" charset="0"/>
              <a:buChar char="•"/>
            </a:pPr>
            <a:r>
              <a:rPr lang="ru-RU" sz="98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с 1 пакета </a:t>
            </a:r>
            <a:r>
              <a:rPr lang="en-US" sz="98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ru-RU" sz="98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 грамм</a:t>
            </a:r>
          </a:p>
          <a:p>
            <a:pPr marL="186629" indent="-186629" defTabSz="585385">
              <a:buFont typeface="Arial" panose="020B0604020202020204" pitchFamily="34" charset="0"/>
              <a:buChar char="•"/>
            </a:pPr>
            <a:r>
              <a:rPr lang="ru-RU" sz="98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м2=14 грамм</a:t>
            </a:r>
          </a:p>
          <a:p>
            <a:pPr marL="186629" indent="-186629" defTabSz="585385">
              <a:buFont typeface="Arial" panose="020B0604020202020204" pitchFamily="34" charset="0"/>
              <a:buChar char="•"/>
            </a:pPr>
            <a:endParaRPr lang="ru-RU" sz="1143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585385"/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млрд полиэтиленовых пакетов = 20150*/14 </a:t>
            </a:r>
            <a:r>
              <a:rPr lang="ru-RU" sz="1143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</a:t>
            </a: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= 1439,3 км2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231232" y="4279634"/>
            <a:ext cx="69127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85385"/>
            <a:r>
              <a:rPr lang="ru-RU" sz="14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100 лет площадь накопленных полиэтиленовых пакетов составит</a:t>
            </a:r>
            <a:r>
              <a:rPr lang="ru-RU" sz="1400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smtClean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3 </a:t>
            </a:r>
            <a:r>
              <a:rPr lang="ru-RU" sz="14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00 км.2</a:t>
            </a:r>
            <a:r>
              <a:rPr lang="en-US" sz="14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400" b="1" dirty="0">
              <a:solidFill>
                <a:srgbClr val="224B1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585385"/>
            <a:r>
              <a:rPr lang="ru-RU" sz="14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</a:t>
            </a:r>
            <a:r>
              <a:rPr lang="ru-RU" sz="1400" b="1" dirty="0" smtClean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 позволит </a:t>
            </a:r>
            <a:r>
              <a:rPr lang="ru-RU" sz="1400" b="1" u="sng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6 раз выстелить всю территорию г. Москвы полиэтиленом </a:t>
            </a:r>
          </a:p>
        </p:txBody>
      </p:sp>
    </p:spTree>
    <p:extLst>
      <p:ext uri="{BB962C8B-B14F-4D97-AF65-F5344CB8AC3E}">
        <p14:creationId xmlns:p14="http://schemas.microsoft.com/office/powerpoint/2010/main" val="16741414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424887" y="77387"/>
            <a:ext cx="68042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20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Динамика накопления полиэтиленовых пакетов</a:t>
            </a:r>
            <a:r>
              <a:rPr lang="en-US" sz="20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оссии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933392" y="3168719"/>
            <a:ext cx="3070691" cy="494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6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На долю отходов из полиэтилена приходится </a:t>
            </a:r>
            <a:r>
              <a:rPr lang="ru-RU" sz="1306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0,5%</a:t>
            </a:r>
            <a:r>
              <a:rPr lang="ru-RU" sz="1306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от общего объема ТКО</a:t>
            </a:r>
            <a:endParaRPr lang="ru-RU" sz="735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64207" y="3588435"/>
            <a:ext cx="2404152" cy="304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Источники: </a:t>
            </a:r>
            <a:r>
              <a:rPr lang="en-US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Green Peace</a:t>
            </a:r>
            <a:r>
              <a:rPr lang="ru-RU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, </a:t>
            </a:r>
            <a:r>
              <a:rPr lang="en-US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RBC </a:t>
            </a:r>
            <a:r>
              <a:rPr lang="ru-RU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журнал, 2015 г., №2 условный расчет </a:t>
            </a:r>
            <a:r>
              <a:rPr lang="en-US" sz="691" b="1" i="1" dirty="0">
                <a:solidFill>
                  <a:srgbClr val="000000"/>
                </a:solidFill>
                <a:latin typeface="Times New Roman"/>
                <a:cs typeface="Arial" charset="0"/>
              </a:rPr>
              <a:t> </a:t>
            </a:r>
            <a:endParaRPr lang="ru-RU" sz="691" b="1" i="1" dirty="0">
              <a:solidFill>
                <a:srgbClr val="000000"/>
              </a:solidFill>
              <a:latin typeface="Times New Roman"/>
              <a:cs typeface="Arial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3570353" y="2013258"/>
            <a:ext cx="3456032" cy="594223"/>
          </a:xfrm>
          <a:prstGeom prst="line">
            <a:avLst/>
          </a:prstGeom>
          <a:ln w="9525">
            <a:solidFill>
              <a:srgbClr val="9AA3A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603815" y="2616840"/>
            <a:ext cx="3416550" cy="567116"/>
          </a:xfrm>
          <a:prstGeom prst="line">
            <a:avLst/>
          </a:prstGeom>
          <a:ln w="6350">
            <a:solidFill>
              <a:srgbClr val="9AA3A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0951231"/>
              </p:ext>
            </p:extLst>
          </p:nvPr>
        </p:nvGraphicFramePr>
        <p:xfrm>
          <a:off x="5987848" y="1953996"/>
          <a:ext cx="2089116" cy="1286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1741088"/>
              </p:ext>
            </p:extLst>
          </p:nvPr>
        </p:nvGraphicFramePr>
        <p:xfrm>
          <a:off x="1636284" y="1742528"/>
          <a:ext cx="2385867" cy="1460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5827011" y="3233221"/>
            <a:ext cx="2928966" cy="6951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6" b="1" dirty="0">
                <a:solidFill>
                  <a:srgbClr val="FF0000"/>
                </a:solidFill>
                <a:latin typeface="Times New Roman" panose="02020603050405020304" pitchFamily="18" charset="0"/>
              </a:rPr>
              <a:t>ОДНАКО</a:t>
            </a:r>
            <a:r>
              <a:rPr lang="ru-RU" sz="1306" dirty="0">
                <a:solidFill>
                  <a:srgbClr val="000000"/>
                </a:solidFill>
                <a:latin typeface="Times New Roman" panose="02020603050405020304" pitchFamily="18" charset="0"/>
              </a:rPr>
              <a:t>, если  игнорировать проблему в </a:t>
            </a:r>
            <a:r>
              <a:rPr lang="ru-RU" sz="1306" b="1" dirty="0">
                <a:solidFill>
                  <a:srgbClr val="000000"/>
                </a:solidFill>
                <a:latin typeface="Times New Roman" panose="02020603050405020304" pitchFamily="18" charset="0"/>
              </a:rPr>
              <a:t>0,5%</a:t>
            </a:r>
            <a:r>
              <a:rPr lang="ru-RU" sz="1306" dirty="0">
                <a:solidFill>
                  <a:srgbClr val="000000"/>
                </a:solidFill>
                <a:latin typeface="Times New Roman" panose="02020603050405020304" pitchFamily="18" charset="0"/>
              </a:rPr>
              <a:t>, то ее размер достигнет </a:t>
            </a:r>
            <a:r>
              <a:rPr lang="ru-RU" sz="1306" b="1" dirty="0">
                <a:solidFill>
                  <a:srgbClr val="FF0000"/>
                </a:solidFill>
                <a:latin typeface="Times New Roman" panose="02020603050405020304" pitchFamily="18" charset="0"/>
              </a:rPr>
              <a:t>50% ежегодных ТКО</a:t>
            </a:r>
            <a:endParaRPr lang="ru-RU" sz="1306" dirty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11560" y="860960"/>
            <a:ext cx="7080753" cy="6951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6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Среднестатистический россиянин в год производит около 400 килограммов мусора, (</a:t>
            </a:r>
            <a:r>
              <a:rPr lang="ru-RU" sz="1306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65 млн. тонн твердых коммунальных отходов в год</a:t>
            </a:r>
            <a:r>
              <a:rPr lang="ru-RU" sz="1306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)</a:t>
            </a:r>
          </a:p>
          <a:p>
            <a:r>
              <a:rPr lang="ru-RU" sz="1306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95-97% отправляются на захоронение, перерабатывается</a:t>
            </a:r>
            <a:r>
              <a:rPr lang="en-US" sz="1306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306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не более 3-5%</a:t>
            </a:r>
            <a:endParaRPr lang="ru-RU" sz="735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899626" y="2510920"/>
            <a:ext cx="1074585" cy="243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980" b="1" dirty="0">
                <a:solidFill>
                  <a:srgbClr val="387A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25 </a:t>
            </a:r>
            <a:r>
              <a:rPr lang="ru-RU" sz="980" b="1" dirty="0" err="1">
                <a:solidFill>
                  <a:srgbClr val="387A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</a:t>
            </a:r>
            <a:r>
              <a:rPr lang="ru-RU" sz="980" b="1" dirty="0">
                <a:solidFill>
                  <a:srgbClr val="387A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80" b="1" dirty="0" err="1">
                <a:solidFill>
                  <a:srgbClr val="387A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н</a:t>
            </a:r>
            <a:r>
              <a:rPr lang="ru-RU" sz="980" b="1" dirty="0">
                <a:solidFill>
                  <a:srgbClr val="387A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107393" y="2352918"/>
            <a:ext cx="1543596" cy="469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075" fontAlgn="base">
              <a:spcBef>
                <a:spcPct val="0"/>
              </a:spcBef>
              <a:spcAft>
                <a:spcPct val="0"/>
              </a:spcAft>
            </a:pPr>
            <a:r>
              <a:rPr lang="ru-RU" sz="2449" b="1" dirty="0">
                <a:solidFill>
                  <a:srgbClr val="387A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2,5</a:t>
            </a:r>
            <a:r>
              <a:rPr lang="ru-RU" sz="1728" b="1" dirty="0">
                <a:solidFill>
                  <a:srgbClr val="387A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лн </a:t>
            </a:r>
            <a:r>
              <a:rPr lang="ru-RU" sz="1728" b="1" dirty="0" err="1">
                <a:solidFill>
                  <a:srgbClr val="387A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н</a:t>
            </a:r>
            <a:r>
              <a:rPr lang="ru-RU" sz="1728" b="1" dirty="0">
                <a:solidFill>
                  <a:srgbClr val="387A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106" b="1" dirty="0">
              <a:solidFill>
                <a:srgbClr val="387A9C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29218" y="1847203"/>
            <a:ext cx="614271" cy="2682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43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2017 </a:t>
            </a:r>
            <a:r>
              <a:rPr lang="ru-RU" sz="1143" dirty="0">
                <a:solidFill>
                  <a:srgbClr val="000000"/>
                </a:solidFill>
                <a:latin typeface="Times New Roman" panose="02020603050405020304" pitchFamily="18" charset="0"/>
              </a:rPr>
              <a:t>г </a:t>
            </a:r>
            <a:endParaRPr lang="ru-RU" sz="735" dirty="0">
              <a:solidFill>
                <a:prstClr val="black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794907" y="1802622"/>
            <a:ext cx="614271" cy="2682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43" dirty="0">
                <a:solidFill>
                  <a:srgbClr val="000000"/>
                </a:solidFill>
                <a:latin typeface="Times New Roman" panose="02020603050405020304" pitchFamily="18" charset="0"/>
              </a:rPr>
              <a:t>2116 г </a:t>
            </a:r>
            <a:endParaRPr lang="ru-RU" sz="735" dirty="0">
              <a:solidFill>
                <a:prstClr val="black"/>
              </a:solidFill>
            </a:endParaRPr>
          </a:p>
        </p:txBody>
      </p:sp>
      <p:sp>
        <p:nvSpPr>
          <p:cNvPr id="17" name="Левая фигурная скобка 16"/>
          <p:cNvSpPr/>
          <p:nvPr/>
        </p:nvSpPr>
        <p:spPr>
          <a:xfrm rot="5400000">
            <a:off x="4895141" y="297372"/>
            <a:ext cx="219718" cy="3085206"/>
          </a:xfrm>
          <a:prstGeom prst="leftBrac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735"/>
          </a:p>
        </p:txBody>
      </p:sp>
      <p:sp>
        <p:nvSpPr>
          <p:cNvPr id="18" name="Прямоугольник 17"/>
          <p:cNvSpPr/>
          <p:nvPr/>
        </p:nvSpPr>
        <p:spPr>
          <a:xfrm>
            <a:off x="4732166" y="1852349"/>
            <a:ext cx="699230" cy="2682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43" b="1" dirty="0">
                <a:solidFill>
                  <a:srgbClr val="000000"/>
                </a:solidFill>
                <a:latin typeface="Times New Roman" panose="02020603050405020304" pitchFamily="18" charset="0"/>
              </a:rPr>
              <a:t>100 лет </a:t>
            </a:r>
            <a:endParaRPr lang="ru-RU" sz="735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1725474" y="3984533"/>
            <a:ext cx="7454082" cy="770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70" b="1" dirty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Учитывая геометрический рост производства, отсутствие системной </a:t>
            </a:r>
            <a:r>
              <a:rPr lang="ru-RU" sz="1470" b="1" dirty="0" smtClean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ереработки, сложности и стоимости ее организации через </a:t>
            </a:r>
            <a:r>
              <a:rPr lang="ru-RU" sz="1470" b="1" dirty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100 лет доля полиэтиленовых пакетов составит 50% в ежегодном объеме ТКО </a:t>
            </a:r>
            <a:endParaRPr lang="ru-RU" sz="1470" b="1" u="sng" dirty="0">
              <a:solidFill>
                <a:srgbClr val="224B1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9209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ятиугольник 27"/>
          <p:cNvSpPr/>
          <p:nvPr/>
        </p:nvSpPr>
        <p:spPr>
          <a:xfrm>
            <a:off x="1373741" y="2708233"/>
            <a:ext cx="6438619" cy="418436"/>
          </a:xfrm>
          <a:prstGeom prst="homePlate">
            <a:avLst/>
          </a:prstGeom>
          <a:solidFill>
            <a:srgbClr val="46868F"/>
          </a:solidFill>
          <a:ln>
            <a:solidFill>
              <a:srgbClr val="48878E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43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339752" y="-34195"/>
            <a:ext cx="6948263" cy="931279"/>
          </a:xfrm>
        </p:spPr>
        <p:txBody>
          <a:bodyPr>
            <a:normAutofit/>
          </a:bodyPr>
          <a:lstStyle/>
          <a:p>
            <a:pPr algn="l"/>
            <a:r>
              <a:rPr lang="ru-RU" sz="1600" b="1" dirty="0" smtClean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. Необходима реализация мер </a:t>
            </a:r>
            <a: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го регулирования сокращения потребления полиэтиленовой упаковки и образования отходов из </a:t>
            </a:r>
            <a:r>
              <a:rPr lang="ru-RU" sz="1600" b="1" dirty="0" smtClean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е</a:t>
            </a:r>
            <a:endParaRPr lang="ru-RU" sz="1600" b="1" dirty="0">
              <a:solidFill>
                <a:srgbClr val="224B15"/>
              </a:solidFill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1382040" y="938955"/>
            <a:ext cx="6438618" cy="384906"/>
          </a:xfrm>
          <a:prstGeom prst="homePlate">
            <a:avLst/>
          </a:prstGeom>
          <a:solidFill>
            <a:srgbClr val="46868F"/>
          </a:solidFill>
          <a:ln>
            <a:solidFill>
              <a:srgbClr val="48878E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43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206400" y="1032987"/>
            <a:ext cx="5772515" cy="267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 lvl="1">
              <a:lnSpc>
                <a:spcPct val="107000"/>
              </a:lnSpc>
            </a:pPr>
            <a:r>
              <a:rPr lang="ru-RU" sz="114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Формирование условий для снижения потребности в одноразовых пакетах</a:t>
            </a:r>
            <a:endParaRPr lang="ru-RU" sz="1143" dirty="0">
              <a:solidFill>
                <a:schemeClr val="bg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Пятиугольник 17"/>
          <p:cNvSpPr/>
          <p:nvPr/>
        </p:nvSpPr>
        <p:spPr>
          <a:xfrm>
            <a:off x="1373742" y="3165482"/>
            <a:ext cx="6438618" cy="418436"/>
          </a:xfrm>
          <a:prstGeom prst="homePlate">
            <a:avLst/>
          </a:prstGeom>
          <a:solidFill>
            <a:srgbClr val="46868F"/>
          </a:solidFill>
          <a:ln>
            <a:solidFill>
              <a:srgbClr val="48878E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43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1367501" y="3626783"/>
            <a:ext cx="6438618" cy="418436"/>
          </a:xfrm>
          <a:prstGeom prst="homePlate">
            <a:avLst/>
          </a:prstGeom>
          <a:solidFill>
            <a:srgbClr val="46868F"/>
          </a:solidFill>
          <a:ln>
            <a:solidFill>
              <a:srgbClr val="48878E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43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179415" y="3726409"/>
            <a:ext cx="3543099" cy="280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 lvl="1" algn="just">
              <a:lnSpc>
                <a:spcPct val="107000"/>
              </a:lnSpc>
            </a:pPr>
            <a:r>
              <a:rPr lang="ru-RU" sz="114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7</a:t>
            </a:r>
            <a:r>
              <a:rPr lang="ru-RU" sz="1143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ru-RU" sz="114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Зелёное» финансирование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205206" y="2782423"/>
            <a:ext cx="4503975" cy="280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>
              <a:lnSpc>
                <a:spcPct val="107000"/>
              </a:lnSpc>
            </a:pPr>
            <a:r>
              <a:rPr lang="ru-RU" sz="1143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 </a:t>
            </a:r>
            <a:r>
              <a:rPr lang="ru-RU" sz="114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ормирование требований к биоразлагаемой упаковке</a:t>
            </a:r>
            <a:endParaRPr lang="ru-RU" sz="1143" dirty="0">
              <a:solidFill>
                <a:schemeClr val="bg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Пятиугольник 28"/>
          <p:cNvSpPr/>
          <p:nvPr/>
        </p:nvSpPr>
        <p:spPr>
          <a:xfrm>
            <a:off x="1379527" y="2280876"/>
            <a:ext cx="6470885" cy="385400"/>
          </a:xfrm>
          <a:prstGeom prst="homePlate">
            <a:avLst>
              <a:gd name="adj" fmla="val 52676"/>
            </a:avLst>
          </a:prstGeom>
          <a:solidFill>
            <a:srgbClr val="46868F"/>
          </a:solidFill>
          <a:ln>
            <a:solidFill>
              <a:srgbClr val="48878E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35">
              <a:solidFill>
                <a:schemeClr val="bg1"/>
              </a:solidFill>
            </a:endParaRPr>
          </a:p>
        </p:txBody>
      </p:sp>
      <p:sp>
        <p:nvSpPr>
          <p:cNvPr id="30" name="Пятиугольник 29"/>
          <p:cNvSpPr/>
          <p:nvPr/>
        </p:nvSpPr>
        <p:spPr>
          <a:xfrm>
            <a:off x="1367826" y="1815986"/>
            <a:ext cx="6452832" cy="410227"/>
          </a:xfrm>
          <a:prstGeom prst="homePlate">
            <a:avLst/>
          </a:prstGeom>
          <a:solidFill>
            <a:srgbClr val="46868F"/>
          </a:solidFill>
          <a:ln>
            <a:solidFill>
              <a:srgbClr val="48878E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43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382041" y="1900608"/>
            <a:ext cx="5589956" cy="268215"/>
          </a:xfrm>
          <a:prstGeom prst="rect">
            <a:avLst/>
          </a:prstGeom>
          <a:solidFill>
            <a:srgbClr val="46868F"/>
          </a:solidFill>
          <a:ln>
            <a:noFill/>
            <a:prstDash val="dash"/>
          </a:ln>
        </p:spPr>
        <p:txBody>
          <a:bodyPr wrap="square">
            <a:spAutoFit/>
          </a:bodyPr>
          <a:lstStyle/>
          <a:p>
            <a:r>
              <a:rPr lang="ru-RU" sz="1143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</a:t>
            </a:r>
            <a:r>
              <a:rPr lang="ru-RU" sz="114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илотные проекты территориальных ограничений (в период с 2018 – 2020 </a:t>
            </a:r>
            <a:r>
              <a:rPr lang="ru-RU" sz="1143" b="1" dirty="0" err="1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.г</a:t>
            </a:r>
            <a:r>
              <a:rPr lang="ru-RU" sz="114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ru-RU" sz="1143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203749" y="2257214"/>
            <a:ext cx="6317928" cy="468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 lvl="1">
              <a:lnSpc>
                <a:spcPct val="107000"/>
              </a:lnSpc>
            </a:pPr>
            <a:r>
              <a:rPr lang="ru-RU" sz="1143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</a:t>
            </a:r>
            <a:r>
              <a:rPr lang="ru-RU" sz="114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ддержка формирования культуры на государственном уровне </a:t>
            </a:r>
            <a:r>
              <a:rPr lang="ru-RU" sz="1143" i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образовательные стандарты: школы, университеты)</a:t>
            </a:r>
            <a:endParaRPr lang="ru-RU" sz="1143" i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79415" y="3251369"/>
            <a:ext cx="4522029" cy="280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 lvl="1" algn="just">
              <a:lnSpc>
                <a:spcPct val="107000"/>
              </a:lnSpc>
            </a:pPr>
            <a:r>
              <a:rPr lang="ru-RU" sz="114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6</a:t>
            </a:r>
            <a:r>
              <a:rPr lang="ru-RU" sz="1143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ru-RU" sz="114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имулирование производителей биоразлагаемой упаковки</a:t>
            </a:r>
            <a:endParaRPr lang="ru-RU" sz="1143" dirty="0">
              <a:solidFill>
                <a:schemeClr val="bg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Пятиугольник 20"/>
          <p:cNvSpPr/>
          <p:nvPr/>
        </p:nvSpPr>
        <p:spPr>
          <a:xfrm>
            <a:off x="1373742" y="1356394"/>
            <a:ext cx="6483652" cy="418436"/>
          </a:xfrm>
          <a:prstGeom prst="homePlate">
            <a:avLst/>
          </a:prstGeom>
          <a:solidFill>
            <a:srgbClr val="46868F"/>
          </a:solidFill>
          <a:ln>
            <a:noFill/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43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229726" y="1425349"/>
            <a:ext cx="6627668" cy="280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 lvl="1" algn="just">
              <a:lnSpc>
                <a:spcPct val="107000"/>
              </a:lnSpc>
            </a:pPr>
            <a:r>
              <a:rPr lang="ru-RU" sz="1143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ru-RU" sz="114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имулирование сбора и вторичной переработки </a:t>
            </a:r>
            <a:r>
              <a:rPr lang="ru-RU" sz="1143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иэтиленовой/пластиковой упаковки</a:t>
            </a:r>
            <a:endParaRPr lang="ru-RU" sz="1143" dirty="0">
              <a:solidFill>
                <a:schemeClr val="bg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46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411760" y="24651"/>
            <a:ext cx="6399074" cy="931279"/>
          </a:xfrm>
        </p:spPr>
        <p:txBody>
          <a:bodyPr>
            <a:normAutofit/>
          </a:bodyPr>
          <a:lstStyle/>
          <a:p>
            <a:pPr algn="l"/>
            <a:r>
              <a:rPr lang="en-US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1600" b="1" dirty="0">
                <a:solidFill>
                  <a:srgbClr val="224B1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1. Меры регулирования сокращения потребления полиэтиленовой упаковки и образования отходов из нее</a:t>
            </a:r>
            <a:endParaRPr lang="ru-RU" sz="1600" b="1" dirty="0">
              <a:solidFill>
                <a:srgbClr val="224B15"/>
              </a:solidFill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304449" y="843558"/>
            <a:ext cx="8087549" cy="526706"/>
          </a:xfrm>
          <a:prstGeom prst="homePlate">
            <a:avLst/>
          </a:prstGeom>
          <a:solidFill>
            <a:srgbClr val="4686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43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50014" y="945367"/>
            <a:ext cx="8270297" cy="3611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629" lvl="1">
              <a:lnSpc>
                <a:spcPct val="107000"/>
              </a:lnSpc>
            </a:pPr>
            <a:r>
              <a:rPr lang="ru-RU" sz="1633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Формирование условий для снижения потребности в одноразовых пакетах</a:t>
            </a:r>
            <a:endParaRPr lang="ru-RU" sz="1633" dirty="0">
              <a:solidFill>
                <a:schemeClr val="bg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3260" y="1377935"/>
            <a:ext cx="877533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6587" indent="-209958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прет на бесплатную раздачу </a:t>
            </a:r>
            <a:r>
              <a:rPr lang="ru-RU" sz="11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дноразовых пакетов до конца 2018 г. </a:t>
            </a:r>
          </a:p>
          <a:p>
            <a:pPr marL="396587" indent="-209958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озничная </a:t>
            </a:r>
            <a:r>
              <a:rPr lang="ru-RU" sz="1100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на полиэтиленового пакета </a:t>
            </a:r>
            <a:r>
              <a:rPr lang="ru-RU" sz="11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олжна быть </a:t>
            </a:r>
            <a:r>
              <a:rPr lang="ru-RU" sz="1100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е ниже цены аналогичного пакета, произведенного из бумаги или иного биоразлагаемого материала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за исключением биодеградирующего полиэтилена)</a:t>
            </a:r>
          </a:p>
          <a:p>
            <a:pPr marL="396587" indent="-209958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кратить</a:t>
            </a:r>
            <a:r>
              <a:rPr lang="ru-RU" sz="1100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щее </a:t>
            </a:r>
            <a:r>
              <a:rPr lang="ru-RU" sz="1100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личество</a:t>
            </a:r>
            <a:r>
              <a:rPr lang="ru-RU" sz="1100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еализуемых в стране </a:t>
            </a:r>
            <a:r>
              <a:rPr lang="ru-RU" sz="1100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дноразовых полиэтиленовых пакетов</a:t>
            </a:r>
            <a:r>
              <a:rPr lang="ru-RU" sz="1100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о уровня эквивалентного 90 пакетам в год на человека до конца 2019 г. и до 40 пакетов в год к 2025 г. </a:t>
            </a:r>
          </a:p>
          <a:p>
            <a:pPr marL="396587" indent="-209958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ведение</a:t>
            </a:r>
            <a:r>
              <a:rPr lang="ru-RU" sz="1100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b="1" dirty="0">
                <a:solidFill>
                  <a:srgbClr val="3C8A2E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оратория на создание дополнительных производственных мощностей по выпуску полиэтиленовых пакетов</a:t>
            </a:r>
          </a:p>
          <a:p>
            <a:pPr marL="396587" indent="-209958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регулирования цен на упаковку из материалов, не подверженных биоразложению, путем внесения полиэтиленовых пакетов в перечень товаров, подлежащих государственному регулированию. В целях регулирования уровня потребления полиэтиленовых пакетов </a:t>
            </a:r>
            <a:r>
              <a:rPr lang="ru-RU" sz="1100" b="1" dirty="0">
                <a:solidFill>
                  <a:srgbClr val="3C8A2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сти акцизный сбор на полиэтиленовые пакеты</a:t>
            </a:r>
            <a:r>
              <a: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включая биодеградирующие, распадающиеся на микропластик) в сетях розничной торговли</a:t>
            </a:r>
            <a:endParaRPr lang="ru-RU" sz="11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23528" y="3478487"/>
            <a:ext cx="8546362" cy="1366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>
                <a:solidFill>
                  <a:srgbClr val="3B832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кцизный сбор </a:t>
            </a:r>
            <a:r>
              <a:rPr lang="ru-RU" sz="1400" b="1" dirty="0" smtClean="0">
                <a:solidFill>
                  <a:srgbClr val="224B1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правлять </a:t>
            </a:r>
            <a:r>
              <a:rPr lang="ru-RU" sz="1400" b="1" dirty="0">
                <a:solidFill>
                  <a:srgbClr val="224B1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целевой фонд </a:t>
            </a:r>
            <a:r>
              <a:rPr lang="ru-RU" sz="1400" b="1" dirty="0">
                <a:solidFill>
                  <a:srgbClr val="3B832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реализации экологических программ, </a:t>
            </a:r>
            <a:r>
              <a:rPr lang="ru-RU" sz="1400" b="1" dirty="0">
                <a:solidFill>
                  <a:srgbClr val="3B832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здание системы раздельного сбора мусора и системы мусороперерабатывающих заводов</a:t>
            </a:r>
            <a:r>
              <a:rPr lang="ru-RU" sz="1400" b="1" dirty="0">
                <a:solidFill>
                  <a:srgbClr val="224B1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планируемых к реализации в рамках Стратегии развития промышленности по обработке, утилизации и обезвреживанию отходов производства и потребления на период до 2030 года, утвержденной 25 января 2018 года Распоряжением Правительства РФ №84-р.</a:t>
            </a:r>
            <a:endParaRPr lang="ru-RU" sz="1400" b="1" dirty="0">
              <a:solidFill>
                <a:srgbClr val="224B15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0968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MaV9QWQUqo_sx_HG2n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MaV9QWQUqo_sx_HG2no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lank 13">
    <a:dk1>
      <a:srgbClr val="000000"/>
    </a:dk1>
    <a:lt1>
      <a:srgbClr val="FFFFFF"/>
    </a:lt1>
    <a:dk2>
      <a:srgbClr val="000000"/>
    </a:dk2>
    <a:lt2>
      <a:srgbClr val="808080"/>
    </a:lt2>
    <a:accent1>
      <a:srgbClr val="E8EBF0"/>
    </a:accent1>
    <a:accent2>
      <a:srgbClr val="B6C4CC"/>
    </a:accent2>
    <a:accent3>
      <a:srgbClr val="FFFFFF"/>
    </a:accent3>
    <a:accent4>
      <a:srgbClr val="000000"/>
    </a:accent4>
    <a:accent5>
      <a:srgbClr val="F2F3F6"/>
    </a:accent5>
    <a:accent6>
      <a:srgbClr val="A5B1B9"/>
    </a:accent6>
    <a:hlink>
      <a:srgbClr val="879DB3"/>
    </a:hlink>
    <a:folHlink>
      <a:srgbClr val="3B6487"/>
    </a:folHlink>
  </a:clrScheme>
  <a:fontScheme name="blank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74</TotalTime>
  <Words>1797</Words>
  <Application>Microsoft Office PowerPoint</Application>
  <PresentationFormat>Экран (16:9)</PresentationFormat>
  <Paragraphs>169</Paragraphs>
  <Slides>16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5" baseType="lpstr">
      <vt:lpstr>Arial</vt:lpstr>
      <vt:lpstr>Calibri</vt:lpstr>
      <vt:lpstr>Garamond</vt:lpstr>
      <vt:lpstr>Symbol</vt:lpstr>
      <vt:lpstr>Times New Roman</vt:lpstr>
      <vt:lpstr>Verdana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5. Жизненный цикл пакета. Бумага vs полиэтилен  </vt:lpstr>
      <vt:lpstr>Что такое 4 млрд шт/год полиэтиленовых пакетов для г. Москва?   </vt:lpstr>
      <vt:lpstr>Презентация PowerPoint</vt:lpstr>
      <vt:lpstr>7. Необходима реализация мер государственного регулирования сокращения потребления полиэтиленовой упаковки и образования отходов из нее</vt:lpstr>
      <vt:lpstr>7.1. Меры регулирования сокращения потребления полиэтиленовой упаковки и образования отходов из нее</vt:lpstr>
      <vt:lpstr>7.2. Ставка экологического сбора. Федеральный Закон № 89 «Об отходах производства и потребления»</vt:lpstr>
      <vt:lpstr>7.3. Меры регулирования сокращения потребления полиэтиленовой упаковки и образования отходов из нее</vt:lpstr>
      <vt:lpstr>7.4. Меры регулирования сокращения потребления полиэтиленовой упаковки и образования отходов из нее</vt:lpstr>
      <vt:lpstr>Презентация PowerPoint</vt:lpstr>
      <vt:lpstr>7.5. Меры регулирования сокращения потребления полиэтиленовой упаковки и образования отходов из нее (3/3)</vt:lpstr>
      <vt:lpstr>8. Выгоды от реализации предложенных мер (Государство)</vt:lpstr>
      <vt:lpstr>Спасибо за внимание 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Титова Ольга Андреевна</dc:creator>
  <cp:lastModifiedBy>Василькова Мария Викторовна</cp:lastModifiedBy>
  <cp:revision>30</cp:revision>
  <dcterms:created xsi:type="dcterms:W3CDTF">2018-01-26T09:47:51Z</dcterms:created>
  <dcterms:modified xsi:type="dcterms:W3CDTF">2018-03-20T13:20:48Z</dcterms:modified>
</cp:coreProperties>
</file>